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doc" ContentType="application/msword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4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5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6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7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8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9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0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11.xml" ContentType="application/vnd.openxmlformats-officedocument.theme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12.xml" ContentType="application/vnd.openxmlformats-officedocument.theme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13.xml" ContentType="application/vnd.openxmlformats-officedocument.theme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14.xml" ContentType="application/vnd.openxmlformats-officedocument.theme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15.xml" ContentType="application/vnd.openxmlformats-officedocument.theme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16.xml" ContentType="application/vnd.openxmlformats-officedocument.theme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theme/theme17.xml" ContentType="application/vnd.openxmlformats-officedocument.theme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theme/theme18.xml" ContentType="application/vnd.openxmlformats-officedocument.theme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theme/theme19.xml" ContentType="application/vnd.openxmlformats-officedocument.theme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theme/theme20.xml" ContentType="application/vnd.openxmlformats-officedocument.theme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theme/theme21.xml" ContentType="application/vnd.openxmlformats-officedocument.theme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theme/theme22.xml" ContentType="application/vnd.openxmlformats-officedocument.theme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theme/theme23.xml" ContentType="application/vnd.openxmlformats-officedocument.theme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theme/theme24.xml" ContentType="application/vnd.openxmlformats-officedocument.theme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theme/theme25.xml" ContentType="application/vnd.openxmlformats-officedocument.theme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theme/theme26.xml" ContentType="application/vnd.openxmlformats-officedocument.theme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theme/theme27.xml" ContentType="application/vnd.openxmlformats-officedocument.theme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theme/theme28.xml" ContentType="application/vnd.openxmlformats-officedocument.theme+xml"/>
  <Override PartName="/ppt/theme/theme2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317.xml" ContentType="application/vnd.openxmlformats-officedocument.presentationml.tags+xml"/>
  <Override PartName="/ppt/notesSlides/notesSlide1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5741" r:id="rId1"/>
    <p:sldMasterId id="2147486991" r:id="rId2"/>
    <p:sldMasterId id="2147487280" r:id="rId3"/>
    <p:sldMasterId id="2147487294" r:id="rId4"/>
    <p:sldMasterId id="2147487309" r:id="rId5"/>
    <p:sldMasterId id="2147487872" r:id="rId6"/>
    <p:sldMasterId id="2147487947" r:id="rId7"/>
    <p:sldMasterId id="2147489660" r:id="rId8"/>
    <p:sldMasterId id="2147489673" r:id="rId9"/>
    <p:sldMasterId id="2147489686" r:id="rId10"/>
    <p:sldMasterId id="2147489702" r:id="rId11"/>
    <p:sldMasterId id="2147489716" r:id="rId12"/>
    <p:sldMasterId id="2147489729" r:id="rId13"/>
    <p:sldMasterId id="2147489741" r:id="rId14"/>
    <p:sldMasterId id="2147489771" r:id="rId15"/>
    <p:sldMasterId id="2147489784" r:id="rId16"/>
    <p:sldMasterId id="2147489796" r:id="rId17"/>
    <p:sldMasterId id="2147489808" r:id="rId18"/>
    <p:sldMasterId id="2147489840" r:id="rId19"/>
    <p:sldMasterId id="2147489855" r:id="rId20"/>
    <p:sldMasterId id="2147489871" r:id="rId21"/>
    <p:sldMasterId id="2147489887" r:id="rId22"/>
    <p:sldMasterId id="2147489899" r:id="rId23"/>
    <p:sldMasterId id="2147489917" r:id="rId24"/>
    <p:sldMasterId id="2147489947" r:id="rId25"/>
    <p:sldMasterId id="2147489961" r:id="rId26"/>
    <p:sldMasterId id="2147489974" r:id="rId27"/>
    <p:sldMasterId id="2147490514" r:id="rId28"/>
  </p:sldMasterIdLst>
  <p:notesMasterIdLst>
    <p:notesMasterId r:id="rId90"/>
  </p:notesMasterIdLst>
  <p:sldIdLst>
    <p:sldId id="879" r:id="rId29"/>
    <p:sldId id="750" r:id="rId30"/>
    <p:sldId id="732" r:id="rId31"/>
    <p:sldId id="659" r:id="rId32"/>
    <p:sldId id="733" r:id="rId33"/>
    <p:sldId id="734" r:id="rId34"/>
    <p:sldId id="660" r:id="rId35"/>
    <p:sldId id="661" r:id="rId36"/>
    <p:sldId id="735" r:id="rId37"/>
    <p:sldId id="736" r:id="rId38"/>
    <p:sldId id="737" r:id="rId39"/>
    <p:sldId id="738" r:id="rId40"/>
    <p:sldId id="757" r:id="rId41"/>
    <p:sldId id="764" r:id="rId42"/>
    <p:sldId id="739" r:id="rId43"/>
    <p:sldId id="740" r:id="rId44"/>
    <p:sldId id="811" r:id="rId45"/>
    <p:sldId id="809" r:id="rId46"/>
    <p:sldId id="812" r:id="rId47"/>
    <p:sldId id="813" r:id="rId48"/>
    <p:sldId id="814" r:id="rId49"/>
    <p:sldId id="810" r:id="rId50"/>
    <p:sldId id="825" r:id="rId51"/>
    <p:sldId id="841" r:id="rId52"/>
    <p:sldId id="816" r:id="rId53"/>
    <p:sldId id="823" r:id="rId54"/>
    <p:sldId id="824" r:id="rId55"/>
    <p:sldId id="815" r:id="rId56"/>
    <p:sldId id="828" r:id="rId57"/>
    <p:sldId id="829" r:id="rId58"/>
    <p:sldId id="835" r:id="rId59"/>
    <p:sldId id="830" r:id="rId60"/>
    <p:sldId id="831" r:id="rId61"/>
    <p:sldId id="832" r:id="rId62"/>
    <p:sldId id="833" r:id="rId63"/>
    <p:sldId id="834" r:id="rId64"/>
    <p:sldId id="836" r:id="rId65"/>
    <p:sldId id="817" r:id="rId66"/>
    <p:sldId id="820" r:id="rId67"/>
    <p:sldId id="818" r:id="rId68"/>
    <p:sldId id="819" r:id="rId69"/>
    <p:sldId id="874" r:id="rId70"/>
    <p:sldId id="838" r:id="rId71"/>
    <p:sldId id="871" r:id="rId72"/>
    <p:sldId id="870" r:id="rId73"/>
    <p:sldId id="839" r:id="rId74"/>
    <p:sldId id="877" r:id="rId75"/>
    <p:sldId id="878" r:id="rId76"/>
    <p:sldId id="860" r:id="rId77"/>
    <p:sldId id="840" r:id="rId78"/>
    <p:sldId id="844" r:id="rId79"/>
    <p:sldId id="845" r:id="rId80"/>
    <p:sldId id="873" r:id="rId81"/>
    <p:sldId id="846" r:id="rId82"/>
    <p:sldId id="847" r:id="rId83"/>
    <p:sldId id="848" r:id="rId84"/>
    <p:sldId id="822" r:id="rId85"/>
    <p:sldId id="876" r:id="rId86"/>
    <p:sldId id="826" r:id="rId87"/>
    <p:sldId id="827" r:id="rId88"/>
    <p:sldId id="875" r:id="rId89"/>
  </p:sldIdLst>
  <p:sldSz cx="9144000" cy="6858000" type="screen4x3"/>
  <p:notesSz cx="6888163" cy="9623425"/>
  <p:defaultTextStyle>
    <a:defPPr>
      <a:defRPr lang="en-US"/>
    </a:defPPr>
    <a:lvl1pPr algn="ctr" rtl="0" eaLnBrk="0" fontAlgn="base" hangingPunct="0">
      <a:spcBef>
        <a:spcPct val="20000"/>
      </a:spcBef>
      <a:spcAft>
        <a:spcPct val="0"/>
      </a:spcAft>
      <a:buChar char="•"/>
      <a:defRPr sz="2800" kern="1200">
        <a:solidFill>
          <a:srgbClr val="FF6600"/>
        </a:solidFill>
        <a:latin typeface="Arial" pitchFamily="34" charset="0"/>
        <a:ea typeface="ＭＳ Ｐゴシック" pitchFamily="34" charset="-128"/>
        <a:cs typeface="+mn-cs"/>
      </a:defRPr>
    </a:lvl1pPr>
    <a:lvl2pPr marL="457200" algn="ctr" rtl="0" eaLnBrk="0" fontAlgn="base" hangingPunct="0">
      <a:spcBef>
        <a:spcPct val="20000"/>
      </a:spcBef>
      <a:spcAft>
        <a:spcPct val="0"/>
      </a:spcAft>
      <a:buChar char="•"/>
      <a:defRPr sz="2800" kern="1200">
        <a:solidFill>
          <a:srgbClr val="FF6600"/>
        </a:solidFill>
        <a:latin typeface="Arial" pitchFamily="34" charset="0"/>
        <a:ea typeface="ＭＳ Ｐゴシック" pitchFamily="34" charset="-128"/>
        <a:cs typeface="+mn-cs"/>
      </a:defRPr>
    </a:lvl2pPr>
    <a:lvl3pPr marL="914400" algn="ctr" rtl="0" eaLnBrk="0" fontAlgn="base" hangingPunct="0">
      <a:spcBef>
        <a:spcPct val="20000"/>
      </a:spcBef>
      <a:spcAft>
        <a:spcPct val="0"/>
      </a:spcAft>
      <a:buChar char="•"/>
      <a:defRPr sz="2800" kern="1200">
        <a:solidFill>
          <a:srgbClr val="FF6600"/>
        </a:solidFill>
        <a:latin typeface="Arial" pitchFamily="34" charset="0"/>
        <a:ea typeface="ＭＳ Ｐゴシック" pitchFamily="34" charset="-128"/>
        <a:cs typeface="+mn-cs"/>
      </a:defRPr>
    </a:lvl3pPr>
    <a:lvl4pPr marL="1371600" algn="ctr" rtl="0" eaLnBrk="0" fontAlgn="base" hangingPunct="0">
      <a:spcBef>
        <a:spcPct val="20000"/>
      </a:spcBef>
      <a:spcAft>
        <a:spcPct val="0"/>
      </a:spcAft>
      <a:buChar char="•"/>
      <a:defRPr sz="2800" kern="1200">
        <a:solidFill>
          <a:srgbClr val="FF6600"/>
        </a:solidFill>
        <a:latin typeface="Arial" pitchFamily="34" charset="0"/>
        <a:ea typeface="ＭＳ Ｐゴシック" pitchFamily="34" charset="-128"/>
        <a:cs typeface="+mn-cs"/>
      </a:defRPr>
    </a:lvl4pPr>
    <a:lvl5pPr marL="1828800" algn="ctr" rtl="0" eaLnBrk="0" fontAlgn="base" hangingPunct="0">
      <a:spcBef>
        <a:spcPct val="20000"/>
      </a:spcBef>
      <a:spcAft>
        <a:spcPct val="0"/>
      </a:spcAft>
      <a:buChar char="•"/>
      <a:defRPr sz="2800" kern="1200">
        <a:solidFill>
          <a:srgbClr val="FF6600"/>
        </a:solidFill>
        <a:latin typeface="Arial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2800" kern="1200">
        <a:solidFill>
          <a:srgbClr val="FF6600"/>
        </a:solidFill>
        <a:latin typeface="Arial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2800" kern="1200">
        <a:solidFill>
          <a:srgbClr val="FF6600"/>
        </a:solidFill>
        <a:latin typeface="Arial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2800" kern="1200">
        <a:solidFill>
          <a:srgbClr val="FF6600"/>
        </a:solidFill>
        <a:latin typeface="Arial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2800" kern="1200">
        <a:solidFill>
          <a:srgbClr val="FF6600"/>
        </a:solidFill>
        <a:latin typeface="Arial" pitchFamily="34" charset="0"/>
        <a:ea typeface="ＭＳ Ｐゴシック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99"/>
    <a:srgbClr val="FF3300"/>
    <a:srgbClr val="0033CC"/>
    <a:srgbClr val="FFFFFF"/>
    <a:srgbClr val="FFFFCC"/>
    <a:srgbClr val="FFFF99"/>
    <a:srgbClr val="00FFFF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05" autoAdjust="0"/>
    <p:restoredTop sz="94660"/>
  </p:normalViewPr>
  <p:slideViewPr>
    <p:cSldViewPr>
      <p:cViewPr>
        <p:scale>
          <a:sx n="50" d="100"/>
          <a:sy n="50" d="100"/>
        </p:scale>
        <p:origin x="-684" y="-72"/>
      </p:cViewPr>
      <p:guideLst>
        <p:guide orient="horz" pos="2304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2" d="100"/>
        <a:sy n="72" d="100"/>
      </p:scale>
      <p:origin x="0" y="4096"/>
    </p:cViewPr>
  </p:sorterViewPr>
  <p:notesViewPr>
    <p:cSldViewPr>
      <p:cViewPr varScale="1">
        <p:scale>
          <a:sx n="54" d="100"/>
          <a:sy n="54" d="100"/>
        </p:scale>
        <p:origin x="-1848" y="-84"/>
      </p:cViewPr>
      <p:guideLst>
        <p:guide orient="horz" pos="3031"/>
        <p:guide pos="216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11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6.xml"/><Relationship Id="rId42" Type="http://schemas.openxmlformats.org/officeDocument/2006/relationships/slide" Target="slides/slide14.xml"/><Relationship Id="rId47" Type="http://schemas.openxmlformats.org/officeDocument/2006/relationships/slide" Target="slides/slide19.xml"/><Relationship Id="rId50" Type="http://schemas.openxmlformats.org/officeDocument/2006/relationships/slide" Target="slides/slide22.xml"/><Relationship Id="rId55" Type="http://schemas.openxmlformats.org/officeDocument/2006/relationships/slide" Target="slides/slide27.xml"/><Relationship Id="rId63" Type="http://schemas.openxmlformats.org/officeDocument/2006/relationships/slide" Target="slides/slide35.xml"/><Relationship Id="rId68" Type="http://schemas.openxmlformats.org/officeDocument/2006/relationships/slide" Target="slides/slide40.xml"/><Relationship Id="rId76" Type="http://schemas.openxmlformats.org/officeDocument/2006/relationships/slide" Target="slides/slide48.xml"/><Relationship Id="rId84" Type="http://schemas.openxmlformats.org/officeDocument/2006/relationships/slide" Target="slides/slide56.xml"/><Relationship Id="rId89" Type="http://schemas.openxmlformats.org/officeDocument/2006/relationships/slide" Target="slides/slide61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43.xml"/><Relationship Id="rId9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1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4.xml"/><Relationship Id="rId37" Type="http://schemas.openxmlformats.org/officeDocument/2006/relationships/slide" Target="slides/slide9.xml"/><Relationship Id="rId40" Type="http://schemas.openxmlformats.org/officeDocument/2006/relationships/slide" Target="slides/slide12.xml"/><Relationship Id="rId45" Type="http://schemas.openxmlformats.org/officeDocument/2006/relationships/slide" Target="slides/slide17.xml"/><Relationship Id="rId53" Type="http://schemas.openxmlformats.org/officeDocument/2006/relationships/slide" Target="slides/slide25.xml"/><Relationship Id="rId58" Type="http://schemas.openxmlformats.org/officeDocument/2006/relationships/slide" Target="slides/slide30.xml"/><Relationship Id="rId66" Type="http://schemas.openxmlformats.org/officeDocument/2006/relationships/slide" Target="slides/slide38.xml"/><Relationship Id="rId74" Type="http://schemas.openxmlformats.org/officeDocument/2006/relationships/slide" Target="slides/slide46.xml"/><Relationship Id="rId79" Type="http://schemas.openxmlformats.org/officeDocument/2006/relationships/slide" Target="slides/slide51.xml"/><Relationship Id="rId87" Type="http://schemas.openxmlformats.org/officeDocument/2006/relationships/slide" Target="slides/slide59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33.xml"/><Relationship Id="rId82" Type="http://schemas.openxmlformats.org/officeDocument/2006/relationships/slide" Target="slides/slide54.xml"/><Relationship Id="rId90" Type="http://schemas.openxmlformats.org/officeDocument/2006/relationships/notesMaster" Target="notesMasters/notesMaster1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" Target="slides/slide2.xml"/><Relationship Id="rId35" Type="http://schemas.openxmlformats.org/officeDocument/2006/relationships/slide" Target="slides/slide7.xml"/><Relationship Id="rId43" Type="http://schemas.openxmlformats.org/officeDocument/2006/relationships/slide" Target="slides/slide15.xml"/><Relationship Id="rId48" Type="http://schemas.openxmlformats.org/officeDocument/2006/relationships/slide" Target="slides/slide20.xml"/><Relationship Id="rId56" Type="http://schemas.openxmlformats.org/officeDocument/2006/relationships/slide" Target="slides/slide28.xml"/><Relationship Id="rId64" Type="http://schemas.openxmlformats.org/officeDocument/2006/relationships/slide" Target="slides/slide36.xml"/><Relationship Id="rId69" Type="http://schemas.openxmlformats.org/officeDocument/2006/relationships/slide" Target="slides/slide41.xml"/><Relationship Id="rId77" Type="http://schemas.openxmlformats.org/officeDocument/2006/relationships/slide" Target="slides/slide49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23.xml"/><Relationship Id="rId72" Type="http://schemas.openxmlformats.org/officeDocument/2006/relationships/slide" Target="slides/slide44.xml"/><Relationship Id="rId80" Type="http://schemas.openxmlformats.org/officeDocument/2006/relationships/slide" Target="slides/slide52.xml"/><Relationship Id="rId85" Type="http://schemas.openxmlformats.org/officeDocument/2006/relationships/slide" Target="slides/slide57.xml"/><Relationship Id="rId9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5.xml"/><Relationship Id="rId38" Type="http://schemas.openxmlformats.org/officeDocument/2006/relationships/slide" Target="slides/slide10.xml"/><Relationship Id="rId46" Type="http://schemas.openxmlformats.org/officeDocument/2006/relationships/slide" Target="slides/slide18.xml"/><Relationship Id="rId59" Type="http://schemas.openxmlformats.org/officeDocument/2006/relationships/slide" Target="slides/slide31.xml"/><Relationship Id="rId67" Type="http://schemas.openxmlformats.org/officeDocument/2006/relationships/slide" Target="slides/slide39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13.xml"/><Relationship Id="rId54" Type="http://schemas.openxmlformats.org/officeDocument/2006/relationships/slide" Target="slides/slide26.xml"/><Relationship Id="rId62" Type="http://schemas.openxmlformats.org/officeDocument/2006/relationships/slide" Target="slides/slide34.xml"/><Relationship Id="rId70" Type="http://schemas.openxmlformats.org/officeDocument/2006/relationships/slide" Target="slides/slide42.xml"/><Relationship Id="rId75" Type="http://schemas.openxmlformats.org/officeDocument/2006/relationships/slide" Target="slides/slide47.xml"/><Relationship Id="rId83" Type="http://schemas.openxmlformats.org/officeDocument/2006/relationships/slide" Target="slides/slide55.xml"/><Relationship Id="rId88" Type="http://schemas.openxmlformats.org/officeDocument/2006/relationships/slide" Target="slides/slide60.xml"/><Relationship Id="rId9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" Target="slides/slide8.xml"/><Relationship Id="rId49" Type="http://schemas.openxmlformats.org/officeDocument/2006/relationships/slide" Target="slides/slide21.xml"/><Relationship Id="rId57" Type="http://schemas.openxmlformats.org/officeDocument/2006/relationships/slide" Target="slides/slide29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3.xml"/><Relationship Id="rId44" Type="http://schemas.openxmlformats.org/officeDocument/2006/relationships/slide" Target="slides/slide16.xml"/><Relationship Id="rId52" Type="http://schemas.openxmlformats.org/officeDocument/2006/relationships/slide" Target="slides/slide24.xml"/><Relationship Id="rId60" Type="http://schemas.openxmlformats.org/officeDocument/2006/relationships/slide" Target="slides/slide32.xml"/><Relationship Id="rId65" Type="http://schemas.openxmlformats.org/officeDocument/2006/relationships/slide" Target="slides/slide37.xml"/><Relationship Id="rId73" Type="http://schemas.openxmlformats.org/officeDocument/2006/relationships/slide" Target="slides/slide45.xml"/><Relationship Id="rId78" Type="http://schemas.openxmlformats.org/officeDocument/2006/relationships/slide" Target="slides/slide50.xml"/><Relationship Id="rId81" Type="http://schemas.openxmlformats.org/officeDocument/2006/relationships/slide" Target="slides/slide53.xml"/><Relationship Id="rId86" Type="http://schemas.openxmlformats.org/officeDocument/2006/relationships/slide" Target="slides/slide58.xml"/><Relationship Id="rId9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91F281B-E73A-FB48-9FF1-1931471BA2A5}" type="doc">
      <dgm:prSet loTypeId="urn:microsoft.com/office/officeart/2005/8/layout/matrix2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62320EE-0C41-3A49-9A6F-265CB24BD683}">
      <dgm:prSet phldrT="[Text]"/>
      <dgm:spPr>
        <a:solidFill>
          <a:srgbClr val="B9CDE5"/>
        </a:solidFill>
      </dgm:spPr>
      <dgm:t>
        <a:bodyPr/>
        <a:lstStyle/>
        <a:p>
          <a:r>
            <a:rPr lang="en-US" dirty="0" smtClean="0">
              <a:solidFill>
                <a:schemeClr val="tx2"/>
              </a:solidFill>
            </a:rPr>
            <a:t>Translational Medicine</a:t>
          </a:r>
        </a:p>
        <a:p>
          <a:r>
            <a:rPr lang="en-US" dirty="0" smtClean="0">
              <a:solidFill>
                <a:schemeClr val="tx2"/>
              </a:solidFill>
            </a:rPr>
            <a:t>(TM) </a:t>
          </a:r>
          <a:endParaRPr lang="en-US" dirty="0">
            <a:solidFill>
              <a:schemeClr val="tx2"/>
            </a:solidFill>
          </a:endParaRPr>
        </a:p>
      </dgm:t>
    </dgm:pt>
    <dgm:pt modelId="{E4F926A3-28A9-E842-83BC-9AFAACC5E84A}" type="parTrans" cxnId="{CB4C7FCC-0716-5D4E-98D1-A33DA62387D2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C492009E-E7AC-B946-AEE6-6C6BAA8BCAD6}" type="sibTrans" cxnId="{CB4C7FCC-0716-5D4E-98D1-A33DA62387D2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ED024AC2-EE51-C34A-8721-5F3E3E76A2CF}">
      <dgm:prSet phldrT="[Text]"/>
      <dgm:spPr>
        <a:solidFill>
          <a:srgbClr val="B9CDE5"/>
        </a:solidFill>
      </dgm:spPr>
      <dgm:t>
        <a:bodyPr/>
        <a:lstStyle/>
        <a:p>
          <a:r>
            <a:rPr lang="en-US" dirty="0" smtClean="0">
              <a:solidFill>
                <a:schemeClr val="tx2"/>
              </a:solidFill>
            </a:rPr>
            <a:t>Clinical Research Research Design &amp; Management (CRDM) </a:t>
          </a:r>
          <a:endParaRPr lang="en-US" dirty="0">
            <a:solidFill>
              <a:schemeClr val="tx2"/>
            </a:solidFill>
          </a:endParaRPr>
        </a:p>
      </dgm:t>
    </dgm:pt>
    <dgm:pt modelId="{48ED4BB7-ADB9-9A4F-AB7B-4082D889C2D9}" type="parTrans" cxnId="{58418F32-53BB-E442-BDF6-118F001A19B0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548E0B82-C322-A54B-A579-23B2E218A448}" type="sibTrans" cxnId="{58418F32-53BB-E442-BDF6-118F001A19B0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5818D2B3-91C2-6C4C-8DCE-4BAA1A80DA13}">
      <dgm:prSet phldrT="[Text]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en-US" dirty="0" smtClean="0">
              <a:solidFill>
                <a:schemeClr val="tx2"/>
              </a:solidFill>
            </a:rPr>
            <a:t>Cellular Pathology </a:t>
          </a:r>
        </a:p>
        <a:p>
          <a:r>
            <a:rPr lang="en-US" dirty="0" smtClean="0">
              <a:solidFill>
                <a:schemeClr val="tx2"/>
              </a:solidFill>
            </a:rPr>
            <a:t>(CP) </a:t>
          </a:r>
          <a:endParaRPr lang="en-US" dirty="0">
            <a:solidFill>
              <a:schemeClr val="tx2"/>
            </a:solidFill>
          </a:endParaRPr>
        </a:p>
      </dgm:t>
    </dgm:pt>
    <dgm:pt modelId="{F047D122-7913-8248-9F47-137C979BAB3F}" type="parTrans" cxnId="{37506CAB-8474-CB44-8C3B-19EF9042FD2A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B407F1A0-7A5E-AC47-84F9-9F557C8CB03B}" type="sibTrans" cxnId="{37506CAB-8474-CB44-8C3B-19EF9042FD2A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1E5136CB-6E63-6C41-B93C-622261008987}">
      <dgm:prSet phldrT="[Text]"/>
      <dgm:spPr>
        <a:solidFill>
          <a:srgbClr val="B9CDE5"/>
        </a:solidFill>
      </dgm:spPr>
      <dgm:t>
        <a:bodyPr/>
        <a:lstStyle/>
        <a:p>
          <a:r>
            <a:rPr lang="en-US" dirty="0" smtClean="0">
              <a:solidFill>
                <a:schemeClr val="tx2"/>
              </a:solidFill>
            </a:rPr>
            <a:t>Human Nutrition</a:t>
          </a:r>
        </a:p>
        <a:p>
          <a:r>
            <a:rPr lang="en-US" dirty="0" smtClean="0">
              <a:solidFill>
                <a:schemeClr val="tx2"/>
              </a:solidFill>
            </a:rPr>
            <a:t>(HN)</a:t>
          </a:r>
        </a:p>
        <a:p>
          <a:endParaRPr lang="en-US" dirty="0">
            <a:solidFill>
              <a:schemeClr val="tx2"/>
            </a:solidFill>
          </a:endParaRPr>
        </a:p>
      </dgm:t>
    </dgm:pt>
    <dgm:pt modelId="{67C5A834-2585-9648-8694-82CCA6033E62}" type="parTrans" cxnId="{C9AFB844-19C5-C747-B738-87C9E66D8FD7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CF58D1E5-FF8B-A445-8499-CD8D973A0857}" type="sibTrans" cxnId="{C9AFB844-19C5-C747-B738-87C9E66D8FD7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B3997506-077F-114F-BB0A-4C0825A7CC76}" type="pres">
      <dgm:prSet presAssocID="{C91F281B-E73A-FB48-9FF1-1931471BA2A5}" presName="matrix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DC31218-062A-A04F-A9B6-D164D55FA08C}" type="pres">
      <dgm:prSet presAssocID="{C91F281B-E73A-FB48-9FF1-1931471BA2A5}" presName="axisShape" presStyleLbl="bgShp" presStyleIdx="0" presStyleCnt="1"/>
      <dgm:spPr/>
    </dgm:pt>
    <dgm:pt modelId="{3F371E65-586B-2B43-8C80-8476E31C5ACE}" type="pres">
      <dgm:prSet presAssocID="{C91F281B-E73A-FB48-9FF1-1931471BA2A5}" presName="rect1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8874267-B131-9344-82AC-D0BF495D6030}" type="pres">
      <dgm:prSet presAssocID="{C91F281B-E73A-FB48-9FF1-1931471BA2A5}" presName="rect2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2FAA0CF-4DD8-8A47-8771-F28C0D9F7223}" type="pres">
      <dgm:prSet presAssocID="{C91F281B-E73A-FB48-9FF1-1931471BA2A5}" presName="rect3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69FD8D4-6429-104D-B3F9-93F14FA74ACB}" type="pres">
      <dgm:prSet presAssocID="{C91F281B-E73A-FB48-9FF1-1931471BA2A5}" presName="rect4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9AFB844-19C5-C747-B738-87C9E66D8FD7}" srcId="{C91F281B-E73A-FB48-9FF1-1931471BA2A5}" destId="{1E5136CB-6E63-6C41-B93C-622261008987}" srcOrd="3" destOrd="0" parTransId="{67C5A834-2585-9648-8694-82CCA6033E62}" sibTransId="{CF58D1E5-FF8B-A445-8499-CD8D973A0857}"/>
    <dgm:cxn modelId="{37506CAB-8474-CB44-8C3B-19EF9042FD2A}" srcId="{C91F281B-E73A-FB48-9FF1-1931471BA2A5}" destId="{5818D2B3-91C2-6C4C-8DCE-4BAA1A80DA13}" srcOrd="2" destOrd="0" parTransId="{F047D122-7913-8248-9F47-137C979BAB3F}" sibTransId="{B407F1A0-7A5E-AC47-84F9-9F557C8CB03B}"/>
    <dgm:cxn modelId="{B4997840-D839-2549-99DC-C42F44D7C47D}" type="presOf" srcId="{5818D2B3-91C2-6C4C-8DCE-4BAA1A80DA13}" destId="{F2FAA0CF-4DD8-8A47-8771-F28C0D9F7223}" srcOrd="0" destOrd="0" presId="urn:microsoft.com/office/officeart/2005/8/layout/matrix2"/>
    <dgm:cxn modelId="{CB4C7FCC-0716-5D4E-98D1-A33DA62387D2}" srcId="{C91F281B-E73A-FB48-9FF1-1931471BA2A5}" destId="{C62320EE-0C41-3A49-9A6F-265CB24BD683}" srcOrd="0" destOrd="0" parTransId="{E4F926A3-28A9-E842-83BC-9AFAACC5E84A}" sibTransId="{C492009E-E7AC-B946-AEE6-6C6BAA8BCAD6}"/>
    <dgm:cxn modelId="{C0EA7296-7D6E-C240-9A8A-38935BBBD863}" type="presOf" srcId="{C91F281B-E73A-FB48-9FF1-1931471BA2A5}" destId="{B3997506-077F-114F-BB0A-4C0825A7CC76}" srcOrd="0" destOrd="0" presId="urn:microsoft.com/office/officeart/2005/8/layout/matrix2"/>
    <dgm:cxn modelId="{9FD4CB5F-2CAD-BA44-858B-4A0B23B33A2C}" type="presOf" srcId="{ED024AC2-EE51-C34A-8721-5F3E3E76A2CF}" destId="{38874267-B131-9344-82AC-D0BF495D6030}" srcOrd="0" destOrd="0" presId="urn:microsoft.com/office/officeart/2005/8/layout/matrix2"/>
    <dgm:cxn modelId="{B0FEEF12-CA2F-BA45-9361-ED7F85DCC0B0}" type="presOf" srcId="{1E5136CB-6E63-6C41-B93C-622261008987}" destId="{069FD8D4-6429-104D-B3F9-93F14FA74ACB}" srcOrd="0" destOrd="0" presId="urn:microsoft.com/office/officeart/2005/8/layout/matrix2"/>
    <dgm:cxn modelId="{58418F32-53BB-E442-BDF6-118F001A19B0}" srcId="{C91F281B-E73A-FB48-9FF1-1931471BA2A5}" destId="{ED024AC2-EE51-C34A-8721-5F3E3E76A2CF}" srcOrd="1" destOrd="0" parTransId="{48ED4BB7-ADB9-9A4F-AB7B-4082D889C2D9}" sibTransId="{548E0B82-C322-A54B-A579-23B2E218A448}"/>
    <dgm:cxn modelId="{E4818D8C-B716-F042-AFF1-022BB6D0FF5B}" type="presOf" srcId="{C62320EE-0C41-3A49-9A6F-265CB24BD683}" destId="{3F371E65-586B-2B43-8C80-8476E31C5ACE}" srcOrd="0" destOrd="0" presId="urn:microsoft.com/office/officeart/2005/8/layout/matrix2"/>
    <dgm:cxn modelId="{1D49AC8B-968F-5844-82AB-EDE717494CDA}" type="presParOf" srcId="{B3997506-077F-114F-BB0A-4C0825A7CC76}" destId="{8DC31218-062A-A04F-A9B6-D164D55FA08C}" srcOrd="0" destOrd="0" presId="urn:microsoft.com/office/officeart/2005/8/layout/matrix2"/>
    <dgm:cxn modelId="{8F64CEC8-DEB9-6845-8256-3C207D0A7E8B}" type="presParOf" srcId="{B3997506-077F-114F-BB0A-4C0825A7CC76}" destId="{3F371E65-586B-2B43-8C80-8476E31C5ACE}" srcOrd="1" destOrd="0" presId="urn:microsoft.com/office/officeart/2005/8/layout/matrix2"/>
    <dgm:cxn modelId="{E14D5603-1AC5-8F44-9FAB-3E76DC357964}" type="presParOf" srcId="{B3997506-077F-114F-BB0A-4C0825A7CC76}" destId="{38874267-B131-9344-82AC-D0BF495D6030}" srcOrd="2" destOrd="0" presId="urn:microsoft.com/office/officeart/2005/8/layout/matrix2"/>
    <dgm:cxn modelId="{ABC46B66-3657-7B43-884F-98B2D2430A73}" type="presParOf" srcId="{B3997506-077F-114F-BB0A-4C0825A7CC76}" destId="{F2FAA0CF-4DD8-8A47-8771-F28C0D9F7223}" srcOrd="3" destOrd="0" presId="urn:microsoft.com/office/officeart/2005/8/layout/matrix2"/>
    <dgm:cxn modelId="{8D01E95C-C75C-554D-A7A0-F72A50D5A289}" type="presParOf" srcId="{B3997506-077F-114F-BB0A-4C0825A7CC76}" destId="{069FD8D4-6429-104D-B3F9-93F14FA74ACB}" srcOrd="4" destOrd="0" presId="urn:microsoft.com/office/officeart/2005/8/layout/matrix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C31218-062A-A04F-A9B6-D164D55FA08C}">
      <dsp:nvSpPr>
        <dsp:cNvPr id="0" name=""/>
        <dsp:cNvSpPr/>
      </dsp:nvSpPr>
      <dsp:spPr>
        <a:xfrm>
          <a:off x="637232" y="0"/>
          <a:ext cx="4872335" cy="4872335"/>
        </a:xfrm>
        <a:prstGeom prst="quadArrow">
          <a:avLst>
            <a:gd name="adj1" fmla="val 2000"/>
            <a:gd name="adj2" fmla="val 4000"/>
            <a:gd name="adj3" fmla="val 5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3F371E65-586B-2B43-8C80-8476E31C5ACE}">
      <dsp:nvSpPr>
        <dsp:cNvPr id="0" name=""/>
        <dsp:cNvSpPr/>
      </dsp:nvSpPr>
      <dsp:spPr>
        <a:xfrm>
          <a:off x="953934" y="316701"/>
          <a:ext cx="1948934" cy="1948934"/>
        </a:xfrm>
        <a:prstGeom prst="roundRect">
          <a:avLst/>
        </a:prstGeom>
        <a:solidFill>
          <a:srgbClr val="B9CDE5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>
              <a:solidFill>
                <a:schemeClr val="tx2"/>
              </a:solidFill>
            </a:rPr>
            <a:t>Translational Medicine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>
              <a:solidFill>
                <a:schemeClr val="tx2"/>
              </a:solidFill>
            </a:rPr>
            <a:t>(TM) </a:t>
          </a:r>
          <a:endParaRPr lang="en-US" sz="1900" kern="1200" dirty="0">
            <a:solidFill>
              <a:schemeClr val="tx2"/>
            </a:solidFill>
          </a:endParaRPr>
        </a:p>
      </dsp:txBody>
      <dsp:txXfrm>
        <a:off x="1049073" y="411840"/>
        <a:ext cx="1758656" cy="1758656"/>
      </dsp:txXfrm>
    </dsp:sp>
    <dsp:sp modelId="{38874267-B131-9344-82AC-D0BF495D6030}">
      <dsp:nvSpPr>
        <dsp:cNvPr id="0" name=""/>
        <dsp:cNvSpPr/>
      </dsp:nvSpPr>
      <dsp:spPr>
        <a:xfrm>
          <a:off x="3243931" y="316701"/>
          <a:ext cx="1948934" cy="1948934"/>
        </a:xfrm>
        <a:prstGeom prst="roundRect">
          <a:avLst/>
        </a:prstGeom>
        <a:solidFill>
          <a:srgbClr val="B9CDE5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>
              <a:solidFill>
                <a:schemeClr val="tx2"/>
              </a:solidFill>
            </a:rPr>
            <a:t>Clinical Research Research Design &amp; Management (CRDM) </a:t>
          </a:r>
          <a:endParaRPr lang="en-US" sz="1900" kern="1200" dirty="0">
            <a:solidFill>
              <a:schemeClr val="tx2"/>
            </a:solidFill>
          </a:endParaRPr>
        </a:p>
      </dsp:txBody>
      <dsp:txXfrm>
        <a:off x="3339070" y="411840"/>
        <a:ext cx="1758656" cy="1758656"/>
      </dsp:txXfrm>
    </dsp:sp>
    <dsp:sp modelId="{F2FAA0CF-4DD8-8A47-8771-F28C0D9F7223}">
      <dsp:nvSpPr>
        <dsp:cNvPr id="0" name=""/>
        <dsp:cNvSpPr/>
      </dsp:nvSpPr>
      <dsp:spPr>
        <a:xfrm>
          <a:off x="953934" y="2606699"/>
          <a:ext cx="1948934" cy="1948934"/>
        </a:xfrm>
        <a:prstGeom prst="roundRect">
          <a:avLst/>
        </a:prstGeom>
        <a:solidFill>
          <a:schemeClr val="accent1">
            <a:lumMod val="40000"/>
            <a:lumOff val="6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>
              <a:solidFill>
                <a:schemeClr val="tx2"/>
              </a:solidFill>
            </a:rPr>
            <a:t>Cellular Pathology 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>
              <a:solidFill>
                <a:schemeClr val="tx2"/>
              </a:solidFill>
            </a:rPr>
            <a:t>(CP) </a:t>
          </a:r>
          <a:endParaRPr lang="en-US" sz="1900" kern="1200" dirty="0">
            <a:solidFill>
              <a:schemeClr val="tx2"/>
            </a:solidFill>
          </a:endParaRPr>
        </a:p>
      </dsp:txBody>
      <dsp:txXfrm>
        <a:off x="1049073" y="2701838"/>
        <a:ext cx="1758656" cy="1758656"/>
      </dsp:txXfrm>
    </dsp:sp>
    <dsp:sp modelId="{069FD8D4-6429-104D-B3F9-93F14FA74ACB}">
      <dsp:nvSpPr>
        <dsp:cNvPr id="0" name=""/>
        <dsp:cNvSpPr/>
      </dsp:nvSpPr>
      <dsp:spPr>
        <a:xfrm>
          <a:off x="3243931" y="2606699"/>
          <a:ext cx="1948934" cy="1948934"/>
        </a:xfrm>
        <a:prstGeom prst="roundRect">
          <a:avLst/>
        </a:prstGeom>
        <a:solidFill>
          <a:srgbClr val="B9CDE5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>
              <a:solidFill>
                <a:schemeClr val="tx2"/>
              </a:solidFill>
            </a:rPr>
            <a:t>Human Nutrition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>
              <a:solidFill>
                <a:schemeClr val="tx2"/>
              </a:solidFill>
            </a:rPr>
            <a:t>(HN)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900" kern="1200" dirty="0">
            <a:solidFill>
              <a:schemeClr val="tx2"/>
            </a:solidFill>
          </a:endParaRPr>
        </a:p>
      </dsp:txBody>
      <dsp:txXfrm>
        <a:off x="3339070" y="2701838"/>
        <a:ext cx="1758656" cy="175865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2">
  <dgm:title val=""/>
  <dgm:desc val=""/>
  <dgm:catLst>
    <dgm:cat type="matrix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l" for="ch" forName="rect1" refType="w" fact="0.065"/>
          <dgm:constr type="t" for="ch" forName="rect1" refType="h" fact="0.065"/>
          <dgm:constr type="w" for="ch" forName="rect2" refType="w" fact="0.4"/>
          <dgm:constr type="h" for="ch" forName="rect2" refType="h" fact="0.4"/>
          <dgm:constr type="r" for="ch" forName="rect2" refType="w" fact="0.935"/>
          <dgm:constr type="t" for="ch" forName="rect2" refType="h" fact="0.065"/>
          <dgm:constr type="w" for="ch" forName="rect3" refType="w" fact="0.4"/>
          <dgm:constr type="h" for="ch" forName="rect3" refType="w" fact="0.4"/>
          <dgm:constr type="l" for="ch" forName="rect3" refType="w" fact="0.065"/>
          <dgm:constr type="b" for="ch" forName="rect3" refType="h" fact="0.935"/>
          <dgm:constr type="w" for="ch" forName="rect4" refType="w" fact="0.4"/>
          <dgm:constr type="h" for="ch" forName="rect4" refType="h" fact="0.4"/>
          <dgm:constr type="r" for="ch" forName="rect4" refType="w" fact="0.935"/>
          <dgm:constr type="b" for="ch" forName="rect4" refType="h" fact="0.935"/>
        </dgm:constrLst>
      </dgm:if>
      <dgm:else name="Name2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r" for="ch" forName="rect1" refType="w" fact="0.935"/>
          <dgm:constr type="t" for="ch" forName="rect1" refType="h" fact="0.065"/>
          <dgm:constr type="w" for="ch" forName="rect2" refType="w" fact="0.4"/>
          <dgm:constr type="h" for="ch" forName="rect2" refType="h" fact="0.4"/>
          <dgm:constr type="l" for="ch" forName="rect2" refType="w" fact="0.065"/>
          <dgm:constr type="t" for="ch" forName="rect2" refType="h" fact="0.065"/>
          <dgm:constr type="w" for="ch" forName="rect3" refType="w" fact="0.4"/>
          <dgm:constr type="h" for="ch" forName="rect3" refType="w" fact="0.4"/>
          <dgm:constr type="r" for="ch" forName="rect3" refType="w" fact="0.935"/>
          <dgm:constr type="b" for="ch" forName="rect3" refType="h" fact="0.935"/>
          <dgm:constr type="w" for="ch" forName="rect4" refType="w" fact="0.4"/>
          <dgm:constr type="h" for="ch" forName="rect4" refType="h" fact="0.4"/>
          <dgm:constr type="l" for="ch" forName="rect4" refType="w" fact="0.065"/>
          <dgm:constr type="b" for="ch" forName="rect4" refType="h" fact="0.935"/>
        </dgm:constrLst>
      </dgm:else>
    </dgm:choose>
    <dgm:ruleLst/>
    <dgm:choose name="Name3">
      <dgm:if name="Name4" axis="ch" ptType="node" func="cnt" op="gte" val="1">
        <dgm:layoutNode name="axisShape" styleLbl="bgShp">
          <dgm:alg type="sp"/>
          <dgm:shape xmlns:r="http://schemas.openxmlformats.org/officeDocument/2006/relationships" type="quadArrow" r:blip="">
            <dgm:adjLst>
              <dgm:adj idx="1" val="0.02"/>
              <dgm:adj idx="2" val="0.04"/>
              <dgm:adj idx="3" val="0.05"/>
            </dgm:adjLst>
          </dgm:shape>
          <dgm:presOf/>
          <dgm:constrLst/>
          <dgm:ruleLst/>
        </dgm:layoutNode>
        <dgm:layoutNode name="rect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w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w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wmf"/></Relationships>
</file>

<file path=ppt/drawings/_rels/vmlDrawing1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image" Target="../media/image27.png"/></Relationships>
</file>

<file path=ppt/drawings/_rels/vmlDrawing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image" Target="../media/image27.png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png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wmf"/></Relationships>
</file>

<file path=ppt/drawings/_rels/vmlDrawing16.vml.rels><?xml version="1.0" encoding="UTF-8" standalone="yes"?>
<Relationships xmlns="http://schemas.openxmlformats.org/package/2006/relationships"><Relationship Id="rId2" Type="http://schemas.openxmlformats.org/officeDocument/2006/relationships/image" Target="../media/image57.wmf"/><Relationship Id="rId1" Type="http://schemas.openxmlformats.org/officeDocument/2006/relationships/image" Target="../media/image56.wmf"/></Relationships>
</file>

<file path=ppt/drawings/_rels/vmlDrawing2.vml.rels><?xml version="1.0" encoding="UTF-8" standalone="yes"?>
<Relationships xmlns="http://schemas.openxmlformats.org/package/2006/relationships"><Relationship Id="rId8" Type="http://schemas.openxmlformats.org/officeDocument/2006/relationships/image" Target="../media/image16.wmf"/><Relationship Id="rId3" Type="http://schemas.openxmlformats.org/officeDocument/2006/relationships/image" Target="../media/image9.wmf"/><Relationship Id="rId7" Type="http://schemas.openxmlformats.org/officeDocument/2006/relationships/image" Target="../media/image15.wmf"/><Relationship Id="rId2" Type="http://schemas.openxmlformats.org/officeDocument/2006/relationships/image" Target="../media/image11.wmf"/><Relationship Id="rId1" Type="http://schemas.openxmlformats.org/officeDocument/2006/relationships/image" Target="../media/image10.wmf"/><Relationship Id="rId6" Type="http://schemas.openxmlformats.org/officeDocument/2006/relationships/image" Target="../media/image14.wmf"/><Relationship Id="rId5" Type="http://schemas.openxmlformats.org/officeDocument/2006/relationships/image" Target="../media/image13.wmf"/><Relationship Id="rId10" Type="http://schemas.openxmlformats.org/officeDocument/2006/relationships/image" Target="../media/image18.wmf"/><Relationship Id="rId4" Type="http://schemas.openxmlformats.org/officeDocument/2006/relationships/image" Target="../media/image12.wmf"/><Relationship Id="rId9" Type="http://schemas.openxmlformats.org/officeDocument/2006/relationships/image" Target="../media/image17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png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w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17838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70325" y="0"/>
            <a:ext cx="3017838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73060" name="Rectangle 4"/>
          <p:cNvSpPr>
            <a:spLocks noChangeArrowheads="1" noTextEdit="1"/>
          </p:cNvSpPr>
          <p:nvPr>
            <p:ph type="sldImg" idx="2"/>
          </p:nvPr>
        </p:nvSpPr>
        <p:spPr bwMode="auto">
          <a:xfrm>
            <a:off x="1027113" y="739775"/>
            <a:ext cx="4832350" cy="36242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28688" y="4586288"/>
            <a:ext cx="5030787" cy="4291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174163"/>
            <a:ext cx="3017838" cy="44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22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70325" y="9174163"/>
            <a:ext cx="3017838" cy="44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7DE64E88-226F-4AD0-8181-75057A6F7100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008269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29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47750" y="728663"/>
            <a:ext cx="4792663" cy="3595687"/>
          </a:xfrm>
          <a:ln/>
        </p:spPr>
      </p:sp>
      <p:sp>
        <p:nvSpPr>
          <p:cNvPr id="18329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89000"/>
              </a:lnSpc>
            </a:pPr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161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220162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latin typeface="Times" charset="0"/>
              <a:ea typeface="ＭＳ Ｐゴシック" pitchFamily="34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fld id="{9471D0FA-7A07-4854-8ED7-D4E60695EA27}" type="slidenum">
              <a:rPr lang="en-GB" sz="1200"/>
              <a:pPr/>
              <a:t>36</a:t>
            </a:fld>
            <a:endParaRPr lang="en-GB" sz="120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209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22210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n-GB" smtClean="0">
              <a:latin typeface="Times" charset="0"/>
              <a:ea typeface="ＭＳ Ｐゴシック" pitchFamily="34" charset="-128"/>
            </a:endParaRPr>
          </a:p>
        </p:txBody>
      </p:sp>
      <p:sp>
        <p:nvSpPr>
          <p:cNvPr id="222211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fld id="{A79D3A53-97BE-448A-AD62-451CCEE2D6DE}" type="slidenum">
              <a:rPr lang="en-GB" sz="1200"/>
              <a:pPr/>
              <a:t>37</a:t>
            </a:fld>
            <a:endParaRPr lang="en-GB" sz="120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257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24258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GB" smtClean="0">
              <a:latin typeface="Times" charset="0"/>
              <a:ea typeface="ＭＳ Ｐゴシック" pitchFamily="34" charset="-128"/>
            </a:endParaRPr>
          </a:p>
        </p:txBody>
      </p:sp>
      <p:sp>
        <p:nvSpPr>
          <p:cNvPr id="224259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2B9690BA-ABAF-4524-B396-509AFB3C61CB}" type="slidenum">
              <a:rPr lang="en-GB" sz="1200"/>
              <a:pPr eaLnBrk="1" hangingPunct="1"/>
              <a:t>38</a:t>
            </a:fld>
            <a:endParaRPr lang="en-GB" sz="120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401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30402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n-GB" smtClean="0">
              <a:latin typeface="Times" charset="0"/>
              <a:ea typeface="ＭＳ Ｐゴシック" pitchFamily="34" charset="-128"/>
            </a:endParaRPr>
          </a:p>
        </p:txBody>
      </p:sp>
      <p:sp>
        <p:nvSpPr>
          <p:cNvPr id="230403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fld id="{1571715A-3656-463F-9409-C93F7DC12E02}" type="slidenum">
              <a:rPr lang="en-GB" sz="1200"/>
              <a:pPr/>
              <a:t>43</a:t>
            </a:fld>
            <a:endParaRPr lang="en-GB" sz="120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497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34498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n-GB" smtClean="0">
              <a:latin typeface="Times" charset="0"/>
              <a:ea typeface="ＭＳ Ｐゴシック" pitchFamily="34" charset="-128"/>
            </a:endParaRPr>
          </a:p>
        </p:txBody>
      </p:sp>
      <p:sp>
        <p:nvSpPr>
          <p:cNvPr id="234499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fld id="{4D459662-2042-4CDF-B05C-0E05DC9E454F}" type="slidenum">
              <a:rPr lang="en-GB" sz="1200"/>
              <a:pPr/>
              <a:t>46</a:t>
            </a:fld>
            <a:endParaRPr lang="en-GB" sz="120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54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fld id="{2F415616-0474-4823-A2CA-D88C70CC489E}" type="slidenum">
              <a:rPr lang="en-GB" sz="1200"/>
              <a:pPr/>
              <a:t>47</a:t>
            </a:fld>
            <a:endParaRPr lang="en-GB" sz="1200"/>
          </a:p>
        </p:txBody>
      </p:sp>
      <p:sp>
        <p:nvSpPr>
          <p:cNvPr id="236546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-2270125" y="7938"/>
            <a:ext cx="11425238" cy="8570912"/>
          </a:xfrm>
          <a:ln/>
        </p:spPr>
      </p:sp>
      <p:sp>
        <p:nvSpPr>
          <p:cNvPr id="2365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8553450"/>
            <a:ext cx="5083175" cy="3222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51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FB41C2AF-6911-4B6D-8136-DE1FD82CF5FD}" type="slidenum">
              <a:rPr lang="en-GB" sz="1200">
                <a:solidFill>
                  <a:srgbClr val="000000"/>
                </a:solidFill>
                <a:cs typeface="Arial" pitchFamily="34" charset="0"/>
              </a:rPr>
              <a:pPr eaLnBrk="1" hangingPunct="1"/>
              <a:t>17</a:t>
            </a:fld>
            <a:endParaRPr lang="en-GB" sz="12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925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25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9163" y="4570413"/>
            <a:ext cx="5049837" cy="43307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  <a:buClr>
                <a:schemeClr val="tx1"/>
              </a:buClr>
              <a:buFont typeface="Wingdings" pitchFamily="2" charset="2"/>
              <a:buChar char="ü"/>
            </a:pPr>
            <a:r>
              <a:rPr lang="en-GB" smtClean="0">
                <a:latin typeface="Times" charset="0"/>
                <a:ea typeface="ＭＳ Ｐゴシック" pitchFamily="34" charset="-128"/>
              </a:rPr>
              <a:t> Trials designed to evaluate clinical outcomes are highly expensive and of long duration</a:t>
            </a:r>
          </a:p>
          <a:p>
            <a:pPr eaLnBrk="1" hangingPunct="1">
              <a:spcBef>
                <a:spcPct val="0"/>
              </a:spcBef>
              <a:buClr>
                <a:schemeClr val="tx1"/>
              </a:buClr>
              <a:buFont typeface="Wingdings" pitchFamily="2" charset="2"/>
              <a:buChar char="ü"/>
            </a:pPr>
            <a:r>
              <a:rPr lang="en-GB" smtClean="0">
                <a:latin typeface="Times" charset="0"/>
                <a:ea typeface="ＭＳ Ｐゴシック" pitchFamily="34" charset="-128"/>
              </a:rPr>
              <a:t> Most programs </a:t>
            </a:r>
            <a:r>
              <a:rPr lang="en-GB" altLang="en-US" smtClean="0">
                <a:latin typeface="Times" charset="0"/>
                <a:ea typeface="ＭＳ Ｐゴシック" pitchFamily="34" charset="-128"/>
              </a:rPr>
              <a:t>“</a:t>
            </a:r>
            <a:r>
              <a:rPr lang="en-GB" smtClean="0">
                <a:latin typeface="Times" charset="0"/>
                <a:ea typeface="ＭＳ Ｐゴシック" pitchFamily="34" charset="-128"/>
              </a:rPr>
              <a:t>fail</a:t>
            </a:r>
            <a:r>
              <a:rPr lang="en-GB" altLang="en-US" smtClean="0">
                <a:latin typeface="Times" charset="0"/>
                <a:ea typeface="ＭＳ Ｐゴシック" pitchFamily="34" charset="-128"/>
              </a:rPr>
              <a:t>”</a:t>
            </a:r>
            <a:r>
              <a:rPr lang="en-GB" smtClean="0">
                <a:latin typeface="Times" charset="0"/>
                <a:ea typeface="ＭＳ Ｐゴシック" pitchFamily="34" charset="-128"/>
              </a:rPr>
              <a:t> (lack of efficacy and/or safety) with 85-90% attrition after FTIH</a:t>
            </a:r>
          </a:p>
          <a:p>
            <a:pPr eaLnBrk="1" hangingPunct="1">
              <a:spcBef>
                <a:spcPct val="0"/>
              </a:spcBef>
              <a:buClr>
                <a:schemeClr val="tx1"/>
              </a:buClr>
              <a:buFont typeface="Wingdings" pitchFamily="2" charset="2"/>
              <a:buChar char="ü"/>
            </a:pPr>
            <a:r>
              <a:rPr lang="en-GB" smtClean="0">
                <a:latin typeface="Times" charset="0"/>
                <a:ea typeface="ＭＳ Ｐゴシック" pitchFamily="34" charset="-128"/>
              </a:rPr>
              <a:t> Pipeline are clogged with many molecules that will fail</a:t>
            </a:r>
          </a:p>
          <a:p>
            <a:pPr eaLnBrk="1" hangingPunct="1">
              <a:spcBef>
                <a:spcPct val="0"/>
              </a:spcBef>
              <a:buClr>
                <a:schemeClr val="tx1"/>
              </a:buClr>
              <a:buFont typeface="Wingdings" pitchFamily="2" charset="2"/>
              <a:buChar char="ü"/>
            </a:pPr>
            <a:r>
              <a:rPr lang="en-GB" smtClean="0">
                <a:latin typeface="Times" charset="0"/>
                <a:ea typeface="ＭＳ Ｐゴシック" pitchFamily="34" charset="-128"/>
              </a:rPr>
              <a:t> It is critical to develop laboratory and/or physical tools to be used as an alternative outcome for (or in addition to) clinically meaningful endpoints. </a:t>
            </a:r>
          </a:p>
          <a:p>
            <a:pPr eaLnBrk="1" hangingPunct="1">
              <a:spcBef>
                <a:spcPct val="0"/>
              </a:spcBef>
              <a:buClr>
                <a:schemeClr val="tx1"/>
              </a:buClr>
              <a:buFont typeface="Wingdings" pitchFamily="2" charset="2"/>
              <a:buChar char="ü"/>
            </a:pPr>
            <a:r>
              <a:rPr lang="en-GB" smtClean="0">
                <a:latin typeface="Times" charset="0"/>
                <a:ea typeface="ＭＳ Ｐゴシック" pitchFamily="34" charset="-128"/>
              </a:rPr>
              <a:t>PK/PD modelling are needed to aid </a:t>
            </a:r>
            <a:r>
              <a:rPr lang="en-US" smtClean="0">
                <a:latin typeface="Times" charset="0"/>
                <a:ea typeface="ＭＳ Ｐゴシック" pitchFamily="34" charset="-128"/>
              </a:rPr>
              <a:t>PK at site of action and </a:t>
            </a:r>
            <a:r>
              <a:rPr lang="en-GB" smtClean="0">
                <a:latin typeface="Times" charset="0"/>
                <a:ea typeface="ＭＳ Ｐゴシック" pitchFamily="34" charset="-128"/>
              </a:rPr>
              <a:t>dose selection for human studies.</a:t>
            </a:r>
          </a:p>
          <a:p>
            <a:pPr eaLnBrk="1" hangingPunct="1">
              <a:spcBef>
                <a:spcPct val="0"/>
              </a:spcBef>
            </a:pPr>
            <a:endParaRPr lang="en-GB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60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7DCD2862-BB52-425D-8444-C5D2EBCB081C}" type="slidenum">
              <a:rPr lang="en-US" sz="1200">
                <a:solidFill>
                  <a:srgbClr val="000000"/>
                </a:solidFill>
              </a:rPr>
              <a:pPr eaLnBrk="1" hangingPunct="1"/>
              <a:t>20</a:t>
            </a:fld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966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17588" y="747713"/>
            <a:ext cx="4783137" cy="3587750"/>
          </a:xfrm>
          <a:ln/>
        </p:spPr>
      </p:sp>
      <p:sp>
        <p:nvSpPr>
          <p:cNvPr id="19661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50913" y="4559300"/>
            <a:ext cx="4992687" cy="43370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GB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65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B3137575-B904-4F16-AD9A-D9868F612A87}" type="slidenum">
              <a:rPr lang="en-GB" sz="1200">
                <a:solidFill>
                  <a:srgbClr val="000000"/>
                </a:solidFill>
                <a:cs typeface="Arial" pitchFamily="34" charset="0"/>
              </a:rPr>
              <a:pPr eaLnBrk="1" hangingPunct="1"/>
              <a:t>21</a:t>
            </a:fld>
            <a:endParaRPr lang="en-GB" sz="12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986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86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9163" y="4570413"/>
            <a:ext cx="5049837" cy="43307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  <a:buClr>
                <a:schemeClr val="tx1"/>
              </a:buClr>
              <a:buFont typeface="Wingdings" pitchFamily="2" charset="2"/>
              <a:buChar char="ü"/>
            </a:pPr>
            <a:r>
              <a:rPr lang="en-GB" smtClean="0">
                <a:latin typeface="Times" charset="0"/>
                <a:ea typeface="ＭＳ Ｐゴシック" pitchFamily="34" charset="-128"/>
              </a:rPr>
              <a:t> Trials designed to evaluate clinical outcomes are highly expensive and of long duration</a:t>
            </a:r>
          </a:p>
          <a:p>
            <a:pPr eaLnBrk="1" hangingPunct="1">
              <a:spcBef>
                <a:spcPct val="0"/>
              </a:spcBef>
              <a:buClr>
                <a:schemeClr val="tx1"/>
              </a:buClr>
              <a:buFont typeface="Wingdings" pitchFamily="2" charset="2"/>
              <a:buChar char="ü"/>
            </a:pPr>
            <a:r>
              <a:rPr lang="en-GB" smtClean="0">
                <a:latin typeface="Times" charset="0"/>
                <a:ea typeface="ＭＳ Ｐゴシック" pitchFamily="34" charset="-128"/>
              </a:rPr>
              <a:t> Most programs </a:t>
            </a:r>
            <a:r>
              <a:rPr lang="en-GB" altLang="en-US" smtClean="0">
                <a:latin typeface="Times" charset="0"/>
                <a:ea typeface="ＭＳ Ｐゴシック" pitchFamily="34" charset="-128"/>
              </a:rPr>
              <a:t>“</a:t>
            </a:r>
            <a:r>
              <a:rPr lang="en-GB" smtClean="0">
                <a:latin typeface="Times" charset="0"/>
                <a:ea typeface="ＭＳ Ｐゴシック" pitchFamily="34" charset="-128"/>
              </a:rPr>
              <a:t>fail</a:t>
            </a:r>
            <a:r>
              <a:rPr lang="en-GB" altLang="en-US" smtClean="0">
                <a:latin typeface="Times" charset="0"/>
                <a:ea typeface="ＭＳ Ｐゴシック" pitchFamily="34" charset="-128"/>
              </a:rPr>
              <a:t>”</a:t>
            </a:r>
            <a:r>
              <a:rPr lang="en-GB" smtClean="0">
                <a:latin typeface="Times" charset="0"/>
                <a:ea typeface="ＭＳ Ｐゴシック" pitchFamily="34" charset="-128"/>
              </a:rPr>
              <a:t> (lack of efficacy and/or safety) with 85-90% attrition after FTIH</a:t>
            </a:r>
          </a:p>
          <a:p>
            <a:pPr eaLnBrk="1" hangingPunct="1">
              <a:spcBef>
                <a:spcPct val="0"/>
              </a:spcBef>
              <a:buClr>
                <a:schemeClr val="tx1"/>
              </a:buClr>
              <a:buFont typeface="Wingdings" pitchFamily="2" charset="2"/>
              <a:buChar char="ü"/>
            </a:pPr>
            <a:r>
              <a:rPr lang="en-GB" smtClean="0">
                <a:latin typeface="Times" charset="0"/>
                <a:ea typeface="ＭＳ Ｐゴシック" pitchFamily="34" charset="-128"/>
              </a:rPr>
              <a:t> Pipeline are clogged with many molecules that will fail</a:t>
            </a:r>
          </a:p>
          <a:p>
            <a:pPr eaLnBrk="1" hangingPunct="1">
              <a:spcBef>
                <a:spcPct val="0"/>
              </a:spcBef>
              <a:buClr>
                <a:schemeClr val="tx1"/>
              </a:buClr>
              <a:buFont typeface="Wingdings" pitchFamily="2" charset="2"/>
              <a:buChar char="ü"/>
            </a:pPr>
            <a:r>
              <a:rPr lang="en-GB" smtClean="0">
                <a:latin typeface="Times" charset="0"/>
                <a:ea typeface="ＭＳ Ｐゴシック" pitchFamily="34" charset="-128"/>
              </a:rPr>
              <a:t> It is critical to develop laboratory and/or physical tools to be used as an alternative outcome for (or in addition to) clinically meaningful endpoints. </a:t>
            </a:r>
          </a:p>
          <a:p>
            <a:pPr eaLnBrk="1" hangingPunct="1">
              <a:spcBef>
                <a:spcPct val="0"/>
              </a:spcBef>
              <a:buClr>
                <a:schemeClr val="tx1"/>
              </a:buClr>
              <a:buFont typeface="Wingdings" pitchFamily="2" charset="2"/>
              <a:buChar char="ü"/>
            </a:pPr>
            <a:r>
              <a:rPr lang="en-GB" smtClean="0">
                <a:latin typeface="Times" charset="0"/>
                <a:ea typeface="ＭＳ Ｐゴシック" pitchFamily="34" charset="-128"/>
              </a:rPr>
              <a:t>PK/PD modelling are needed to aid </a:t>
            </a:r>
            <a:r>
              <a:rPr lang="en-US" smtClean="0">
                <a:latin typeface="Times" charset="0"/>
                <a:ea typeface="ＭＳ Ｐゴシック" pitchFamily="34" charset="-128"/>
              </a:rPr>
              <a:t>PK at site of action and </a:t>
            </a:r>
            <a:r>
              <a:rPr lang="en-GB" smtClean="0">
                <a:latin typeface="Times" charset="0"/>
                <a:ea typeface="ＭＳ Ｐゴシック" pitchFamily="34" charset="-128"/>
              </a:rPr>
              <a:t>dose selection for human studies.</a:t>
            </a:r>
          </a:p>
          <a:p>
            <a:pPr eaLnBrk="1" hangingPunct="1">
              <a:spcBef>
                <a:spcPct val="0"/>
              </a:spcBef>
            </a:pPr>
            <a:endParaRPr lang="en-GB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72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6D53EA93-B37B-4500-8BC0-1F6832A36E34}" type="slidenum">
              <a:rPr lang="en-GB" sz="1200">
                <a:solidFill>
                  <a:srgbClr val="000000"/>
                </a:solidFill>
                <a:cs typeface="Arial" pitchFamily="34" charset="0"/>
              </a:rPr>
              <a:pPr eaLnBrk="1" hangingPunct="1"/>
              <a:t>23</a:t>
            </a:fld>
            <a:endParaRPr lang="en-GB" sz="12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17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17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9163" y="4570413"/>
            <a:ext cx="5049837" cy="43307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  <a:buClr>
                <a:schemeClr val="tx1"/>
              </a:buClr>
              <a:buFont typeface="Wingdings" pitchFamily="2" charset="2"/>
              <a:buChar char="ü"/>
            </a:pPr>
            <a:r>
              <a:rPr lang="en-GB" smtClean="0">
                <a:latin typeface="Times" charset="0"/>
                <a:ea typeface="ＭＳ Ｐゴシック" pitchFamily="34" charset="-128"/>
              </a:rPr>
              <a:t> Trials designed to evaluate clinical outcomes are highly expensive and of long duration</a:t>
            </a:r>
          </a:p>
          <a:p>
            <a:pPr eaLnBrk="1" hangingPunct="1">
              <a:spcBef>
                <a:spcPct val="0"/>
              </a:spcBef>
              <a:buClr>
                <a:schemeClr val="tx1"/>
              </a:buClr>
              <a:buFont typeface="Wingdings" pitchFamily="2" charset="2"/>
              <a:buChar char="ü"/>
            </a:pPr>
            <a:r>
              <a:rPr lang="en-GB" smtClean="0">
                <a:latin typeface="Times" charset="0"/>
                <a:ea typeface="ＭＳ Ｐゴシック" pitchFamily="34" charset="-128"/>
              </a:rPr>
              <a:t> Most programs </a:t>
            </a:r>
            <a:r>
              <a:rPr lang="en-GB" altLang="en-US" smtClean="0">
                <a:latin typeface="Times" charset="0"/>
                <a:ea typeface="ＭＳ Ｐゴシック" pitchFamily="34" charset="-128"/>
              </a:rPr>
              <a:t>“</a:t>
            </a:r>
            <a:r>
              <a:rPr lang="en-GB" smtClean="0">
                <a:latin typeface="Times" charset="0"/>
                <a:ea typeface="ＭＳ Ｐゴシック" pitchFamily="34" charset="-128"/>
              </a:rPr>
              <a:t>fail</a:t>
            </a:r>
            <a:r>
              <a:rPr lang="en-GB" altLang="en-US" smtClean="0">
                <a:latin typeface="Times" charset="0"/>
                <a:ea typeface="ＭＳ Ｐゴシック" pitchFamily="34" charset="-128"/>
              </a:rPr>
              <a:t>”</a:t>
            </a:r>
            <a:r>
              <a:rPr lang="en-GB" smtClean="0">
                <a:latin typeface="Times" charset="0"/>
                <a:ea typeface="ＭＳ Ｐゴシック" pitchFamily="34" charset="-128"/>
              </a:rPr>
              <a:t> (lack of efficacy and/or safety) with 85-90% attrition after FTIH</a:t>
            </a:r>
          </a:p>
          <a:p>
            <a:pPr eaLnBrk="1" hangingPunct="1">
              <a:spcBef>
                <a:spcPct val="0"/>
              </a:spcBef>
              <a:buClr>
                <a:schemeClr val="tx1"/>
              </a:buClr>
              <a:buFont typeface="Wingdings" pitchFamily="2" charset="2"/>
              <a:buChar char="ü"/>
            </a:pPr>
            <a:r>
              <a:rPr lang="en-GB" smtClean="0">
                <a:latin typeface="Times" charset="0"/>
                <a:ea typeface="ＭＳ Ｐゴシック" pitchFamily="34" charset="-128"/>
              </a:rPr>
              <a:t> Pipeline are clogged with many molecules that will fail</a:t>
            </a:r>
          </a:p>
          <a:p>
            <a:pPr eaLnBrk="1" hangingPunct="1">
              <a:spcBef>
                <a:spcPct val="0"/>
              </a:spcBef>
              <a:buClr>
                <a:schemeClr val="tx1"/>
              </a:buClr>
              <a:buFont typeface="Wingdings" pitchFamily="2" charset="2"/>
              <a:buChar char="ü"/>
            </a:pPr>
            <a:r>
              <a:rPr lang="en-GB" smtClean="0">
                <a:latin typeface="Times" charset="0"/>
                <a:ea typeface="ＭＳ Ｐゴシック" pitchFamily="34" charset="-128"/>
              </a:rPr>
              <a:t> It is critical to develop laboratory and/or physical tools to be used as an alternative outcome for (or in addition to) clinically meaningful endpoints. </a:t>
            </a:r>
          </a:p>
          <a:p>
            <a:pPr eaLnBrk="1" hangingPunct="1">
              <a:spcBef>
                <a:spcPct val="0"/>
              </a:spcBef>
              <a:buClr>
                <a:schemeClr val="tx1"/>
              </a:buClr>
              <a:buFont typeface="Wingdings" pitchFamily="2" charset="2"/>
              <a:buChar char="ü"/>
            </a:pPr>
            <a:r>
              <a:rPr lang="en-GB" smtClean="0">
                <a:latin typeface="Times" charset="0"/>
                <a:ea typeface="ＭＳ Ｐゴシック" pitchFamily="34" charset="-128"/>
              </a:rPr>
              <a:t>PK/PD modelling are needed to aid </a:t>
            </a:r>
            <a:r>
              <a:rPr lang="en-US" smtClean="0">
                <a:latin typeface="Times" charset="0"/>
                <a:ea typeface="ＭＳ Ｐゴシック" pitchFamily="34" charset="-128"/>
              </a:rPr>
              <a:t>PK at site of action and </a:t>
            </a:r>
            <a:r>
              <a:rPr lang="en-GB" smtClean="0">
                <a:latin typeface="Times" charset="0"/>
                <a:ea typeface="ＭＳ Ｐゴシック" pitchFamily="34" charset="-128"/>
              </a:rPr>
              <a:t>dose selection for human studies.</a:t>
            </a:r>
          </a:p>
          <a:p>
            <a:pPr eaLnBrk="1" hangingPunct="1">
              <a:spcBef>
                <a:spcPct val="0"/>
              </a:spcBef>
            </a:pPr>
            <a:endParaRPr lang="en-GB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84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9440353A-34B3-49F1-8DF9-25E35E0B0D27}" type="slidenum">
              <a:rPr lang="en-GB" sz="1200">
                <a:solidFill>
                  <a:srgbClr val="000000"/>
                </a:solidFill>
                <a:cs typeface="Arial" pitchFamily="34" charset="0"/>
              </a:rPr>
              <a:pPr eaLnBrk="1" hangingPunct="1"/>
              <a:t>27</a:t>
            </a:fld>
            <a:endParaRPr lang="en-GB" sz="12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68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27113" y="739775"/>
            <a:ext cx="4830762" cy="3624263"/>
          </a:xfrm>
          <a:ln/>
        </p:spPr>
      </p:sp>
      <p:sp>
        <p:nvSpPr>
          <p:cNvPr id="20685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1" eaLnBrk="1" hangingPunct="1">
              <a:spcBef>
                <a:spcPct val="0"/>
              </a:spcBef>
              <a:buFontTx/>
              <a:buChar char="•"/>
            </a:pPr>
            <a:r>
              <a:rPr lang="en-GB" smtClean="0">
                <a:latin typeface="Times" charset="0"/>
                <a:ea typeface="ＭＳ Ｐゴシック" pitchFamily="34" charset="-128"/>
              </a:rPr>
              <a:t>Improve diagnosis </a:t>
            </a:r>
          </a:p>
          <a:p>
            <a:pPr lvl="1" eaLnBrk="1" hangingPunct="1">
              <a:spcBef>
                <a:spcPct val="0"/>
              </a:spcBef>
              <a:buFontTx/>
              <a:buChar char="•"/>
            </a:pPr>
            <a:r>
              <a:rPr lang="en-GB" smtClean="0">
                <a:latin typeface="Times" charset="0"/>
                <a:ea typeface="ＭＳ Ｐゴシック" pitchFamily="34" charset="-128"/>
              </a:rPr>
              <a:t>Reduce the sample size, duration, and cost of clinical trials </a:t>
            </a:r>
          </a:p>
          <a:p>
            <a:pPr lvl="1" eaLnBrk="1" hangingPunct="1">
              <a:spcBef>
                <a:spcPct val="0"/>
              </a:spcBef>
              <a:buFontTx/>
              <a:buChar char="•"/>
            </a:pPr>
            <a:r>
              <a:rPr lang="en-GB" smtClean="0">
                <a:latin typeface="Times" charset="0"/>
                <a:ea typeface="ＭＳ Ｐゴシック" pitchFamily="34" charset="-128"/>
              </a:rPr>
              <a:t>Allow treatment to be assessed in situations where the use of primary outcomes would be excessively invasive, unethical, long, and/or expensive</a:t>
            </a: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89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E1DF9411-CC09-4574-8B29-3261C950A547}" type="slidenum">
              <a:rPr lang="en-GB" sz="1200">
                <a:solidFill>
                  <a:srgbClr val="000000"/>
                </a:solidFill>
                <a:latin typeface="Calibri" pitchFamily="34" charset="0"/>
              </a:rPr>
              <a:pPr eaLnBrk="1" hangingPunct="1"/>
              <a:t>28</a:t>
            </a:fld>
            <a:endParaRPr lang="en-GB" sz="12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088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889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lnSpc>
                <a:spcPct val="90000"/>
              </a:lnSpc>
              <a:spcBef>
                <a:spcPct val="0"/>
              </a:spcBef>
              <a:spcAft>
                <a:spcPct val="50000"/>
              </a:spcAft>
            </a:pPr>
            <a:r>
              <a:rPr lang="en-GB" sz="1400" smtClean="0">
                <a:latin typeface="Times" charset="0"/>
                <a:ea typeface="ＭＳ Ｐゴシック" pitchFamily="34" charset="-128"/>
              </a:rPr>
              <a:t>	</a:t>
            </a:r>
            <a:r>
              <a:rPr lang="en-GB" smtClean="0">
                <a:latin typeface="Times" charset="0"/>
                <a:ea typeface="ＭＳ Ｐゴシック" pitchFamily="34" charset="-128"/>
              </a:rPr>
              <a:t>1. Does the compound get to the site of action?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spcAft>
                <a:spcPct val="50000"/>
              </a:spcAft>
            </a:pPr>
            <a:r>
              <a:rPr lang="en-GB" smtClean="0">
                <a:latin typeface="Times" charset="0"/>
                <a:ea typeface="ＭＳ Ｐゴシック" pitchFamily="34" charset="-128"/>
              </a:rPr>
              <a:t>	2. What concentrations are associated with </a:t>
            </a:r>
            <a:r>
              <a:rPr lang="en-GB" u="sng" smtClean="0">
                <a:latin typeface="Times" charset="0"/>
                <a:ea typeface="ＭＳ Ｐゴシック" pitchFamily="34" charset="-128"/>
              </a:rPr>
              <a:t>pharmacological</a:t>
            </a:r>
            <a:r>
              <a:rPr lang="en-GB" smtClean="0">
                <a:latin typeface="Times" charset="0"/>
                <a:ea typeface="ＭＳ Ｐゴシック" pitchFamily="34" charset="-128"/>
              </a:rPr>
              <a:t> activity?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spcAft>
                <a:spcPct val="50000"/>
              </a:spcAft>
            </a:pPr>
            <a:r>
              <a:rPr lang="en-GB" smtClean="0">
                <a:latin typeface="Times" charset="0"/>
                <a:ea typeface="ＭＳ Ｐゴシック" pitchFamily="34" charset="-128"/>
              </a:rPr>
              <a:t>	3. Are such concentrations achievable?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spcAft>
                <a:spcPct val="50000"/>
              </a:spcAft>
            </a:pPr>
            <a:r>
              <a:rPr lang="en-GB" smtClean="0">
                <a:latin typeface="Times" charset="0"/>
                <a:ea typeface="ＭＳ Ｐゴシック" pitchFamily="34" charset="-128"/>
              </a:rPr>
              <a:t>	4. Does the compound cause its intended pharmacological / functional effects?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spcAft>
                <a:spcPct val="50000"/>
              </a:spcAft>
            </a:pPr>
            <a:r>
              <a:rPr lang="en-GB" smtClean="0">
                <a:latin typeface="Times" charset="0"/>
                <a:ea typeface="ＭＳ Ｐゴシック" pitchFamily="34" charset="-128"/>
              </a:rPr>
              <a:t>	5. How long should exposure be maintained to obtain the desired response?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spcAft>
                <a:spcPct val="50000"/>
              </a:spcAft>
            </a:pPr>
            <a:r>
              <a:rPr lang="en-GB" smtClean="0">
                <a:latin typeface="Times" charset="0"/>
                <a:ea typeface="ＭＳ Ｐゴシック" pitchFamily="34" charset="-128"/>
              </a:rPr>
              <a:t>	6. Does the compound show </a:t>
            </a:r>
            <a:r>
              <a:rPr lang="en-GB" u="sng" smtClean="0">
                <a:latin typeface="Times" charset="0"/>
                <a:ea typeface="ＭＳ Ｐゴシック" pitchFamily="34" charset="-128"/>
              </a:rPr>
              <a:t>clinically relevant</a:t>
            </a:r>
            <a:r>
              <a:rPr lang="en-GB" smtClean="0">
                <a:latin typeface="Times" charset="0"/>
                <a:ea typeface="ＭＳ Ｐゴシック" pitchFamily="34" charset="-128"/>
              </a:rPr>
              <a:t> effects in the target population?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spcAft>
                <a:spcPct val="50000"/>
              </a:spcAft>
            </a:pPr>
            <a:r>
              <a:rPr lang="en-GB" smtClean="0">
                <a:latin typeface="Times" charset="0"/>
                <a:ea typeface="ＭＳ Ｐゴシック" pitchFamily="34" charset="-128"/>
              </a:rPr>
              <a:t>	7. Does the compound exhibit a therapeutic window for the proposed indication?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spcAft>
                <a:spcPct val="50000"/>
              </a:spcAft>
            </a:pPr>
            <a:r>
              <a:rPr lang="en-GB" smtClean="0">
                <a:latin typeface="Times" charset="0"/>
                <a:ea typeface="ＭＳ Ｐゴシック" pitchFamily="34" charset="-128"/>
              </a:rPr>
              <a:t>	8. How reproducible are the responses from patient-to-patient?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spcAft>
                <a:spcPct val="50000"/>
              </a:spcAft>
            </a:pPr>
            <a:r>
              <a:rPr lang="en-GB" smtClean="0">
                <a:latin typeface="Times" charset="0"/>
                <a:ea typeface="ＭＳ Ｐゴシック" pitchFamily="34" charset="-128"/>
              </a:rPr>
              <a:t>	9. Can the compound be safely administered with other medications?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  <a:spcAft>
                <a:spcPct val="50000"/>
              </a:spcAft>
            </a:pPr>
            <a:r>
              <a:rPr lang="en-GB" smtClean="0">
                <a:latin typeface="Times" charset="0"/>
                <a:ea typeface="ＭＳ Ｐゴシック" pitchFamily="34" charset="-128"/>
              </a:rPr>
              <a:t>	10. Do the properties of the drug allow for suitable formulation?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</a:pPr>
            <a:endParaRPr lang="en-GB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fld id="{74D9525D-9E0A-4F94-BDA0-566AEA8E08D7}" type="slidenum">
              <a:rPr lang="en-GB" sz="1200"/>
              <a:pPr/>
              <a:t>29</a:t>
            </a:fld>
            <a:endParaRPr lang="en-GB" sz="1200"/>
          </a:p>
        </p:txBody>
      </p:sp>
      <p:sp>
        <p:nvSpPr>
          <p:cNvPr id="210946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109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9163" y="4570413"/>
            <a:ext cx="5049837" cy="43307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n-GB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99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fld id="{ED779A4D-B60D-4B24-921F-E2CF4FA12BCC}" type="slidenum">
              <a:rPr lang="en-GB" sz="1200">
                <a:solidFill>
                  <a:srgbClr val="000000"/>
                </a:solidFill>
                <a:cs typeface="Arial" pitchFamily="34" charset="0"/>
              </a:rPr>
              <a:pPr/>
              <a:t>30</a:t>
            </a:fld>
            <a:endParaRPr lang="en-GB" sz="12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12994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1299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1">
              <a:spcBef>
                <a:spcPct val="0"/>
              </a:spcBef>
            </a:pPr>
            <a:r>
              <a:rPr lang="en-GB" sz="1000" smtClean="0">
                <a:solidFill>
                  <a:srgbClr val="3333CC"/>
                </a:solidFill>
                <a:latin typeface="Times" charset="0"/>
                <a:ea typeface="ＭＳ Ｐゴシック" pitchFamily="34" charset="-128"/>
              </a:rPr>
              <a:t>To prove useful, a marker should be:</a:t>
            </a:r>
            <a:r>
              <a:rPr lang="en-GB" smtClean="0">
                <a:latin typeface="Times" charset="0"/>
                <a:ea typeface="ＭＳ Ｐゴシック" pitchFamily="34" charset="-128"/>
              </a:rPr>
              <a:t> </a:t>
            </a:r>
          </a:p>
          <a:p>
            <a:pPr lvl="1">
              <a:spcBef>
                <a:spcPct val="0"/>
              </a:spcBef>
              <a:buFontTx/>
              <a:buChar char="•"/>
            </a:pPr>
            <a:r>
              <a:rPr lang="en-GB" smtClean="0">
                <a:latin typeface="Times" charset="0"/>
                <a:ea typeface="ＭＳ Ｐゴシック" pitchFamily="34" charset="-128"/>
              </a:rPr>
              <a:t>Easily and non invasively (or moderately invasively) detectable in living subjects</a:t>
            </a:r>
          </a:p>
          <a:p>
            <a:pPr lvl="1">
              <a:spcBef>
                <a:spcPct val="0"/>
              </a:spcBef>
              <a:buFontTx/>
              <a:buChar char="•"/>
            </a:pPr>
            <a:r>
              <a:rPr lang="en-GB" smtClean="0">
                <a:latin typeface="Times" charset="0"/>
                <a:ea typeface="ＭＳ Ｐゴシック" pitchFamily="34" charset="-128"/>
              </a:rPr>
              <a:t>Reproducible over a short period of time with small test-retest variability</a:t>
            </a:r>
          </a:p>
          <a:p>
            <a:pPr lvl="1">
              <a:spcBef>
                <a:spcPct val="0"/>
              </a:spcBef>
              <a:buFontTx/>
              <a:buChar char="•"/>
            </a:pPr>
            <a:r>
              <a:rPr lang="en-GB" smtClean="0">
                <a:latin typeface="Times" charset="0"/>
                <a:ea typeface="ＭＳ Ｐゴシック" pitchFamily="34" charset="-128"/>
              </a:rPr>
              <a:t>Altered at the early disease stage</a:t>
            </a:r>
          </a:p>
          <a:p>
            <a:pPr lvl="1">
              <a:spcBef>
                <a:spcPct val="0"/>
              </a:spcBef>
              <a:buFontTx/>
              <a:buChar char="•"/>
            </a:pPr>
            <a:r>
              <a:rPr lang="en-GB" smtClean="0">
                <a:latin typeface="Times" charset="0"/>
                <a:ea typeface="ＭＳ Ｐゴシック" pitchFamily="34" charset="-128"/>
              </a:rPr>
              <a:t>Positively correlated to the disease severity (longitudinal studies are required)</a:t>
            </a:r>
          </a:p>
          <a:p>
            <a:pPr lvl="1">
              <a:spcBef>
                <a:spcPct val="0"/>
              </a:spcBef>
              <a:buFontTx/>
              <a:buChar char="•"/>
            </a:pPr>
            <a:r>
              <a:rPr lang="en-GB" smtClean="0">
                <a:latin typeface="Times" charset="0"/>
                <a:ea typeface="ＭＳ Ｐゴシック" pitchFamily="34" charset="-128"/>
              </a:rPr>
              <a:t>Correlated to the causal </a:t>
            </a:r>
            <a:r>
              <a:rPr lang="en-GB" smtClean="0">
                <a:solidFill>
                  <a:srgbClr val="000000"/>
                </a:solidFill>
                <a:latin typeface="Times" charset="0"/>
                <a:ea typeface="ＭＳ Ｐゴシック" pitchFamily="34" charset="-128"/>
              </a:rPr>
              <a:t>pathway</a:t>
            </a:r>
            <a:r>
              <a:rPr lang="en-GB" smtClean="0">
                <a:latin typeface="Times" charset="0"/>
                <a:ea typeface="ＭＳ Ｐゴシック" pitchFamily="34" charset="-128"/>
              </a:rPr>
              <a:t> of the disease process (disease-based </a:t>
            </a:r>
            <a:r>
              <a:rPr lang="en-GB" smtClean="0">
                <a:solidFill>
                  <a:srgbClr val="FF0000"/>
                </a:solidFill>
                <a:latin typeface="Times" charset="0"/>
                <a:ea typeface="ＭＳ Ｐゴシック" pitchFamily="34" charset="-128"/>
              </a:rPr>
              <a:t>surrogate marker</a:t>
            </a:r>
            <a:r>
              <a:rPr lang="en-GB" smtClean="0">
                <a:latin typeface="Times" charset="0"/>
                <a:ea typeface="ＭＳ Ｐゴシック" pitchFamily="34" charset="-128"/>
              </a:rPr>
              <a:t>) or recognise the mechanism of action of a potential therapy (mechanism-based marker, or </a:t>
            </a:r>
            <a:r>
              <a:rPr lang="en-GB" smtClean="0">
                <a:solidFill>
                  <a:srgbClr val="FF0000"/>
                </a:solidFill>
                <a:latin typeface="Times" charset="0"/>
                <a:ea typeface="ＭＳ Ｐゴシック" pitchFamily="34" charset="-128"/>
              </a:rPr>
              <a:t>biomarker</a:t>
            </a:r>
            <a:r>
              <a:rPr lang="en-GB" smtClean="0">
                <a:latin typeface="Times" charset="0"/>
                <a:ea typeface="ＭＳ Ｐゴシック" pitchFamily="34" charset="-128"/>
              </a:rPr>
              <a:t>), i.e. </a:t>
            </a:r>
            <a:r>
              <a:rPr lang="en-GB" smtClean="0">
                <a:solidFill>
                  <a:schemeClr val="bg2"/>
                </a:solidFill>
                <a:latin typeface="Times" charset="0"/>
                <a:ea typeface="ＭＳ Ｐゴシック" pitchFamily="34" charset="-128"/>
              </a:rPr>
              <a:t>Surrogate marker of disease or marker of pharmacology?</a:t>
            </a:r>
          </a:p>
          <a:p>
            <a:pPr lvl="1">
              <a:spcBef>
                <a:spcPct val="0"/>
              </a:spcBef>
              <a:buFontTx/>
              <a:buChar char="•"/>
            </a:pPr>
            <a:r>
              <a:rPr lang="en-GB" smtClean="0">
                <a:latin typeface="Times" charset="0"/>
                <a:ea typeface="ＭＳ Ｐゴシック" pitchFamily="34" charset="-128"/>
              </a:rPr>
              <a:t>The relation between marker endpoint and intervention should have a biologically plausible explanation </a:t>
            </a:r>
          </a:p>
          <a:p>
            <a:pPr lvl="1">
              <a:spcBef>
                <a:spcPct val="0"/>
              </a:spcBef>
              <a:buFontTx/>
              <a:buChar char="•"/>
            </a:pPr>
            <a:r>
              <a:rPr lang="en-GB" smtClean="0">
                <a:solidFill>
                  <a:srgbClr val="FF3300"/>
                </a:solidFill>
                <a:latin typeface="Times" charset="0"/>
                <a:ea typeface="ＭＳ Ｐゴシック" pitchFamily="34" charset="-128"/>
              </a:rPr>
              <a:t>Marker as a true predictor of the clinical endpoint</a:t>
            </a:r>
          </a:p>
          <a:p>
            <a:pPr>
              <a:spcBef>
                <a:spcPct val="0"/>
              </a:spcBef>
              <a:buFontTx/>
              <a:buChar char="•"/>
            </a:pPr>
            <a:endParaRPr lang="en-GB" smtClean="0">
              <a:latin typeface="Times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4"/>
          <p:cNvSpPr>
            <a:spLocks noChangeShapeType="1"/>
          </p:cNvSpPr>
          <p:nvPr/>
        </p:nvSpPr>
        <p:spPr bwMode="auto">
          <a:xfrm>
            <a:off x="0" y="1233488"/>
            <a:ext cx="914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0" y="6526213"/>
            <a:ext cx="914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6" name="Line 6"/>
          <p:cNvSpPr>
            <a:spLocks noChangeShapeType="1"/>
          </p:cNvSpPr>
          <p:nvPr/>
        </p:nvSpPr>
        <p:spPr bwMode="auto">
          <a:xfrm>
            <a:off x="0" y="5092700"/>
            <a:ext cx="914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4096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790" y="1443043"/>
            <a:ext cx="6399388" cy="1755775"/>
          </a:xfrm>
        </p:spPr>
        <p:txBody>
          <a:bodyPr bIns="0" anchor="t"/>
          <a:lstStyle>
            <a:lvl1pPr>
              <a:lnSpc>
                <a:spcPct val="95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096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06881" y="36607"/>
            <a:ext cx="6983588" cy="1106487"/>
          </a:xfrm>
        </p:spPr>
        <p:txBody>
          <a:bodyPr rIns="0" anchor="b"/>
          <a:lstStyle>
            <a:lvl1pPr>
              <a:spcBef>
                <a:spcPct val="0"/>
              </a:spcBef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824593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V Libri - San Giovanni in Fiore, 11/06/2004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  <a:fld id="{102C2A9F-E711-4145-822F-B34B404E81E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877287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218284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16482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277556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778596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501659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129884415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D1DC1646-5250-42A6-BD20-88B2823DB69D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algn="l" defTabSz="457200" eaLnBrk="0" fontAlgn="auto" hangingPunct="0">
              <a:spcBef>
                <a:spcPct val="20000"/>
              </a:spcBef>
              <a:spcAft>
                <a:spcPts val="0"/>
              </a:spcAft>
              <a:buFontTx/>
              <a:buChar char="•"/>
              <a:defRPr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10ADFCD7-EE65-4207-8D41-77E5105D817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664479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091CBBAC-8EAD-4508-ACF5-73118C9DFF0C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algn="l" defTabSz="457200" eaLnBrk="0" fontAlgn="auto" hangingPunct="0">
              <a:spcBef>
                <a:spcPct val="20000"/>
              </a:spcBef>
              <a:spcAft>
                <a:spcPts val="0"/>
              </a:spcAft>
              <a:buFontTx/>
              <a:buChar char="•"/>
              <a:defRPr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931EB3C4-5900-45E5-83CD-5181B36B7A9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079668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3D9175C1-4821-4091-9C40-E13AE6345FB9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algn="l" defTabSz="457200" eaLnBrk="0" fontAlgn="auto" hangingPunct="0">
              <a:spcBef>
                <a:spcPct val="20000"/>
              </a:spcBef>
              <a:spcAft>
                <a:spcPts val="0"/>
              </a:spcAft>
              <a:buFontTx/>
              <a:buChar char="•"/>
              <a:defRPr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9BB0AF1D-8578-4E1E-B45B-59468CE40529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879647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FD743682-FD38-4ED5-B2D4-AB56D0F41F47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algn="l" defTabSz="457200" eaLnBrk="0" fontAlgn="auto" hangingPunct="0">
              <a:spcBef>
                <a:spcPct val="20000"/>
              </a:spcBef>
              <a:spcAft>
                <a:spcPts val="0"/>
              </a:spcAft>
              <a:buFontTx/>
              <a:buChar char="•"/>
              <a:defRPr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7788B332-0DEB-4D48-AAEE-78321868DF9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00559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57150"/>
            <a:ext cx="2057400" cy="6038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16" y="57150"/>
            <a:ext cx="6036733" cy="6038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V Libri - San Giovanni in Fiore, 11/06/2004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  <a:fld id="{B47D41BD-BD08-439C-80C8-7B3FA23000AF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302705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2E0E7ED3-D491-449E-9EEF-D9BAE9C329E1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algn="l" defTabSz="457200" eaLnBrk="0" fontAlgn="auto" hangingPunct="0">
              <a:spcBef>
                <a:spcPct val="20000"/>
              </a:spcBef>
              <a:spcAft>
                <a:spcPts val="0"/>
              </a:spcAft>
              <a:buFontTx/>
              <a:buChar char="•"/>
              <a:defRPr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E3FD284A-7CF3-4FC0-B5BF-0575AA43854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549959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C3B9B74C-08DF-42FA-9E8D-0DD75551E460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algn="l" defTabSz="457200" eaLnBrk="0" fontAlgn="auto" hangingPunct="0">
              <a:spcBef>
                <a:spcPct val="20000"/>
              </a:spcBef>
              <a:spcAft>
                <a:spcPts val="0"/>
              </a:spcAft>
              <a:buFontTx/>
              <a:buChar char="•"/>
              <a:defRPr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A4155C16-FBFE-4D0C-99D7-9B60FAC47A2C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21153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5F05A88F-4792-4377-BB59-8900FB08DEEB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algn="l" defTabSz="457200" eaLnBrk="0" fontAlgn="auto" hangingPunct="0">
              <a:spcBef>
                <a:spcPct val="20000"/>
              </a:spcBef>
              <a:spcAft>
                <a:spcPts val="0"/>
              </a:spcAft>
              <a:buFontTx/>
              <a:buChar char="•"/>
              <a:defRPr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8734DFB6-3E13-45A6-A9AA-DEFFF0CE5D4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48215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219F5437-3DF1-404C-A46A-A82F49EFCFFF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algn="l" defTabSz="457200" eaLnBrk="0" fontAlgn="auto" hangingPunct="0">
              <a:spcBef>
                <a:spcPct val="20000"/>
              </a:spcBef>
              <a:spcAft>
                <a:spcPts val="0"/>
              </a:spcAft>
              <a:buFontTx/>
              <a:buChar char="•"/>
              <a:defRPr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4DAF4149-AEE4-42A2-ABDB-1A325F5F99FF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40069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9608CB9A-2A4D-445E-8DDD-69E7C2B056B5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algn="l" defTabSz="457200" eaLnBrk="0" fontAlgn="auto" hangingPunct="0">
              <a:spcBef>
                <a:spcPct val="20000"/>
              </a:spcBef>
              <a:spcAft>
                <a:spcPts val="0"/>
              </a:spcAft>
              <a:buFontTx/>
              <a:buChar char="•"/>
              <a:defRPr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81151017-97A0-41DE-92D3-91B33AAD44B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86693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0CAA4683-322A-46E5-A535-5775FE5E30BB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algn="l" defTabSz="457200" eaLnBrk="0" fontAlgn="auto" hangingPunct="0">
              <a:spcBef>
                <a:spcPct val="20000"/>
              </a:spcBef>
              <a:spcAft>
                <a:spcPts val="0"/>
              </a:spcAft>
              <a:buFontTx/>
              <a:buChar char="•"/>
              <a:defRPr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7334850D-30D2-4A8C-9FBD-78D3936B565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72493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65790CD4-5978-4DC5-ADCF-657BD5A5C514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algn="l" defTabSz="457200" eaLnBrk="0" fontAlgn="auto" hangingPunct="0">
              <a:spcBef>
                <a:spcPct val="20000"/>
              </a:spcBef>
              <a:spcAft>
                <a:spcPts val="0"/>
              </a:spcAft>
              <a:buFontTx/>
              <a:buChar char="•"/>
              <a:defRPr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B82603B1-318A-4FE3-BE11-F606502F430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403006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ClipArt Placeholder 6"/>
          <p:cNvSpPr>
            <a:spLocks noGrp="1"/>
          </p:cNvSpPr>
          <p:nvPr>
            <p:ph type="clipArt" sz="quarter" idx="10"/>
          </p:nvPr>
        </p:nvSpPr>
        <p:spPr>
          <a:xfrm>
            <a:off x="7286625" y="0"/>
            <a:ext cx="1857375" cy="857250"/>
          </a:xfrm>
          <a:solidFill>
            <a:schemeClr val="bg1"/>
          </a:solidFill>
        </p:spPr>
        <p:txBody>
          <a:bodyPr rtlCol="0">
            <a:normAutofit/>
          </a:bodyPr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3701325763"/>
      </p:ext>
    </p:extLst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398CA0FF-6F2C-44FB-9190-2C582AD8D40B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B788ABBB-9AFC-494A-AB70-2821114EBC8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29187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FE90F8B8-E397-4833-BA25-ECB4454D7C83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C121BA5B-0287-497C-8EA4-2A562A118632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9394253"/>
      </p:ext>
    </p:extLst>
  </p:cSld>
  <p:clrMapOvr>
    <a:masterClrMapping/>
  </p:clrMapOvr>
  <p:transition spd="slow">
    <p:pull dir="l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7150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11" y="1620838"/>
            <a:ext cx="4047067" cy="4475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4639737" y="1620838"/>
            <a:ext cx="4047067" cy="4475162"/>
          </a:xfrm>
        </p:spPr>
        <p:txBody>
          <a:bodyPr/>
          <a:lstStyle/>
          <a:p>
            <a:pPr lvl="0"/>
            <a:endParaRPr lang="en-GB" noProof="0" smtClean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V Libri - San Giovanni in Fiore, 11/06/2004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  <a:fld id="{08FCD766-2C0B-40C5-8073-F491B664C479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466818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1322C9B7-6E87-42C5-BFF0-97D526E83AC0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001D5DB7-F3C2-476B-83ED-FC086751275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7525308"/>
      </p:ext>
    </p:extLst>
  </p:cSld>
  <p:clrMapOvr>
    <a:masterClrMapping/>
  </p:clrMapOvr>
  <p:transition spd="slow">
    <p:pull dir="ld"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9B76D849-C65E-46B1-9C19-CB07B55FEEB0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865C5F95-D838-4410-9236-DAF08270E75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948102"/>
      </p:ext>
    </p:extLst>
  </p:cSld>
  <p:clrMapOvr>
    <a:masterClrMapping/>
  </p:clrMapOvr>
  <p:transition spd="slow">
    <p:pull dir="ld"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30EAB2EB-671E-44B2-84A4-69F1092E7ECC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FF0A7715-BB8F-4917-93A9-0A6181F019D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9669360"/>
      </p:ext>
    </p:extLst>
  </p:cSld>
  <p:clrMapOvr>
    <a:masterClrMapping/>
  </p:clrMapOvr>
  <p:transition spd="slow">
    <p:pull dir="ld"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4B5A5E61-AC6D-4B37-842A-BD769832B800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F88BEA27-C2AD-4A44-A94F-EA0ABF57F507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5343148"/>
      </p:ext>
    </p:extLst>
  </p:cSld>
  <p:clrMapOvr>
    <a:masterClrMapping/>
  </p:clrMapOvr>
  <p:transition spd="slow">
    <p:pull dir="ld"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1556B2A3-2AC2-495C-B63F-3F2518CECC45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F3C0AD2D-B837-4779-BE1B-536E9B0729F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9632880"/>
      </p:ext>
    </p:extLst>
  </p:cSld>
  <p:clrMapOvr>
    <a:masterClrMapping/>
  </p:clrMapOvr>
  <p:transition spd="slow">
    <p:pull dir="ld"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3C49A763-5BA9-4AE9-9510-DB226ADED720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87E6A986-E291-44FB-8404-5547646E8AC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3858889"/>
      </p:ext>
    </p:extLst>
  </p:cSld>
  <p:clrMapOvr>
    <a:masterClrMapping/>
  </p:clrMapOvr>
  <p:transition spd="slow">
    <p:pull dir="ld"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D0ABF238-EB24-408C-AB8F-E438BA19873A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9DA180DD-320C-41C8-BDE1-DA584D9EE50C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0754569"/>
      </p:ext>
    </p:extLst>
  </p:cSld>
  <p:clrMapOvr>
    <a:masterClrMapping/>
  </p:clrMapOvr>
  <p:transition spd="slow">
    <p:pull dir="ld"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A92120BB-2A81-4998-BD43-37C9EC40A7A6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FEB283AD-9365-4AA6-AB8D-85448D258CD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255236"/>
      </p:ext>
    </p:extLst>
  </p:cSld>
  <p:clrMapOvr>
    <a:masterClrMapping/>
  </p:clrMapOvr>
  <p:transition spd="slow">
    <p:pull dir="ld"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EA55CD64-CCEB-41DD-98E1-9C5B08B588D0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83532B9C-D8FC-4115-9445-23C4333AB08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495770"/>
      </p:ext>
    </p:extLst>
  </p:cSld>
  <p:clrMapOvr>
    <a:masterClrMapping/>
  </p:clrMapOvr>
  <p:transition spd="slow">
    <p:pull dir="ld"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3954139"/>
      </p:ext>
    </p:extLst>
  </p:cSld>
  <p:clrMapOvr>
    <a:masterClrMapping/>
  </p:clrMapOvr>
  <p:transition spd="slow">
    <p:pull dir="ld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7150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11" y="1620838"/>
            <a:ext cx="4047067" cy="4475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9737" y="1620838"/>
            <a:ext cx="4047067" cy="4475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V Libri - San Giovanni in Fiore, 11/06/2004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  <a:fld id="{790782DA-A547-4246-98F3-2A1447B88E2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70740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312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4648200" y="1600312"/>
            <a:ext cx="4038600" cy="4525963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3875339624"/>
      </p:ext>
    </p:extLst>
  </p:cSld>
  <p:clrMapOvr>
    <a:masterClrMapping/>
  </p:clrMapOvr>
  <p:transition spd="slow">
    <p:pull dir="ld"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ClipArt Placeholder 6"/>
          <p:cNvSpPr>
            <a:spLocks noGrp="1"/>
          </p:cNvSpPr>
          <p:nvPr>
            <p:ph type="clipArt" sz="quarter" idx="10"/>
          </p:nvPr>
        </p:nvSpPr>
        <p:spPr>
          <a:xfrm>
            <a:off x="7286634" y="119"/>
            <a:ext cx="1857375" cy="857250"/>
          </a:xfrm>
          <a:prstGeom prst="rect">
            <a:avLst/>
          </a:prstGeom>
          <a:solidFill>
            <a:schemeClr val="bg1"/>
          </a:solidFill>
        </p:spPr>
        <p:txBody>
          <a:bodyPr rtlCol="0">
            <a:normAutofit/>
          </a:bodyPr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464166337"/>
      </p:ext>
    </p:extLst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ClipArt Placeholder 6"/>
          <p:cNvSpPr>
            <a:spLocks noGrp="1"/>
          </p:cNvSpPr>
          <p:nvPr>
            <p:ph type="clipArt" sz="quarter" idx="10"/>
          </p:nvPr>
        </p:nvSpPr>
        <p:spPr>
          <a:xfrm>
            <a:off x="7286634" y="119"/>
            <a:ext cx="1857375" cy="857250"/>
          </a:xfrm>
          <a:prstGeom prst="rect">
            <a:avLst/>
          </a:prstGeom>
          <a:solidFill>
            <a:schemeClr val="bg1"/>
          </a:solidFill>
        </p:spPr>
        <p:txBody>
          <a:bodyPr rtlCol="0">
            <a:normAutofit/>
          </a:bodyPr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1131404042"/>
      </p:ext>
    </p:extLst>
  </p:cSld>
  <p:clrMapOvr>
    <a:masterClrMapping/>
  </p:clrMapOvr>
  <p:transition spd="slow"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07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3082713"/>
      </p:ext>
    </p:extLst>
  </p:cSld>
  <p:clrMapOvr>
    <a:masterClrMapping/>
  </p:clrMapOvr>
  <p:transition spd="slow">
    <p:cover dir="ld"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82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3927015"/>
      </p:ext>
    </p:extLst>
  </p:cSld>
  <p:clrMapOvr>
    <a:masterClrMapping/>
  </p:clrMapOvr>
  <p:transition spd="slow">
    <p:cover dir="ld"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95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49407228"/>
      </p:ext>
    </p:extLst>
  </p:cSld>
  <p:clrMapOvr>
    <a:masterClrMapping/>
  </p:clrMapOvr>
  <p:transition spd="slow">
    <p:cover dir="ld"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82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82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2195772"/>
      </p:ext>
    </p:extLst>
  </p:cSld>
  <p:clrMapOvr>
    <a:masterClrMapping/>
  </p:clrMapOvr>
  <p:transition spd="slow">
    <p:cover dir="ld"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957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74957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2451547"/>
      </p:ext>
    </p:extLst>
  </p:cSld>
  <p:clrMapOvr>
    <a:masterClrMapping/>
  </p:clrMapOvr>
  <p:transition spd="slow">
    <p:cover dir="ld"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8269576"/>
      </p:ext>
    </p:extLst>
  </p:cSld>
  <p:clrMapOvr>
    <a:masterClrMapping/>
  </p:clrMapOvr>
  <p:transition spd="slow">
    <p:cover dir="ld"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4249950"/>
      </p:ext>
    </p:extLst>
  </p:cSld>
  <p:clrMapOvr>
    <a:masterClrMapping/>
  </p:clrMapOvr>
  <p:transition spd="slow">
    <p:cover dir="ld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7150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7200" y="1620838"/>
            <a:ext cx="8229600" cy="4475162"/>
          </a:xfrm>
        </p:spPr>
        <p:txBody>
          <a:bodyPr/>
          <a:lstStyle/>
          <a:p>
            <a:pPr lvl="0"/>
            <a:endParaRPr lang="en-GB" noProof="0" smtClean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V Libri - San Giovanni in Fiore, 11/06/2004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  <a:fld id="{4B3D59E6-1240-45F0-AAF0-5833E26D491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905145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32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435182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2642061"/>
      </p:ext>
    </p:extLst>
  </p:cSld>
  <p:clrMapOvr>
    <a:masterClrMapping/>
  </p:clrMapOvr>
  <p:transition spd="slow">
    <p:cover dir="ld"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82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857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9448902"/>
      </p:ext>
    </p:extLst>
  </p:cSld>
  <p:clrMapOvr>
    <a:masterClrMapping/>
  </p:clrMapOvr>
  <p:transition spd="slow">
    <p:cover dir="ld"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82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8154285"/>
      </p:ext>
    </p:extLst>
  </p:cSld>
  <p:clrMapOvr>
    <a:masterClrMapping/>
  </p:clrMapOvr>
  <p:transition spd="slow">
    <p:cover dir="ld"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1549129"/>
      </p:ext>
    </p:extLst>
  </p:cSld>
  <p:clrMapOvr>
    <a:masterClrMapping/>
  </p:clrMapOvr>
  <p:transition spd="slow">
    <p:cover dir="ld"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7150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20838"/>
            <a:ext cx="4038600" cy="44751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4648200" y="1620838"/>
            <a:ext cx="4038600" cy="4475162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12357863"/>
      </p:ext>
    </p:extLst>
  </p:cSld>
  <p:clrMapOvr>
    <a:masterClrMapping/>
  </p:clrMapOvr>
  <p:transition>
    <p:cut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/>
        </p:nvSpPr>
        <p:spPr bwMode="auto">
          <a:xfrm>
            <a:off x="1828800" y="2543175"/>
            <a:ext cx="91440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066480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437BD2B4-6D33-4C40-8019-CF12AB1B9593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DD94A10B-960D-4ADD-BA00-5D948671CCB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503600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3D5AB464-A7D2-4F13-A586-A0E61085CD6A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B3E0E950-8CBA-42BD-A3F0-6FC8EDAE61A8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18373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C938021B-81C4-4152-8489-4FE0F813250A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F6357C2D-F36C-465B-A987-D37A6604AA49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11633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2F3D03E8-8435-4E5E-BFDD-2EE59E42D86D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F630FE56-8635-4A90-B6C9-4865B2CD3EB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04721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57150"/>
            <a:ext cx="8229600" cy="6038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V Libri - San Giovanni in Fiore, 11/06/2004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  <a:fld id="{81C75024-8340-44D7-A8D4-A6AB334F4E4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426854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6A7F033D-D3FF-42A3-B716-1803238E4BEB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9EAF764C-CD42-489E-8A8D-F27E32EFD8C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454657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A201FEB2-E63E-45FB-B803-8C0DDE259C3B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3D540C1E-7D91-4C4A-B514-A23755ED9879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934251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FA22747D-5CC5-4300-A94F-446E4CDE97BF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B60BB3ED-9DCE-4970-82D9-370830CB9DE8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556128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64289051-F1D8-48ED-8D83-26AEFDE3C691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BD7643D7-4259-47B8-81DC-EC4D78657E2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604966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D065517F-5E4C-43F8-B2AB-109E5BF84B98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AE31923F-9A75-440E-8922-31688B61C62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21453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9F9903B7-E42E-4388-B7FB-2D93617B4EDF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08D5EC86-77AA-453C-B1BC-FAC10FD5E20C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92587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1D1412BE-A5CD-4588-A346-089286B4CB49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1A81310F-B2F3-42D6-9E6C-8E80FDD042D9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656157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19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4648200" y="1600219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3303686158"/>
      </p:ext>
    </p:extLst>
  </p:cSld>
  <p:clrMapOvr>
    <a:masterClrMapping/>
  </p:clrMapOvr>
  <p:transition spd="slow">
    <p:cover dir="ld"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FB831ECE-B064-4D98-AF62-5273A2AE3977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D49D9B57-B740-4DD2-9771-53FEF5DE90D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69796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1195E663-341F-47AE-807F-D260FB8CA46B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6F2BE47E-49B2-4C6B-9F9C-2B2E6E5EFDB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12799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4"/>
            <a:ext cx="7772400" cy="1470025"/>
          </a:xfrm>
        </p:spPr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5E574E0D-1C8E-428D-A3AA-1C76D5692ECC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eaLnBrk="0" hangingPunct="0">
              <a:spcBef>
                <a:spcPct val="20000"/>
              </a:spcBef>
              <a:buFontTx/>
              <a:buChar char="•"/>
              <a:defRPr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E880C248-A9AC-4855-A801-90B4850BB4EC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75577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6D9CE9EA-7A75-4D8F-8A6C-0CAD5DC38968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8D69C64A-F2A1-470B-8116-A43E9FA66DAC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201141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CA24DE71-B77B-4144-A6C1-0F0B32A7282C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447F2736-0300-44E4-9E6E-D5743F07D947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482917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9650448D-D50E-40F4-BB14-236A3A244C39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6A7BFE8F-DC66-4C20-B2E6-448E8BD709C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126460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74AB26DF-9E80-4015-8E1C-DBD7699C619B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45793A87-3205-4A0F-964A-A9097F2AFC9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160891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6A95509D-3198-47CE-A115-315717F2CA93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998D1690-C96E-4A8B-87F7-A9629D94C4F2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3312320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ABDAC204-D451-41D3-A88B-8D06861EA3AE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30868BED-710E-48B7-95DA-AC94F0D5E38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6335929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945F46A2-58BA-4D11-A7B4-9971EDF34341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06069561-B5DC-454E-813F-3A9F3BC4745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180265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745C53A7-9D20-4B11-80AB-95811EBC737E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511B5BB3-AC46-4234-89E8-C9F1522B703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951854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70582EEF-16DF-4C9A-900D-F3925A42BF1C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E5D463A8-2ED0-4B33-B6D8-D0F340F4800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980077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/>
        </p:nvSpPr>
        <p:spPr bwMode="auto">
          <a:xfrm>
            <a:off x="1828800" y="2543175"/>
            <a:ext cx="91440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8858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C4D97FEC-D6CD-4FA0-BE0E-19A716A8BA38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eaLnBrk="0" hangingPunct="0">
              <a:spcBef>
                <a:spcPct val="20000"/>
              </a:spcBef>
              <a:buFontTx/>
              <a:buChar char="•"/>
              <a:defRPr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8000F58E-6734-4056-81E9-FA6D554CC87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5217366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19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0136272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32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383777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19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19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935317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94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74894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194762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404285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707286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9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435119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04044923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19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94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518411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19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1090286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22553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802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65A8987A-4DB5-4EFB-9C22-D60449A118B7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eaLnBrk="0" hangingPunct="0">
              <a:spcBef>
                <a:spcPct val="20000"/>
              </a:spcBef>
              <a:buFontTx/>
              <a:buChar char="•"/>
              <a:defRPr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37AB7C9E-B6A2-4580-8DC5-AF7142974732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43930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413682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19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4648200" y="1600219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159896920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457200" y="1600219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336845143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602167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19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19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718963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19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47181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46756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725351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6014504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77113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89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89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033C2B3C-75FD-40F2-AEA7-C43E6484A574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eaLnBrk="0" hangingPunct="0">
              <a:spcBef>
                <a:spcPct val="20000"/>
              </a:spcBef>
              <a:buFontTx/>
              <a:buChar char="•"/>
              <a:defRPr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B02E0B41-4870-44E3-BD82-C056B9CC777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174841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643400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3964418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92824758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768077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9750124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8774126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9998869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798984565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23BF6C92-477B-49D7-B067-52F2094385B7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AF60AD87-6570-4A9B-88FD-CB2C6210735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6051478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DE976833-6009-4492-90C7-557F652A11D0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482D9BAA-C38E-49D8-91B0-8B47BFB0295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5624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V Libri - San Giovanni in Fiore, 11/06/2004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  <a:fld id="{022085C0-1233-4F07-8CBC-559219991D9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0399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964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74964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8E0E107C-6E79-46D7-B263-D5EE90D42809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eaLnBrk="0" hangingPunct="0">
              <a:spcBef>
                <a:spcPct val="20000"/>
              </a:spcBef>
              <a:buFontTx/>
              <a:buChar char="•"/>
              <a:defRPr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A64A7F38-B0B8-476C-BE5B-B161E6B4F4BF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32117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190EF148-9D3E-4E4F-8137-A886E7DFFF8E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52C72312-8687-4D71-8241-935654B3965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4963875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C2AF2DCA-3E6B-4B31-86D7-4CF3CAF91735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CC3E6384-1E6C-434F-BE80-00D6A903EBE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908758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619023AF-A23D-4F2D-B52B-40A489973349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78239BFF-79DB-44AD-92F1-760BD258A588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2469794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89BD1124-55D0-417A-AB64-6DF1194F712F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EC05FD24-0B2A-4FAE-BCDB-6CA91127664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9585064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E1E87904-F668-4140-AB25-FDF43EB9DDB5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ABB8823C-E01E-4B2F-9FEE-C8DA30A26CD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5419187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95CBDC4C-B097-4919-AFCD-60E519A54750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CA234841-3771-4824-B87E-A5EF62A684D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383924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60D61060-F435-4F9C-9285-48B2D0166763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31509224-EAC7-41CE-B96E-8E97E87AEF3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368078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A22DF915-9BE5-43AD-8D7A-658B41AC4DEC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FAE345E5-50BC-4143-BB08-747EE433379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128561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EA9D4028-C6F0-49F4-AEC9-B4176F172B1F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FEBD8155-A150-4849-A67B-8CEB3BCCD66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220102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7B18D828-3176-44BB-94C3-AE3041BFEEF9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0708B16A-969B-4FD2-837B-71DED75E27D9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10229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36F6312A-F6E3-4900-B953-37815D67A5FC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eaLnBrk="0" hangingPunct="0">
              <a:spcBef>
                <a:spcPct val="20000"/>
              </a:spcBef>
              <a:buFontTx/>
              <a:buChar char="•"/>
              <a:defRPr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380CD2FC-FF03-4982-8420-FB18E222861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8460089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2F683D5D-2E95-47FD-ADAF-4CB9DE80B921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3022655D-AED7-46A3-B61E-BCC582DD95B8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7165078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DAD3597F-8ED1-4555-AB8A-A50EBB08F3D4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93EEF366-D8F6-4B4A-B9EB-3A4162586D6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489085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60C3EA0E-2F2F-49E1-97FF-88DECCC8CC7C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A224BACC-45C6-4AFA-AD1B-9B94BC899B3F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7393671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BD08ED6D-38B4-4D09-9456-A0B2A6695E82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603FD1ED-46FC-4074-963F-7EA9C79D958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39644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0D1E167D-FD73-4A8A-B2BA-19F39F6B2F3A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A44829BA-9AF5-4F55-878A-AE238A1A7AE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60714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445D3525-9299-41A1-82CE-01BE663B1D58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D7FEB12F-A52B-4950-92E0-17FE2FB69EE9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518653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4B0852EC-B7EA-4726-AFF2-E4C789D9933A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CA2E02E6-ECD0-48CA-B796-3C86702E148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926125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A5208D4C-78E9-4E58-AAB4-69061FF834E7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232D3BE8-A982-474E-9608-6901DC5AEC5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7897574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6456C1B2-DD96-47A9-BE94-809A53B2491C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C7B875DB-C6C5-4340-B5C6-991F6CADB40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8688046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D49B4D3B-7F63-4A76-AE8A-CB0E91D15650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C95C6782-0749-48AF-AD5A-C4CC2052539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82721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CFC0C873-5718-4653-9D95-AA6C048125E1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eaLnBrk="0" hangingPunct="0">
              <a:spcBef>
                <a:spcPct val="20000"/>
              </a:spcBef>
              <a:buFontTx/>
              <a:buChar char="•"/>
              <a:defRPr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B05C0D0C-3D48-4221-97EE-70725159FA9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104341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33D292F6-4165-4B17-B249-7D292B02DFDA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8D99F134-C2A7-4301-9778-8BE6F5DB2D3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643441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F52EE584-63A2-4A2A-8804-0E4C225BBAFF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7865E9F5-A006-42BC-A4CD-3CFB3323F13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9862295"/>
      </p:ext>
    </p:extLst>
  </p:cSld>
  <p:clrMapOvr>
    <a:masterClrMapping/>
  </p:clrMapOvr>
  <p:transition spd="slow">
    <p:pull dir="ld"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644942CD-90F6-4E9D-BDDC-B90B63F2CBEB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DF5E8ED1-FBDD-4024-B937-99310C3E65E2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680816"/>
      </p:ext>
    </p:extLst>
  </p:cSld>
  <p:clrMapOvr>
    <a:masterClrMapping/>
  </p:clrMapOvr>
  <p:transition spd="slow">
    <p:pull dir="ld"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61C447B7-AF8C-47B2-BC89-00BDF53F11EB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515B7231-D7DC-4F56-8A0C-24EE99B659F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4127436"/>
      </p:ext>
    </p:extLst>
  </p:cSld>
  <p:clrMapOvr>
    <a:masterClrMapping/>
  </p:clrMapOvr>
  <p:transition spd="slow">
    <p:pull dir="ld"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675A2E21-E1C2-421F-94E1-FDCB5B5F0855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F5288466-56E7-4495-AEA2-355B020DE24F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6165106"/>
      </p:ext>
    </p:extLst>
  </p:cSld>
  <p:clrMapOvr>
    <a:masterClrMapping/>
  </p:clrMapOvr>
  <p:transition spd="slow">
    <p:pull dir="ld"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9BB845FB-F95E-469D-B882-3DDE84E362F1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E5027CE0-64B3-4DFB-85B8-B79282143A7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614837"/>
      </p:ext>
    </p:extLst>
  </p:cSld>
  <p:clrMapOvr>
    <a:masterClrMapping/>
  </p:clrMapOvr>
  <p:transition spd="slow">
    <p:pull dir="ld"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3DE1E6A8-53ED-4BBF-83A5-028F4F69B523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D42CA1B2-F7D5-403D-B9F0-87EB27E48E5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002885"/>
      </p:ext>
    </p:extLst>
  </p:cSld>
  <p:clrMapOvr>
    <a:masterClrMapping/>
  </p:clrMapOvr>
  <p:transition spd="slow">
    <p:pull dir="ld"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BAA58524-4269-42AE-BFF0-375E7FE2482E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ACE34845-65F1-4634-B29C-5CC3444EECF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7296"/>
      </p:ext>
    </p:extLst>
  </p:cSld>
  <p:clrMapOvr>
    <a:masterClrMapping/>
  </p:clrMapOvr>
  <p:transition spd="slow">
    <p:pull dir="ld"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716FEA8F-4A44-4AED-A760-BFE9DC01BC37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9FECBDD3-5216-4B5B-94A7-08E108EDC8B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3433385"/>
      </p:ext>
    </p:extLst>
  </p:cSld>
  <p:clrMapOvr>
    <a:masterClrMapping/>
  </p:clrMapOvr>
  <p:transition spd="slow">
    <p:pull dir="ld"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34155D50-F042-43B4-B0E1-41EEE0B8B414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6482429C-C72D-49FB-9DC7-9D791335CF1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34418"/>
      </p:ext>
    </p:extLst>
  </p:cSld>
  <p:clrMapOvr>
    <a:masterClrMapping/>
  </p:clrMapOvr>
  <p:transition spd="slow">
    <p:pull dir="ld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39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435189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7CF658B3-70C5-4FDA-AD11-EAE45F19DD26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eaLnBrk="0" hangingPunct="0">
              <a:spcBef>
                <a:spcPct val="20000"/>
              </a:spcBef>
              <a:buFontTx/>
              <a:buChar char="•"/>
              <a:defRPr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3C1A2E62-2D6C-43DA-897D-A640BB1BFF47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307032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9164A4FC-5034-4D3D-8261-FE755156AC2C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1" hangingPunct="1">
              <a:spcBef>
                <a:spcPct val="0"/>
              </a:spcBef>
              <a:buFontTx/>
              <a:buNone/>
              <a:defRPr>
                <a:latin typeface="Calibri" pitchFamily="34" charset="0"/>
              </a:defRPr>
            </a:lvl1pPr>
          </a:lstStyle>
          <a:p>
            <a:fld id="{36DE51A3-B7C0-4477-AEB5-82AFB76542F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4637809"/>
      </p:ext>
    </p:extLst>
  </p:cSld>
  <p:clrMapOvr>
    <a:masterClrMapping/>
  </p:clrMapOvr>
  <p:transition spd="slow">
    <p:pull dir="ld"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312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4648200" y="1600312"/>
            <a:ext cx="4038600" cy="4525963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891624936"/>
      </p:ext>
    </p:extLst>
  </p:cSld>
  <p:clrMapOvr>
    <a:masterClrMapping/>
  </p:clrMapOvr>
  <p:transition spd="slow">
    <p:pull dir="ld"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ClipArt Placeholder 6"/>
          <p:cNvSpPr>
            <a:spLocks noGrp="1"/>
          </p:cNvSpPr>
          <p:nvPr>
            <p:ph type="clipArt" sz="quarter" idx="10"/>
          </p:nvPr>
        </p:nvSpPr>
        <p:spPr>
          <a:xfrm>
            <a:off x="7286634" y="119"/>
            <a:ext cx="1857375" cy="857250"/>
          </a:xfrm>
          <a:prstGeom prst="rect">
            <a:avLst/>
          </a:prstGeom>
          <a:solidFill>
            <a:schemeClr val="bg1"/>
          </a:solidFill>
        </p:spPr>
        <p:txBody>
          <a:bodyPr rtlCol="0">
            <a:normAutofit/>
          </a:bodyPr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3811544866"/>
      </p:ext>
    </p:extLst>
  </p:cSld>
  <p:clrMapOvr>
    <a:masterClrMapping/>
  </p:clrMapOvr>
  <p:transition/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ClipArt Placeholder 6"/>
          <p:cNvSpPr>
            <a:spLocks noGrp="1"/>
          </p:cNvSpPr>
          <p:nvPr>
            <p:ph type="clipArt" sz="quarter" idx="10"/>
          </p:nvPr>
        </p:nvSpPr>
        <p:spPr>
          <a:xfrm>
            <a:off x="7286634" y="119"/>
            <a:ext cx="1857375" cy="857250"/>
          </a:xfrm>
          <a:prstGeom prst="rect">
            <a:avLst/>
          </a:prstGeom>
          <a:solidFill>
            <a:schemeClr val="bg1"/>
          </a:solidFill>
        </p:spPr>
        <p:txBody>
          <a:bodyPr rtlCol="0">
            <a:normAutofit/>
          </a:bodyPr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1643836616"/>
      </p:ext>
    </p:extLst>
  </p:cSld>
  <p:clrMapOvr>
    <a:masterClrMapping/>
  </p:clrMapOvr>
  <p:transition spd="slow"/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/>
        </p:nvSpPr>
        <p:spPr bwMode="auto">
          <a:xfrm>
            <a:off x="1828800" y="2543175"/>
            <a:ext cx="91440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2161874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19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216717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32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5747200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19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19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2641660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94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74894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3623721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86911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89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864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916DB663-6744-4885-8DEE-A4E00FAEE91D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eaLnBrk="0" hangingPunct="0">
              <a:spcBef>
                <a:spcPct val="20000"/>
              </a:spcBef>
              <a:buFontTx/>
              <a:buChar char="•"/>
              <a:defRPr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8F4461D4-067F-4B0C-A296-1D8AC7868FA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8941965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7137028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9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435119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528830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19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94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9916381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19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1095824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0075658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19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4648200" y="1600219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3813258600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457200" y="1600219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3362033261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9336602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/>
        </p:nvSpPr>
        <p:spPr bwMode="auto">
          <a:xfrm>
            <a:off x="1828800" y="2543175"/>
            <a:ext cx="91440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3215661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19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60866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E4B43449-2C81-4D83-93C1-7001104F2B7D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eaLnBrk="0" hangingPunct="0">
              <a:spcBef>
                <a:spcPct val="20000"/>
              </a:spcBef>
              <a:buFontTx/>
              <a:buChar char="•"/>
              <a:defRPr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031B71E5-AE2D-4797-BAE2-81563FC7E57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9552474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32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7470699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19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19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0895019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94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74894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544435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2216972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5801498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9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435119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8015782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19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94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03592717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19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0481225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3142947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35149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6CCA9157-F20F-4496-8313-4D0AB639F185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eaLnBrk="0" hangingPunct="0">
              <a:spcBef>
                <a:spcPct val="20000"/>
              </a:spcBef>
              <a:buFontTx/>
              <a:buChar char="•"/>
              <a:defRPr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FontTx/>
              <a:buChar char="•"/>
              <a:defRPr>
                <a:latin typeface="Arial" pitchFamily="34" charset="0"/>
              </a:defRPr>
            </a:lvl1pPr>
          </a:lstStyle>
          <a:p>
            <a:fld id="{128B217B-D840-41A2-AF30-9B455CBB2ABF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434344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19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4648200" y="1600219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252378936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457200" y="1600219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410556167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0039988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/>
        </p:nvSpPr>
        <p:spPr bwMode="auto">
          <a:xfrm>
            <a:off x="1828800" y="2543175"/>
            <a:ext cx="91440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4237247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19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932470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32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218317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19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19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4986487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94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74894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4883216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0818495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33207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ClipArt Placeholder 6"/>
          <p:cNvSpPr>
            <a:spLocks noGrp="1"/>
          </p:cNvSpPr>
          <p:nvPr>
            <p:ph type="clipArt" sz="quarter" idx="10"/>
          </p:nvPr>
        </p:nvSpPr>
        <p:spPr>
          <a:xfrm>
            <a:off x="7286634" y="89"/>
            <a:ext cx="1857375" cy="857250"/>
          </a:xfrm>
          <a:solidFill>
            <a:schemeClr val="bg1"/>
          </a:solidFill>
        </p:spPr>
        <p:txBody>
          <a:bodyPr rtlCol="0">
            <a:normAutofit/>
          </a:bodyPr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1193723892"/>
      </p:ext>
    </p:extLst>
  </p:cSld>
  <p:clrMapOvr>
    <a:masterClrMapping/>
  </p:clrMapOvr>
  <p:transition/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9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435119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1777275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19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94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8170313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19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7031834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5428254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19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4648200" y="1600219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3916296965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457200" y="1600219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3897751794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19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4807491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4627123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44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457200"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l" defTabSz="457200"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/>
            </a:lvl1pPr>
          </a:lstStyle>
          <a:p>
            <a:fld id="{6BDF0A2D-AC6B-4E4B-B594-CC79D890ED5C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2382527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457200"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l" defTabSz="457200"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/>
            </a:lvl1pPr>
          </a:lstStyle>
          <a:p>
            <a:fld id="{8B194A60-2988-473B-B8E8-28C26A696DD1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50963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ClipArt Placeholder 6"/>
          <p:cNvSpPr>
            <a:spLocks noGrp="1"/>
          </p:cNvSpPr>
          <p:nvPr>
            <p:ph type="clipArt" sz="quarter" idx="10"/>
          </p:nvPr>
        </p:nvSpPr>
        <p:spPr>
          <a:xfrm>
            <a:off x="7286634" y="89"/>
            <a:ext cx="1857375" cy="857250"/>
          </a:xfrm>
          <a:solidFill>
            <a:schemeClr val="bg1"/>
          </a:solidFill>
        </p:spPr>
        <p:txBody>
          <a:bodyPr/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415276824"/>
      </p:ext>
    </p:extLst>
  </p:cSld>
  <p:clrMapOvr>
    <a:masterClrMapping/>
  </p:clrMapOvr>
  <p:transition spd="slow"/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32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457200"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l" defTabSz="457200"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/>
            </a:lvl1pPr>
          </a:lstStyle>
          <a:p>
            <a:fld id="{D0499673-D53D-4A24-B641-9B007E199ED9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8758667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19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19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457200"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l" defTabSz="457200"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/>
            </a:lvl1pPr>
          </a:lstStyle>
          <a:p>
            <a:fld id="{52EE9765-2C91-463E-ABA9-8446A5EDDB8D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9180722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94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74894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457200"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l" defTabSz="457200"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/>
            </a:lvl1pPr>
          </a:lstStyle>
          <a:p>
            <a:fld id="{2EB0867E-3862-4C43-800C-B65D40CF748E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4982625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457200"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l" defTabSz="457200"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/>
            </a:lvl1pPr>
          </a:lstStyle>
          <a:p>
            <a:fld id="{B1FC443E-AE41-482F-820E-4F2339EDDF66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5044175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457200"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l" defTabSz="457200"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/>
            </a:lvl1pPr>
          </a:lstStyle>
          <a:p>
            <a:fld id="{4C76B722-3D4B-4932-BC7B-82847FDF5416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5856578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9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435119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457200"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l" defTabSz="457200"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/>
            </a:lvl1pPr>
          </a:lstStyle>
          <a:p>
            <a:fld id="{8D902E31-9A69-4F54-A2FF-58A3DF16EF58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2136564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19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94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457200"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l" defTabSz="457200"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/>
            </a:lvl1pPr>
          </a:lstStyle>
          <a:p>
            <a:fld id="{17E7BF4E-23F9-4408-B3F4-E56710CE03DF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838562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457200"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l" defTabSz="457200"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/>
            </a:lvl1pPr>
          </a:lstStyle>
          <a:p>
            <a:fld id="{321B8808-EDE3-4A0B-A9C8-4653DEF39573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4843191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72300" y="0"/>
            <a:ext cx="2171700" cy="61261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0"/>
            <a:ext cx="6362700" cy="61261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defTabSz="457200"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l" defTabSz="457200"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defTabSz="457200">
              <a:defRPr/>
            </a:lvl1pPr>
          </a:lstStyle>
          <a:p>
            <a:fld id="{9E287E21-1491-4586-A72A-F6BCF6081AFC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025171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/>
        </p:nvSpPr>
        <p:spPr bwMode="auto">
          <a:xfrm>
            <a:off x="1828800" y="2543175"/>
            <a:ext cx="91440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431095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4"/>
          <p:cNvSpPr>
            <a:spLocks noChangeShapeType="1"/>
          </p:cNvSpPr>
          <p:nvPr/>
        </p:nvSpPr>
        <p:spPr bwMode="auto">
          <a:xfrm>
            <a:off x="0" y="1233488"/>
            <a:ext cx="914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0" y="6526213"/>
            <a:ext cx="914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6" name="Line 6"/>
          <p:cNvSpPr>
            <a:spLocks noChangeShapeType="1"/>
          </p:cNvSpPr>
          <p:nvPr/>
        </p:nvSpPr>
        <p:spPr bwMode="auto">
          <a:xfrm>
            <a:off x="0" y="5092700"/>
            <a:ext cx="914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73523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613" y="1443038"/>
            <a:ext cx="6399212" cy="1755775"/>
          </a:xfrm>
        </p:spPr>
        <p:txBody>
          <a:bodyPr bIns="0" anchor="t"/>
          <a:lstStyle>
            <a:lvl1pPr>
              <a:lnSpc>
                <a:spcPct val="95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3523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06535" y="36602"/>
            <a:ext cx="6983413" cy="1106487"/>
          </a:xfrm>
        </p:spPr>
        <p:txBody>
          <a:bodyPr rIns="0" anchor="b"/>
          <a:lstStyle>
            <a:lvl1pPr>
              <a:spcBef>
                <a:spcPct val="0"/>
              </a:spcBef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86213161"/>
      </p:ext>
    </p:extLst>
  </p:cSld>
  <p:clrMapOvr>
    <a:masterClrMapping/>
  </p:clrMapOvr>
  <p:transition>
    <p:cut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19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0497026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32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2378222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19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19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4744408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94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74894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9595011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9257487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9411235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9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435119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9525635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19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94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0706269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19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2112068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54050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89" y="4406905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89" y="2906802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V Libri - San Giovanni in Fiore, 11/06/2004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  <a:fld id="{E20ADF36-6613-405B-8461-6B0E5F83216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215465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4471146"/>
      </p:ext>
    </p:extLst>
  </p:cSld>
  <p:clrMapOvr>
    <a:masterClrMapping/>
  </p:clrMapOvr>
  <p:transition>
    <p:cut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6101660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19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4648200" y="1600219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2720937054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457200" y="1600219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3302117327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3498453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19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19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6706146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19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3866201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/>
        </p:nvSpPr>
        <p:spPr bwMode="auto">
          <a:xfrm>
            <a:off x="1828800" y="2543175"/>
            <a:ext cx="91440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8793248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23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5259492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32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5127610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23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23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353015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802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88888436"/>
      </p:ext>
    </p:extLst>
  </p:cSld>
  <p:clrMapOvr>
    <a:masterClrMapping/>
  </p:clrMapOvr>
  <p:transition>
    <p:cut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94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74894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5456383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1302835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8332274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73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435122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7644000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19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94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3875846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23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3509837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2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2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1234123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42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8180138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23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4648200" y="1600223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2787913644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457200" y="1600223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289284369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20838"/>
            <a:ext cx="4038600" cy="44751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20838"/>
            <a:ext cx="4038600" cy="44751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3003059"/>
      </p:ext>
    </p:extLst>
  </p:cSld>
  <p:clrMapOvr>
    <a:masterClrMapping/>
  </p:clrMapOvr>
  <p:transition>
    <p:cut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92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92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426679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23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23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5528968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23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938592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2356528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1828800" y="2543175"/>
            <a:ext cx="91440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/>
          <a:p>
            <a:pPr algn="l">
              <a:spcBef>
                <a:spcPct val="0"/>
              </a:spcBef>
            </a:pPr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7691735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19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2211313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32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2089614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19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19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4130153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94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74894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6141308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8913343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08127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964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74964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0474067"/>
      </p:ext>
    </p:extLst>
  </p:cSld>
  <p:clrMapOvr>
    <a:masterClrMapping/>
  </p:clrMapOvr>
  <p:transition>
    <p:cut/>
  </p:transition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9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435119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16547135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19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94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8516747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19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2353116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6784911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457200" y="1600219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2475251360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0731166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4"/>
          <p:cNvSpPr>
            <a:spLocks noChangeShapeType="1"/>
          </p:cNvSpPr>
          <p:nvPr/>
        </p:nvSpPr>
        <p:spPr bwMode="auto">
          <a:xfrm>
            <a:off x="0" y="1233488"/>
            <a:ext cx="914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0" y="6526213"/>
            <a:ext cx="914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6" name="Line 6"/>
          <p:cNvSpPr>
            <a:spLocks noChangeShapeType="1"/>
          </p:cNvSpPr>
          <p:nvPr/>
        </p:nvSpPr>
        <p:spPr bwMode="auto">
          <a:xfrm>
            <a:off x="0" y="5092700"/>
            <a:ext cx="914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7188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613" y="1443038"/>
            <a:ext cx="6399212" cy="1755775"/>
          </a:xfrm>
        </p:spPr>
        <p:txBody>
          <a:bodyPr bIns="0" anchor="t"/>
          <a:lstStyle>
            <a:lvl1pPr>
              <a:lnSpc>
                <a:spcPct val="95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188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06525" y="36513"/>
            <a:ext cx="6983413" cy="1106487"/>
          </a:xfrm>
        </p:spPr>
        <p:txBody>
          <a:bodyPr rIns="0" anchor="b"/>
          <a:lstStyle>
            <a:lvl1pPr>
              <a:spcBef>
                <a:spcPct val="0"/>
              </a:spcBef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26121003"/>
      </p:ext>
    </p:extLst>
  </p:cSld>
  <p:clrMapOvr>
    <a:masterClrMapping/>
  </p:clrMapOvr>
  <p:transition>
    <p:cut/>
  </p:transition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1872192"/>
      </p:ext>
    </p:extLst>
  </p:cSld>
  <p:clrMapOvr>
    <a:masterClrMapping/>
  </p:clrMapOvr>
  <p:transition>
    <p:cut/>
  </p:transition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0256061"/>
      </p:ext>
    </p:extLst>
  </p:cSld>
  <p:clrMapOvr>
    <a:masterClrMapping/>
  </p:clrMapOvr>
  <p:transition>
    <p:cut/>
  </p:transition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20838"/>
            <a:ext cx="4038600" cy="44751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20838"/>
            <a:ext cx="4038600" cy="44751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3477220"/>
      </p:ext>
    </p:extLst>
  </p:cSld>
  <p:clrMapOvr>
    <a:masterClrMapping/>
  </p:clrMapOvr>
  <p:transition>
    <p:cut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3020494"/>
      </p:ext>
    </p:extLst>
  </p:cSld>
  <p:clrMapOvr>
    <a:masterClrMapping/>
  </p:clrMapOvr>
  <p:transition>
    <p:cut/>
  </p:transition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5943146"/>
      </p:ext>
    </p:extLst>
  </p:cSld>
  <p:clrMapOvr>
    <a:masterClrMapping/>
  </p:clrMapOvr>
  <p:transition>
    <p:cut/>
  </p:transition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0024091"/>
      </p:ext>
    </p:extLst>
  </p:cSld>
  <p:clrMapOvr>
    <a:masterClrMapping/>
  </p:clrMapOvr>
  <p:transition>
    <p:cut/>
  </p:transition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ClipArt Placeholder 6"/>
          <p:cNvSpPr>
            <a:spLocks noGrp="1"/>
          </p:cNvSpPr>
          <p:nvPr>
            <p:ph type="clipArt" sz="quarter" idx="10"/>
          </p:nvPr>
        </p:nvSpPr>
        <p:spPr>
          <a:xfrm>
            <a:off x="7286625" y="0"/>
            <a:ext cx="1857375" cy="857250"/>
          </a:xfrm>
          <a:solidFill>
            <a:schemeClr val="bg1"/>
          </a:solidFill>
        </p:spPr>
        <p:txBody>
          <a:bodyPr/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1946248511"/>
      </p:ext>
    </p:extLst>
  </p:cSld>
  <p:clrMapOvr>
    <a:masterClrMapping/>
  </p:clrMapOvr>
  <p:transition>
    <p:cut/>
  </p:transition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4308195"/>
      </p:ext>
    </p:extLst>
  </p:cSld>
  <p:clrMapOvr>
    <a:masterClrMapping/>
  </p:clrMapOvr>
  <p:transition>
    <p:cut/>
  </p:transition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1880727"/>
      </p:ext>
    </p:extLst>
  </p:cSld>
  <p:clrMapOvr>
    <a:masterClrMapping/>
  </p:clrMapOvr>
  <p:transition>
    <p:cut/>
  </p:transition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8783093"/>
      </p:ext>
    </p:extLst>
  </p:cSld>
  <p:clrMapOvr>
    <a:masterClrMapping/>
  </p:clrMapOvr>
  <p:transition>
    <p:cut/>
  </p:transition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57150"/>
            <a:ext cx="2057400" cy="6038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57150"/>
            <a:ext cx="6019800" cy="6038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271347"/>
      </p:ext>
    </p:extLst>
  </p:cSld>
  <p:clrMapOvr>
    <a:masterClrMapping/>
  </p:clrMapOvr>
  <p:transition>
    <p:cut/>
  </p:transition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7150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20838"/>
            <a:ext cx="4038600" cy="447516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4648200" y="1620838"/>
            <a:ext cx="4038600" cy="4475162"/>
          </a:xfrm>
        </p:spPr>
        <p:txBody>
          <a:bodyPr/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4271277044"/>
      </p:ext>
    </p:extLst>
  </p:cSld>
  <p:clrMapOvr>
    <a:masterClrMapping/>
  </p:clrMapOvr>
  <p:transition>
    <p:cut/>
  </p:transition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/>
        </p:nvSpPr>
        <p:spPr bwMode="auto">
          <a:xfrm>
            <a:off x="1828800" y="2543175"/>
            <a:ext cx="91440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5794572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23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04809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2614517"/>
      </p:ext>
    </p:extLst>
  </p:cSld>
  <p:clrMapOvr>
    <a:masterClrMapping/>
  </p:clrMapOvr>
  <p:transition>
    <p:cut/>
  </p:transition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32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9311848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23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23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4736220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94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74894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7762866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0054811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4432017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73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435122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73920548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19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94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33723753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23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6713172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2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2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4504804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42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181849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39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435189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6799299"/>
      </p:ext>
    </p:extLst>
  </p:cSld>
  <p:clrMapOvr>
    <a:masterClrMapping/>
  </p:clrMapOvr>
  <p:transition>
    <p:cut/>
  </p:transition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23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4648200" y="1600223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1813600014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457200" y="1600223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3197463490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92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92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7014808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8C231C5C-72CB-433B-B87C-AB14EC1226A0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DECFE31D-E12B-4948-AE89-2FB4742F46E8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26267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29A96F16-1EDC-49B0-9BA6-AF75100A21FC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ECF87E41-C1A9-49A8-9ABB-2034243A75A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825470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672447FB-BC6B-4BE9-9328-6833D8EDE1C6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A1987651-50DA-4145-A832-C4F58FDE22C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8601265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FCC8EDB1-F564-49A4-9A14-62B99C1CA658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C998E14C-21E3-4A2C-B203-10A9A5D7061C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3443949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58EDEB84-9652-4DDB-8936-FD5816B83377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EFBB54C1-6EEB-4787-AAD8-734E3E208BEC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1207756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57039338-91D6-4D07-B97C-CBE02B55A6CD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17CDFB05-3B78-4167-AFFB-987E790AFF6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5945433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CD2B3FF5-B8A7-4CC0-93A1-7F85B970BBD8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51DA52C3-35A4-42C6-9E37-6DB4C9B3ACF2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012563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89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864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0272211"/>
      </p:ext>
    </p:extLst>
  </p:cSld>
  <p:clrMapOvr>
    <a:masterClrMapping/>
  </p:clrMapOvr>
  <p:transition>
    <p:cut/>
  </p:transition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D47ED026-D5E8-4154-9384-C4F0448D53E5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08300861-9600-41CF-BEBB-629D4332362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3235535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F553500C-C03F-4051-8DD4-76C88CEA10E6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046597B6-E554-4489-8FEB-FCA01EBEA64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490112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FEFDA2D4-6835-416C-A75D-3D23DAEC815E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5F2E35AF-8BC4-4837-A041-E4A5B82AEAD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5560288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322F906D-5EBD-49C8-BB19-6E0A9DB66F1B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buFontTx/>
              <a:buChar char="•"/>
              <a:defRPr/>
            </a:lvl1pPr>
          </a:lstStyle>
          <a:p>
            <a:fld id="{7D02130B-7A78-4030-95A0-A6F5ED6E477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6483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5559798"/>
      </p:ext>
    </p:extLst>
  </p:cSld>
  <p:clrMapOvr>
    <a:masterClrMapping/>
  </p:clrMapOvr>
  <p:transition>
    <p:cut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57150"/>
            <a:ext cx="2057400" cy="6038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57150"/>
            <a:ext cx="6019800" cy="6038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5383594"/>
      </p:ext>
    </p:extLst>
  </p:cSld>
  <p:clrMapOvr>
    <a:masterClrMapping/>
  </p:clrMapOvr>
  <p:transition>
    <p:cut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11" y="1620838"/>
            <a:ext cx="4047067" cy="44751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9737" y="1620838"/>
            <a:ext cx="4047067" cy="44751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V Libri - San Giovanni in Fiore, 11/06/2004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  <a:fld id="{2AD28D75-2CAB-497F-A124-040B0515E2D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322849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7150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20838"/>
            <a:ext cx="4038600" cy="4475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4648200" y="1620838"/>
            <a:ext cx="4038600" cy="4475162"/>
          </a:xfrm>
        </p:spPr>
        <p:txBody>
          <a:bodyPr/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602364612"/>
      </p:ext>
    </p:extLst>
  </p:cSld>
  <p:clrMapOvr>
    <a:masterClrMapping/>
  </p:clrMapOvr>
  <p:transition>
    <p:cut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1540" y="274320"/>
            <a:ext cx="7360920" cy="139446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891540" y="1748879"/>
            <a:ext cx="3611880" cy="446913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0580" y="1748879"/>
            <a:ext cx="3611880" cy="446913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416569"/>
      </p:ext>
    </p:extLst>
  </p:cSld>
  <p:clrMapOvr>
    <a:masterClrMapping/>
  </p:clrMapOvr>
  <p:transition>
    <p:cut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/>
        </p:nvSpPr>
        <p:spPr bwMode="auto">
          <a:xfrm>
            <a:off x="1828800" y="2543175"/>
            <a:ext cx="91440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6252932"/>
      </p:ext>
    </p:extLst>
  </p:cSld>
  <p:clrMapOvr>
    <a:masterClrMapping/>
  </p:clrMapOvr>
  <p:transition>
    <p:cut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89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6674406"/>
      </p:ext>
    </p:extLst>
  </p:cSld>
  <p:clrMapOvr>
    <a:masterClrMapping/>
  </p:clrMapOvr>
  <p:transition>
    <p:cut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802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49434650"/>
      </p:ext>
    </p:extLst>
  </p:cSld>
  <p:clrMapOvr>
    <a:masterClrMapping/>
  </p:clrMapOvr>
  <p:transition>
    <p:cut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89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89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0146377"/>
      </p:ext>
    </p:extLst>
  </p:cSld>
  <p:clrMapOvr>
    <a:masterClrMapping/>
  </p:clrMapOvr>
  <p:transition>
    <p:cut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964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74964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3977418"/>
      </p:ext>
    </p:extLst>
  </p:cSld>
  <p:clrMapOvr>
    <a:masterClrMapping/>
  </p:clrMapOvr>
  <p:transition>
    <p:cut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0309841"/>
      </p:ext>
    </p:extLst>
  </p:cSld>
  <p:clrMapOvr>
    <a:masterClrMapping/>
  </p:clrMapOvr>
  <p:transition>
    <p:cut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7492487"/>
      </p:ext>
    </p:extLst>
  </p:cSld>
  <p:clrMapOvr>
    <a:masterClrMapping/>
  </p:clrMapOvr>
  <p:transition>
    <p:cut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39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435189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1989406"/>
      </p:ext>
    </p:extLst>
  </p:cSld>
  <p:clrMapOvr>
    <a:masterClrMapping/>
  </p:clrMapOvr>
  <p:transition>
    <p:cut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12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964"/>
            <a:ext cx="4040012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378" y="1535113"/>
            <a:ext cx="4041422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378" y="2174964"/>
            <a:ext cx="4041422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V Libri - San Giovanni in Fiore, 11/06/2004</a:t>
            </a: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  <a:fld id="{D4DEFFF5-314B-4D22-890C-530DA842F91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77198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89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864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660788"/>
      </p:ext>
    </p:extLst>
  </p:cSld>
  <p:clrMapOvr>
    <a:masterClrMapping/>
  </p:clrMapOvr>
  <p:transition>
    <p:cut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89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6262856"/>
      </p:ext>
    </p:extLst>
  </p:cSld>
  <p:clrMapOvr>
    <a:masterClrMapping/>
  </p:clrMapOvr>
  <p:transition>
    <p:cut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5482068"/>
      </p:ext>
    </p:extLst>
  </p:cSld>
  <p:clrMapOvr>
    <a:masterClrMapping/>
  </p:clrMapOvr>
  <p:transition>
    <p:cut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89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4648200" y="1600289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2036083702"/>
      </p:ext>
    </p:extLst>
  </p:cSld>
  <p:clrMapOvr>
    <a:masterClrMapping/>
  </p:clrMapOvr>
  <p:transition>
    <p:cut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457200" y="1600289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419893657"/>
      </p:ext>
    </p:extLst>
  </p:cSld>
  <p:clrMapOvr>
    <a:masterClrMapping/>
  </p:clrMapOvr>
  <p:transition>
    <p:cut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4921569"/>
      </p:ext>
    </p:extLst>
  </p:cSld>
  <p:clrMapOvr>
    <a:masterClrMapping/>
  </p:clrMapOvr>
  <p:transition>
    <p:cut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4"/>
          <p:cNvSpPr>
            <a:spLocks noChangeShapeType="1"/>
          </p:cNvSpPr>
          <p:nvPr/>
        </p:nvSpPr>
        <p:spPr bwMode="auto">
          <a:xfrm>
            <a:off x="0" y="1233488"/>
            <a:ext cx="914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0" y="6526213"/>
            <a:ext cx="914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6" name="Line 6"/>
          <p:cNvSpPr>
            <a:spLocks noChangeShapeType="1"/>
          </p:cNvSpPr>
          <p:nvPr/>
        </p:nvSpPr>
        <p:spPr bwMode="auto">
          <a:xfrm>
            <a:off x="0" y="5092700"/>
            <a:ext cx="914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7188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613" y="1443038"/>
            <a:ext cx="6399212" cy="1755775"/>
          </a:xfrm>
        </p:spPr>
        <p:txBody>
          <a:bodyPr bIns="0" anchor="t"/>
          <a:lstStyle>
            <a:lvl1pPr>
              <a:lnSpc>
                <a:spcPct val="95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188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06535" y="36602"/>
            <a:ext cx="6983413" cy="1106487"/>
          </a:xfrm>
        </p:spPr>
        <p:txBody>
          <a:bodyPr rIns="0" anchor="b"/>
          <a:lstStyle>
            <a:lvl1pPr>
              <a:spcBef>
                <a:spcPct val="0"/>
              </a:spcBef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55865614"/>
      </p:ext>
    </p:extLst>
  </p:cSld>
  <p:clrMapOvr>
    <a:masterClrMapping/>
  </p:clrMapOvr>
  <p:transition>
    <p:cut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43790"/>
      </p:ext>
    </p:extLst>
  </p:cSld>
  <p:clrMapOvr>
    <a:masterClrMapping/>
  </p:clrMapOvr>
  <p:transition>
    <p:cut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802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835758"/>
      </p:ext>
    </p:extLst>
  </p:cSld>
  <p:clrMapOvr>
    <a:masterClrMapping/>
  </p:clrMapOvr>
  <p:transition>
    <p:cut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20838"/>
            <a:ext cx="4038600" cy="44751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20838"/>
            <a:ext cx="4038600" cy="44751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1577113"/>
      </p:ext>
    </p:extLst>
  </p:cSld>
  <p:clrMapOvr>
    <a:masterClrMapping/>
  </p:clrMapOvr>
  <p:transition>
    <p:cut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V Libri - San Giovanni in Fiore, 11/06/2004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  <a:fld id="{F1CFDAA5-96CE-48CB-9EDE-06347A025C48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270925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964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74964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8901747"/>
      </p:ext>
    </p:extLst>
  </p:cSld>
  <p:clrMapOvr>
    <a:masterClrMapping/>
  </p:clrMapOvr>
  <p:transition>
    <p:cut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1603789"/>
      </p:ext>
    </p:extLst>
  </p:cSld>
  <p:clrMapOvr>
    <a:masterClrMapping/>
  </p:clrMapOvr>
  <p:transition>
    <p:cut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ClipArt Placeholder 6"/>
          <p:cNvSpPr>
            <a:spLocks noGrp="1"/>
          </p:cNvSpPr>
          <p:nvPr>
            <p:ph type="clipArt" sz="quarter" idx="10"/>
          </p:nvPr>
        </p:nvSpPr>
        <p:spPr>
          <a:xfrm>
            <a:off x="7286634" y="89"/>
            <a:ext cx="1857375" cy="857250"/>
          </a:xfrm>
          <a:solidFill>
            <a:schemeClr val="bg1"/>
          </a:solidFill>
        </p:spPr>
        <p:txBody>
          <a:bodyPr/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2934516242"/>
      </p:ext>
    </p:extLst>
  </p:cSld>
  <p:clrMapOvr>
    <a:masterClrMapping/>
  </p:clrMapOvr>
  <p:transition>
    <p:cut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39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435189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9657033"/>
      </p:ext>
    </p:extLst>
  </p:cSld>
  <p:clrMapOvr>
    <a:masterClrMapping/>
  </p:clrMapOvr>
  <p:transition>
    <p:cut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89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864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5571704"/>
      </p:ext>
    </p:extLst>
  </p:cSld>
  <p:clrMapOvr>
    <a:masterClrMapping/>
  </p:clrMapOvr>
  <p:transition>
    <p:cut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225380"/>
      </p:ext>
    </p:extLst>
  </p:cSld>
  <p:clrMapOvr>
    <a:masterClrMapping/>
  </p:clrMapOvr>
  <p:transition>
    <p:cut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57150"/>
            <a:ext cx="2057400" cy="6038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57150"/>
            <a:ext cx="6019800" cy="6038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4429885"/>
      </p:ext>
    </p:extLst>
  </p:cSld>
  <p:clrMapOvr>
    <a:masterClrMapping/>
  </p:clrMapOvr>
  <p:transition>
    <p:cut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7150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20838"/>
            <a:ext cx="4038600" cy="447516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4648200" y="1620838"/>
            <a:ext cx="4038600" cy="4475162"/>
          </a:xfrm>
        </p:spPr>
        <p:txBody>
          <a:bodyPr/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2277615215"/>
      </p:ext>
    </p:extLst>
  </p:cSld>
  <p:clrMapOvr>
    <a:masterClrMapping/>
  </p:clrMapOvr>
  <p:transition>
    <p:cut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4"/>
          <p:cNvSpPr>
            <a:spLocks noChangeShapeType="1"/>
          </p:cNvSpPr>
          <p:nvPr/>
        </p:nvSpPr>
        <p:spPr bwMode="auto">
          <a:xfrm>
            <a:off x="0" y="1233488"/>
            <a:ext cx="914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0" y="6526213"/>
            <a:ext cx="914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6" name="Line 6"/>
          <p:cNvSpPr>
            <a:spLocks noChangeShapeType="1"/>
          </p:cNvSpPr>
          <p:nvPr/>
        </p:nvSpPr>
        <p:spPr bwMode="auto">
          <a:xfrm>
            <a:off x="0" y="5092700"/>
            <a:ext cx="914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73523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613" y="1443039"/>
            <a:ext cx="6399212" cy="1755775"/>
          </a:xfrm>
        </p:spPr>
        <p:txBody>
          <a:bodyPr bIns="0" anchor="t"/>
          <a:lstStyle>
            <a:lvl1pPr>
              <a:lnSpc>
                <a:spcPct val="95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3523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06535" y="36688"/>
            <a:ext cx="6983413" cy="1106487"/>
          </a:xfrm>
        </p:spPr>
        <p:txBody>
          <a:bodyPr rIns="0" anchor="b"/>
          <a:lstStyle>
            <a:lvl1pPr>
              <a:spcBef>
                <a:spcPct val="0"/>
              </a:spcBef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1925160"/>
      </p:ext>
    </p:extLst>
  </p:cSld>
  <p:clrMapOvr>
    <a:masterClrMapping/>
  </p:clrMapOvr>
  <p:transition spd="slow">
    <p:cover dir="ld"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4313143"/>
      </p:ext>
    </p:extLst>
  </p:cSld>
  <p:clrMapOvr>
    <a:masterClrMapping/>
  </p:clrMapOvr>
  <p:transition spd="slow">
    <p:cover dir="ld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V Libri - San Giovanni in Fiore, 11/06/2004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  <a:fld id="{829AC9A9-8884-4536-8C01-0CBAE0F14C6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567194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74"/>
            <a:ext cx="7772400" cy="136207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8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5467781"/>
      </p:ext>
    </p:extLst>
  </p:cSld>
  <p:clrMapOvr>
    <a:masterClrMapping/>
  </p:clrMapOvr>
  <p:transition spd="slow">
    <p:cover dir="ld"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21011"/>
            <a:ext cx="4038600" cy="44751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21011"/>
            <a:ext cx="4038600" cy="44751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8906610"/>
      </p:ext>
    </p:extLst>
  </p:cSld>
  <p:clrMapOvr>
    <a:masterClrMapping/>
  </p:clrMapOvr>
  <p:transition spd="slow">
    <p:cover dir="ld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286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5049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5286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75049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1120871"/>
      </p:ext>
    </p:extLst>
  </p:cSld>
  <p:clrMapOvr>
    <a:masterClrMapping/>
  </p:clrMapOvr>
  <p:transition spd="slow">
    <p:cover dir="ld"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6125553"/>
      </p:ext>
    </p:extLst>
  </p:cSld>
  <p:clrMapOvr>
    <a:masterClrMapping/>
  </p:clrMapOvr>
  <p:transition spd="slow">
    <p:cover dir="ld"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8268744"/>
      </p:ext>
    </p:extLst>
  </p:cSld>
  <p:clrMapOvr>
    <a:masterClrMapping/>
  </p:clrMapOvr>
  <p:transition spd="slow">
    <p:cover dir="ld"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73224"/>
            <a:ext cx="3008313" cy="1162051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22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43527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8064439"/>
      </p:ext>
    </p:extLst>
  </p:cSld>
  <p:clrMapOvr>
    <a:masterClrMapping/>
  </p:clrMapOvr>
  <p:transition spd="slow">
    <p:cover dir="ld"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599"/>
            <a:ext cx="5486400" cy="566739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949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511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2502469"/>
      </p:ext>
    </p:extLst>
  </p:cSld>
  <p:clrMapOvr>
    <a:masterClrMapping/>
  </p:clrMapOvr>
  <p:transition spd="slow">
    <p:cover dir="ld"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5934980"/>
      </p:ext>
    </p:extLst>
  </p:cSld>
  <p:clrMapOvr>
    <a:masterClrMapping/>
  </p:clrMapOvr>
  <p:transition spd="slow">
    <p:cover dir="ld"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57323"/>
            <a:ext cx="2057400" cy="6038851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57323"/>
            <a:ext cx="6019800" cy="603885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456546"/>
      </p:ext>
    </p:extLst>
  </p:cSld>
  <p:clrMapOvr>
    <a:masterClrMapping/>
  </p:clrMapOvr>
  <p:transition spd="slow">
    <p:cover dir="ld"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7151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21011"/>
            <a:ext cx="4038600" cy="4475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4648200" y="1621011"/>
            <a:ext cx="4038600" cy="4475163"/>
          </a:xfrm>
        </p:spPr>
        <p:txBody>
          <a:bodyPr/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522531914"/>
      </p:ext>
    </p:extLst>
  </p:cSld>
  <p:clrMapOvr>
    <a:masterClrMapping/>
  </p:clrMapOvr>
  <p:transition spd="slow">
    <p:cover dir="l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3" y="273050"/>
            <a:ext cx="3008489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756" y="273144"/>
            <a:ext cx="5111044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3" y="1435192"/>
            <a:ext cx="3008489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V Libri - San Giovanni in Fiore, 11/06/2004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  <a:fld id="{FD08FA97-3006-4729-BB6F-7994916830F2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49372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/>
        </p:nvSpPr>
        <p:spPr bwMode="auto">
          <a:xfrm>
            <a:off x="1828800" y="2543175"/>
            <a:ext cx="91440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677220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341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163217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854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263297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341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341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851232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5016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75016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328903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283507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9252936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91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435241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938771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741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916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740765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341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0438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11" y="4800689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11" y="612864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11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V Libri - San Giovanni in Fiore, 11/06/2004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/>
              <a:t> </a:t>
            </a:r>
            <a:fld id="{461E4B3E-5FA1-4A38-BF66-27CF50FDDDE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466121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422614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341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4648200" y="1600341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14953195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457200" y="1600341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121166713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310539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387815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248896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402840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259895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659490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52169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13" Type="http://schemas.openxmlformats.org/officeDocument/2006/relationships/slideLayout" Target="../slideLayouts/slideLayout130.xml"/><Relationship Id="rId3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24.xml"/><Relationship Id="rId12" Type="http://schemas.openxmlformats.org/officeDocument/2006/relationships/slideLayout" Target="../slideLayouts/slideLayout129.xml"/><Relationship Id="rId2" Type="http://schemas.openxmlformats.org/officeDocument/2006/relationships/slideLayout" Target="../slideLayouts/slideLayout119.xml"/><Relationship Id="rId16" Type="http://schemas.openxmlformats.org/officeDocument/2006/relationships/theme" Target="../theme/theme10.xml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122.xml"/><Relationship Id="rId15" Type="http://schemas.openxmlformats.org/officeDocument/2006/relationships/slideLayout" Target="../slideLayouts/slideLayout132.xml"/><Relationship Id="rId10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Relationship Id="rId14" Type="http://schemas.openxmlformats.org/officeDocument/2006/relationships/slideLayout" Target="../slideLayouts/slideLayout13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slideLayout" Target="../slideLayouts/slideLayout145.xml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3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148.xml"/><Relationship Id="rId7" Type="http://schemas.openxmlformats.org/officeDocument/2006/relationships/slideLayout" Target="../slideLayouts/slideLayout152.xml"/><Relationship Id="rId12" Type="http://schemas.openxmlformats.org/officeDocument/2006/relationships/slideLayout" Target="../slideLayouts/slideLayout157.xml"/><Relationship Id="rId2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1" Type="http://schemas.openxmlformats.org/officeDocument/2006/relationships/slideLayout" Target="../slideLayouts/slideLayout156.xml"/><Relationship Id="rId5" Type="http://schemas.openxmlformats.org/officeDocument/2006/relationships/slideLayout" Target="../slideLayouts/slideLayout150.xml"/><Relationship Id="rId10" Type="http://schemas.openxmlformats.org/officeDocument/2006/relationships/slideLayout" Target="../slideLayouts/slideLayout155.xml"/><Relationship Id="rId4" Type="http://schemas.openxmlformats.org/officeDocument/2006/relationships/slideLayout" Target="../slideLayouts/slideLayout149.xml"/><Relationship Id="rId9" Type="http://schemas.openxmlformats.org/officeDocument/2006/relationships/slideLayout" Target="../slideLayouts/slideLayout15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5.xml"/><Relationship Id="rId3" Type="http://schemas.openxmlformats.org/officeDocument/2006/relationships/slideLayout" Target="../slideLayouts/slideLayout160.xml"/><Relationship Id="rId7" Type="http://schemas.openxmlformats.org/officeDocument/2006/relationships/slideLayout" Target="../slideLayouts/slideLayout164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59.xml"/><Relationship Id="rId1" Type="http://schemas.openxmlformats.org/officeDocument/2006/relationships/slideLayout" Target="../slideLayouts/slideLayout158.xml"/><Relationship Id="rId6" Type="http://schemas.openxmlformats.org/officeDocument/2006/relationships/slideLayout" Target="../slideLayouts/slideLayout163.xml"/><Relationship Id="rId11" Type="http://schemas.openxmlformats.org/officeDocument/2006/relationships/slideLayout" Target="../slideLayouts/slideLayout168.xml"/><Relationship Id="rId5" Type="http://schemas.openxmlformats.org/officeDocument/2006/relationships/slideLayout" Target="../slideLayouts/slideLayout162.xml"/><Relationship Id="rId10" Type="http://schemas.openxmlformats.org/officeDocument/2006/relationships/slideLayout" Target="../slideLayouts/slideLayout167.xml"/><Relationship Id="rId4" Type="http://schemas.openxmlformats.org/officeDocument/2006/relationships/slideLayout" Target="../slideLayouts/slideLayout161.xml"/><Relationship Id="rId9" Type="http://schemas.openxmlformats.org/officeDocument/2006/relationships/slideLayout" Target="../slideLayouts/slideLayout166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13" Type="http://schemas.openxmlformats.org/officeDocument/2006/relationships/slideLayout" Target="../slideLayouts/slideLayout181.xml"/><Relationship Id="rId18" Type="http://schemas.openxmlformats.org/officeDocument/2006/relationships/theme" Target="../theme/theme14.xml"/><Relationship Id="rId3" Type="http://schemas.openxmlformats.org/officeDocument/2006/relationships/slideLayout" Target="../slideLayouts/slideLayout171.xml"/><Relationship Id="rId7" Type="http://schemas.openxmlformats.org/officeDocument/2006/relationships/slideLayout" Target="../slideLayouts/slideLayout175.xml"/><Relationship Id="rId12" Type="http://schemas.openxmlformats.org/officeDocument/2006/relationships/slideLayout" Target="../slideLayouts/slideLayout180.xml"/><Relationship Id="rId17" Type="http://schemas.openxmlformats.org/officeDocument/2006/relationships/slideLayout" Target="../slideLayouts/slideLayout185.xml"/><Relationship Id="rId2" Type="http://schemas.openxmlformats.org/officeDocument/2006/relationships/slideLayout" Target="../slideLayouts/slideLayout170.xml"/><Relationship Id="rId16" Type="http://schemas.openxmlformats.org/officeDocument/2006/relationships/slideLayout" Target="../slideLayouts/slideLayout184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slideLayout" Target="../slideLayouts/slideLayout179.xml"/><Relationship Id="rId5" Type="http://schemas.openxmlformats.org/officeDocument/2006/relationships/slideLayout" Target="../slideLayouts/slideLayout173.xml"/><Relationship Id="rId15" Type="http://schemas.openxmlformats.org/officeDocument/2006/relationships/slideLayout" Target="../slideLayouts/slideLayout183.xml"/><Relationship Id="rId10" Type="http://schemas.openxmlformats.org/officeDocument/2006/relationships/slideLayout" Target="../slideLayouts/slideLayout178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172.xml"/><Relationship Id="rId9" Type="http://schemas.openxmlformats.org/officeDocument/2006/relationships/slideLayout" Target="../slideLayouts/slideLayout177.xml"/><Relationship Id="rId14" Type="http://schemas.openxmlformats.org/officeDocument/2006/relationships/slideLayout" Target="../slideLayouts/slideLayout182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3.xml"/><Relationship Id="rId13" Type="http://schemas.openxmlformats.org/officeDocument/2006/relationships/theme" Target="../theme/theme15.xml"/><Relationship Id="rId3" Type="http://schemas.openxmlformats.org/officeDocument/2006/relationships/slideLayout" Target="../slideLayouts/slideLayout188.xml"/><Relationship Id="rId7" Type="http://schemas.openxmlformats.org/officeDocument/2006/relationships/slideLayout" Target="../slideLayouts/slideLayout192.xml"/><Relationship Id="rId12" Type="http://schemas.openxmlformats.org/officeDocument/2006/relationships/slideLayout" Target="../slideLayouts/slideLayout197.xml"/><Relationship Id="rId2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86.xml"/><Relationship Id="rId6" Type="http://schemas.openxmlformats.org/officeDocument/2006/relationships/slideLayout" Target="../slideLayouts/slideLayout191.xml"/><Relationship Id="rId11" Type="http://schemas.openxmlformats.org/officeDocument/2006/relationships/slideLayout" Target="../slideLayouts/slideLayout196.xml"/><Relationship Id="rId5" Type="http://schemas.openxmlformats.org/officeDocument/2006/relationships/slideLayout" Target="../slideLayouts/slideLayout190.xml"/><Relationship Id="rId10" Type="http://schemas.openxmlformats.org/officeDocument/2006/relationships/slideLayout" Target="../slideLayouts/slideLayout195.xml"/><Relationship Id="rId4" Type="http://schemas.openxmlformats.org/officeDocument/2006/relationships/slideLayout" Target="../slideLayouts/slideLayout189.xml"/><Relationship Id="rId9" Type="http://schemas.openxmlformats.org/officeDocument/2006/relationships/slideLayout" Target="../slideLayouts/slideLayout194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5.xml"/><Relationship Id="rId3" Type="http://schemas.openxmlformats.org/officeDocument/2006/relationships/slideLayout" Target="../slideLayouts/slideLayout200.xml"/><Relationship Id="rId7" Type="http://schemas.openxmlformats.org/officeDocument/2006/relationships/slideLayout" Target="../slideLayouts/slideLayout204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99.xml"/><Relationship Id="rId1" Type="http://schemas.openxmlformats.org/officeDocument/2006/relationships/slideLayout" Target="../slideLayouts/slideLayout198.xml"/><Relationship Id="rId6" Type="http://schemas.openxmlformats.org/officeDocument/2006/relationships/slideLayout" Target="../slideLayouts/slideLayout203.xml"/><Relationship Id="rId11" Type="http://schemas.openxmlformats.org/officeDocument/2006/relationships/slideLayout" Target="../slideLayouts/slideLayout208.xml"/><Relationship Id="rId5" Type="http://schemas.openxmlformats.org/officeDocument/2006/relationships/slideLayout" Target="../slideLayouts/slideLayout202.xml"/><Relationship Id="rId10" Type="http://schemas.openxmlformats.org/officeDocument/2006/relationships/slideLayout" Target="../slideLayouts/slideLayout207.xml"/><Relationship Id="rId4" Type="http://schemas.openxmlformats.org/officeDocument/2006/relationships/slideLayout" Target="../slideLayouts/slideLayout201.xml"/><Relationship Id="rId9" Type="http://schemas.openxmlformats.org/officeDocument/2006/relationships/slideLayout" Target="../slideLayouts/slideLayout20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6.xml"/><Relationship Id="rId3" Type="http://schemas.openxmlformats.org/officeDocument/2006/relationships/slideLayout" Target="../slideLayouts/slideLayout211.xml"/><Relationship Id="rId7" Type="http://schemas.openxmlformats.org/officeDocument/2006/relationships/slideLayout" Target="../slideLayouts/slideLayout215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210.xml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slideLayout" Target="../slideLayouts/slideLayout219.xml"/><Relationship Id="rId5" Type="http://schemas.openxmlformats.org/officeDocument/2006/relationships/slideLayout" Target="../slideLayouts/slideLayout213.xml"/><Relationship Id="rId10" Type="http://schemas.openxmlformats.org/officeDocument/2006/relationships/slideLayout" Target="../slideLayouts/slideLayout218.xml"/><Relationship Id="rId4" Type="http://schemas.openxmlformats.org/officeDocument/2006/relationships/slideLayout" Target="../slideLayouts/slideLayout212.xml"/><Relationship Id="rId9" Type="http://schemas.openxmlformats.org/officeDocument/2006/relationships/slideLayout" Target="../slideLayouts/slideLayout217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7.xml"/><Relationship Id="rId13" Type="http://schemas.openxmlformats.org/officeDocument/2006/relationships/slideLayout" Target="../slideLayouts/slideLayout232.xml"/><Relationship Id="rId3" Type="http://schemas.openxmlformats.org/officeDocument/2006/relationships/slideLayout" Target="../slideLayouts/slideLayout222.xml"/><Relationship Id="rId7" Type="http://schemas.openxmlformats.org/officeDocument/2006/relationships/slideLayout" Target="../slideLayouts/slideLayout226.xml"/><Relationship Id="rId12" Type="http://schemas.openxmlformats.org/officeDocument/2006/relationships/slideLayout" Target="../slideLayouts/slideLayout231.xml"/><Relationship Id="rId2" Type="http://schemas.openxmlformats.org/officeDocument/2006/relationships/slideLayout" Target="../slideLayouts/slideLayout221.xml"/><Relationship Id="rId1" Type="http://schemas.openxmlformats.org/officeDocument/2006/relationships/slideLayout" Target="../slideLayouts/slideLayout220.xml"/><Relationship Id="rId6" Type="http://schemas.openxmlformats.org/officeDocument/2006/relationships/slideLayout" Target="../slideLayouts/slideLayout225.xml"/><Relationship Id="rId11" Type="http://schemas.openxmlformats.org/officeDocument/2006/relationships/slideLayout" Target="../slideLayouts/slideLayout230.xml"/><Relationship Id="rId5" Type="http://schemas.openxmlformats.org/officeDocument/2006/relationships/slideLayout" Target="../slideLayouts/slideLayout224.xml"/><Relationship Id="rId15" Type="http://schemas.openxmlformats.org/officeDocument/2006/relationships/theme" Target="../theme/theme18.xml"/><Relationship Id="rId10" Type="http://schemas.openxmlformats.org/officeDocument/2006/relationships/slideLayout" Target="../slideLayouts/slideLayout229.xml"/><Relationship Id="rId4" Type="http://schemas.openxmlformats.org/officeDocument/2006/relationships/slideLayout" Target="../slideLayouts/slideLayout223.xml"/><Relationship Id="rId9" Type="http://schemas.openxmlformats.org/officeDocument/2006/relationships/slideLayout" Target="../slideLayouts/slideLayout228.xml"/><Relationship Id="rId14" Type="http://schemas.openxmlformats.org/officeDocument/2006/relationships/slideLayout" Target="../slideLayouts/slideLayout233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1.xml"/><Relationship Id="rId13" Type="http://schemas.openxmlformats.org/officeDocument/2006/relationships/slideLayout" Target="../slideLayouts/slideLayout246.xml"/><Relationship Id="rId3" Type="http://schemas.openxmlformats.org/officeDocument/2006/relationships/slideLayout" Target="../slideLayouts/slideLayout236.xml"/><Relationship Id="rId7" Type="http://schemas.openxmlformats.org/officeDocument/2006/relationships/slideLayout" Target="../slideLayouts/slideLayout240.xml"/><Relationship Id="rId12" Type="http://schemas.openxmlformats.org/officeDocument/2006/relationships/slideLayout" Target="../slideLayouts/slideLayout245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35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234.xml"/><Relationship Id="rId6" Type="http://schemas.openxmlformats.org/officeDocument/2006/relationships/slideLayout" Target="../slideLayouts/slideLayout239.xml"/><Relationship Id="rId11" Type="http://schemas.openxmlformats.org/officeDocument/2006/relationships/slideLayout" Target="../slideLayouts/slideLayout244.xml"/><Relationship Id="rId5" Type="http://schemas.openxmlformats.org/officeDocument/2006/relationships/slideLayout" Target="../slideLayouts/slideLayout238.xml"/><Relationship Id="rId15" Type="http://schemas.openxmlformats.org/officeDocument/2006/relationships/theme" Target="../theme/theme19.xml"/><Relationship Id="rId10" Type="http://schemas.openxmlformats.org/officeDocument/2006/relationships/slideLayout" Target="../slideLayouts/slideLayout243.xml"/><Relationship Id="rId4" Type="http://schemas.openxmlformats.org/officeDocument/2006/relationships/slideLayout" Target="../slideLayouts/slideLayout237.xml"/><Relationship Id="rId9" Type="http://schemas.openxmlformats.org/officeDocument/2006/relationships/slideLayout" Target="../slideLayouts/slideLayout242.xml"/><Relationship Id="rId14" Type="http://schemas.openxmlformats.org/officeDocument/2006/relationships/slideLayout" Target="../slideLayouts/slideLayout24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5.xml"/><Relationship Id="rId13" Type="http://schemas.openxmlformats.org/officeDocument/2006/relationships/slideLayout" Target="../slideLayouts/slideLayout260.xml"/><Relationship Id="rId3" Type="http://schemas.openxmlformats.org/officeDocument/2006/relationships/slideLayout" Target="../slideLayouts/slideLayout250.xml"/><Relationship Id="rId7" Type="http://schemas.openxmlformats.org/officeDocument/2006/relationships/slideLayout" Target="../slideLayouts/slideLayout254.xml"/><Relationship Id="rId12" Type="http://schemas.openxmlformats.org/officeDocument/2006/relationships/slideLayout" Target="../slideLayouts/slideLayout259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49.xml"/><Relationship Id="rId16" Type="http://schemas.openxmlformats.org/officeDocument/2006/relationships/theme" Target="../theme/theme20.xml"/><Relationship Id="rId1" Type="http://schemas.openxmlformats.org/officeDocument/2006/relationships/slideLayout" Target="../slideLayouts/slideLayout248.xml"/><Relationship Id="rId6" Type="http://schemas.openxmlformats.org/officeDocument/2006/relationships/slideLayout" Target="../slideLayouts/slideLayout253.xml"/><Relationship Id="rId11" Type="http://schemas.openxmlformats.org/officeDocument/2006/relationships/slideLayout" Target="../slideLayouts/slideLayout258.xml"/><Relationship Id="rId5" Type="http://schemas.openxmlformats.org/officeDocument/2006/relationships/slideLayout" Target="../slideLayouts/slideLayout252.xml"/><Relationship Id="rId15" Type="http://schemas.openxmlformats.org/officeDocument/2006/relationships/slideLayout" Target="../slideLayouts/slideLayout262.xml"/><Relationship Id="rId10" Type="http://schemas.openxmlformats.org/officeDocument/2006/relationships/slideLayout" Target="../slideLayouts/slideLayout257.xml"/><Relationship Id="rId4" Type="http://schemas.openxmlformats.org/officeDocument/2006/relationships/slideLayout" Target="../slideLayouts/slideLayout251.xml"/><Relationship Id="rId9" Type="http://schemas.openxmlformats.org/officeDocument/2006/relationships/slideLayout" Target="../slideLayouts/slideLayout256.xml"/><Relationship Id="rId14" Type="http://schemas.openxmlformats.org/officeDocument/2006/relationships/slideLayout" Target="../slideLayouts/slideLayout261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0.xml"/><Relationship Id="rId13" Type="http://schemas.openxmlformats.org/officeDocument/2006/relationships/slideLayout" Target="../slideLayouts/slideLayout275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265.xml"/><Relationship Id="rId7" Type="http://schemas.openxmlformats.org/officeDocument/2006/relationships/slideLayout" Target="../slideLayouts/slideLayout269.xml"/><Relationship Id="rId12" Type="http://schemas.openxmlformats.org/officeDocument/2006/relationships/slideLayout" Target="../slideLayouts/slideLayout27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64.xml"/><Relationship Id="rId16" Type="http://schemas.openxmlformats.org/officeDocument/2006/relationships/theme" Target="../theme/theme21.xml"/><Relationship Id="rId1" Type="http://schemas.openxmlformats.org/officeDocument/2006/relationships/slideLayout" Target="../slideLayouts/slideLayout263.xml"/><Relationship Id="rId6" Type="http://schemas.openxmlformats.org/officeDocument/2006/relationships/slideLayout" Target="../slideLayouts/slideLayout268.xml"/><Relationship Id="rId11" Type="http://schemas.openxmlformats.org/officeDocument/2006/relationships/slideLayout" Target="../slideLayouts/slideLayout273.xml"/><Relationship Id="rId5" Type="http://schemas.openxmlformats.org/officeDocument/2006/relationships/slideLayout" Target="../slideLayouts/slideLayout267.xml"/><Relationship Id="rId15" Type="http://schemas.openxmlformats.org/officeDocument/2006/relationships/slideLayout" Target="../slideLayouts/slideLayout277.xml"/><Relationship Id="rId10" Type="http://schemas.openxmlformats.org/officeDocument/2006/relationships/slideLayout" Target="../slideLayouts/slideLayout272.xml"/><Relationship Id="rId4" Type="http://schemas.openxmlformats.org/officeDocument/2006/relationships/slideLayout" Target="../slideLayouts/slideLayout266.xml"/><Relationship Id="rId9" Type="http://schemas.openxmlformats.org/officeDocument/2006/relationships/slideLayout" Target="../slideLayouts/slideLayout271.xml"/><Relationship Id="rId14" Type="http://schemas.openxmlformats.org/officeDocument/2006/relationships/slideLayout" Target="../slideLayouts/slideLayout276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5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280.xml"/><Relationship Id="rId7" Type="http://schemas.openxmlformats.org/officeDocument/2006/relationships/slideLayout" Target="../slideLayouts/slideLayout284.xml"/><Relationship Id="rId12" Type="http://schemas.openxmlformats.org/officeDocument/2006/relationships/theme" Target="../theme/theme22.xml"/><Relationship Id="rId2" Type="http://schemas.openxmlformats.org/officeDocument/2006/relationships/slideLayout" Target="../slideLayouts/slideLayout279.xml"/><Relationship Id="rId1" Type="http://schemas.openxmlformats.org/officeDocument/2006/relationships/slideLayout" Target="../slideLayouts/slideLayout278.xml"/><Relationship Id="rId6" Type="http://schemas.openxmlformats.org/officeDocument/2006/relationships/slideLayout" Target="../slideLayouts/slideLayout283.xml"/><Relationship Id="rId11" Type="http://schemas.openxmlformats.org/officeDocument/2006/relationships/slideLayout" Target="../slideLayouts/slideLayout288.xml"/><Relationship Id="rId5" Type="http://schemas.openxmlformats.org/officeDocument/2006/relationships/slideLayout" Target="../slideLayouts/slideLayout282.xml"/><Relationship Id="rId10" Type="http://schemas.openxmlformats.org/officeDocument/2006/relationships/slideLayout" Target="../slideLayouts/slideLayout287.xml"/><Relationship Id="rId4" Type="http://schemas.openxmlformats.org/officeDocument/2006/relationships/slideLayout" Target="../slideLayouts/slideLayout281.xml"/><Relationship Id="rId9" Type="http://schemas.openxmlformats.org/officeDocument/2006/relationships/slideLayout" Target="../slideLayouts/slideLayout286.xml"/><Relationship Id="rId14" Type="http://schemas.openxmlformats.org/officeDocument/2006/relationships/image" Target="../media/image4.png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6.xml"/><Relationship Id="rId13" Type="http://schemas.openxmlformats.org/officeDocument/2006/relationships/slideLayout" Target="../slideLayouts/slideLayout301.xml"/><Relationship Id="rId18" Type="http://schemas.openxmlformats.org/officeDocument/2006/relationships/theme" Target="../theme/theme23.xml"/><Relationship Id="rId3" Type="http://schemas.openxmlformats.org/officeDocument/2006/relationships/slideLayout" Target="../slideLayouts/slideLayout291.xml"/><Relationship Id="rId7" Type="http://schemas.openxmlformats.org/officeDocument/2006/relationships/slideLayout" Target="../slideLayouts/slideLayout295.xml"/><Relationship Id="rId12" Type="http://schemas.openxmlformats.org/officeDocument/2006/relationships/slideLayout" Target="../slideLayouts/slideLayout300.xml"/><Relationship Id="rId17" Type="http://schemas.openxmlformats.org/officeDocument/2006/relationships/slideLayout" Target="../slideLayouts/slideLayout305.xml"/><Relationship Id="rId2" Type="http://schemas.openxmlformats.org/officeDocument/2006/relationships/slideLayout" Target="../slideLayouts/slideLayout290.xml"/><Relationship Id="rId16" Type="http://schemas.openxmlformats.org/officeDocument/2006/relationships/slideLayout" Target="../slideLayouts/slideLayout304.xml"/><Relationship Id="rId1" Type="http://schemas.openxmlformats.org/officeDocument/2006/relationships/slideLayout" Target="../slideLayouts/slideLayout289.xml"/><Relationship Id="rId6" Type="http://schemas.openxmlformats.org/officeDocument/2006/relationships/slideLayout" Target="../slideLayouts/slideLayout294.xml"/><Relationship Id="rId11" Type="http://schemas.openxmlformats.org/officeDocument/2006/relationships/slideLayout" Target="../slideLayouts/slideLayout299.xml"/><Relationship Id="rId5" Type="http://schemas.openxmlformats.org/officeDocument/2006/relationships/slideLayout" Target="../slideLayouts/slideLayout293.xml"/><Relationship Id="rId15" Type="http://schemas.openxmlformats.org/officeDocument/2006/relationships/slideLayout" Target="../slideLayouts/slideLayout303.xml"/><Relationship Id="rId10" Type="http://schemas.openxmlformats.org/officeDocument/2006/relationships/slideLayout" Target="../slideLayouts/slideLayout298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292.xml"/><Relationship Id="rId9" Type="http://schemas.openxmlformats.org/officeDocument/2006/relationships/slideLayout" Target="../slideLayouts/slideLayout297.xml"/><Relationship Id="rId14" Type="http://schemas.openxmlformats.org/officeDocument/2006/relationships/slideLayout" Target="../slideLayouts/slideLayout302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3.xml"/><Relationship Id="rId13" Type="http://schemas.openxmlformats.org/officeDocument/2006/relationships/slideLayout" Target="../slideLayouts/slideLayout318.xml"/><Relationship Id="rId18" Type="http://schemas.openxmlformats.org/officeDocument/2006/relationships/theme" Target="../theme/theme24.xml"/><Relationship Id="rId3" Type="http://schemas.openxmlformats.org/officeDocument/2006/relationships/slideLayout" Target="../slideLayouts/slideLayout308.xml"/><Relationship Id="rId7" Type="http://schemas.openxmlformats.org/officeDocument/2006/relationships/slideLayout" Target="../slideLayouts/slideLayout312.xml"/><Relationship Id="rId12" Type="http://schemas.openxmlformats.org/officeDocument/2006/relationships/slideLayout" Target="../slideLayouts/slideLayout317.xml"/><Relationship Id="rId17" Type="http://schemas.openxmlformats.org/officeDocument/2006/relationships/slideLayout" Target="../slideLayouts/slideLayout322.xml"/><Relationship Id="rId2" Type="http://schemas.openxmlformats.org/officeDocument/2006/relationships/slideLayout" Target="../slideLayouts/slideLayout307.xml"/><Relationship Id="rId16" Type="http://schemas.openxmlformats.org/officeDocument/2006/relationships/slideLayout" Target="../slideLayouts/slideLayout321.xml"/><Relationship Id="rId1" Type="http://schemas.openxmlformats.org/officeDocument/2006/relationships/slideLayout" Target="../slideLayouts/slideLayout306.xml"/><Relationship Id="rId6" Type="http://schemas.openxmlformats.org/officeDocument/2006/relationships/slideLayout" Target="../slideLayouts/slideLayout311.xml"/><Relationship Id="rId11" Type="http://schemas.openxmlformats.org/officeDocument/2006/relationships/slideLayout" Target="../slideLayouts/slideLayout316.xml"/><Relationship Id="rId5" Type="http://schemas.openxmlformats.org/officeDocument/2006/relationships/slideLayout" Target="../slideLayouts/slideLayout310.xml"/><Relationship Id="rId15" Type="http://schemas.openxmlformats.org/officeDocument/2006/relationships/slideLayout" Target="../slideLayouts/slideLayout320.xml"/><Relationship Id="rId10" Type="http://schemas.openxmlformats.org/officeDocument/2006/relationships/slideLayout" Target="../slideLayouts/slideLayout315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309.xml"/><Relationship Id="rId9" Type="http://schemas.openxmlformats.org/officeDocument/2006/relationships/slideLayout" Target="../slideLayouts/slideLayout314.xml"/><Relationship Id="rId14" Type="http://schemas.openxmlformats.org/officeDocument/2006/relationships/slideLayout" Target="../slideLayouts/slideLayout319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0.xml"/><Relationship Id="rId13" Type="http://schemas.openxmlformats.org/officeDocument/2006/relationships/slideLayout" Target="../slideLayouts/slideLayout335.xml"/><Relationship Id="rId3" Type="http://schemas.openxmlformats.org/officeDocument/2006/relationships/slideLayout" Target="../slideLayouts/slideLayout325.xml"/><Relationship Id="rId7" Type="http://schemas.openxmlformats.org/officeDocument/2006/relationships/slideLayout" Target="../slideLayouts/slideLayout329.xml"/><Relationship Id="rId12" Type="http://schemas.openxmlformats.org/officeDocument/2006/relationships/slideLayout" Target="../slideLayouts/slideLayout334.xml"/><Relationship Id="rId2" Type="http://schemas.openxmlformats.org/officeDocument/2006/relationships/slideLayout" Target="../slideLayouts/slideLayout324.xml"/><Relationship Id="rId1" Type="http://schemas.openxmlformats.org/officeDocument/2006/relationships/slideLayout" Target="../slideLayouts/slideLayout323.xml"/><Relationship Id="rId6" Type="http://schemas.openxmlformats.org/officeDocument/2006/relationships/slideLayout" Target="../slideLayouts/slideLayout328.xml"/><Relationship Id="rId11" Type="http://schemas.openxmlformats.org/officeDocument/2006/relationships/slideLayout" Target="../slideLayouts/slideLayout333.xml"/><Relationship Id="rId5" Type="http://schemas.openxmlformats.org/officeDocument/2006/relationships/slideLayout" Target="../slideLayouts/slideLayout327.xml"/><Relationship Id="rId10" Type="http://schemas.openxmlformats.org/officeDocument/2006/relationships/slideLayout" Target="../slideLayouts/slideLayout332.xml"/><Relationship Id="rId4" Type="http://schemas.openxmlformats.org/officeDocument/2006/relationships/slideLayout" Target="../slideLayouts/slideLayout326.xml"/><Relationship Id="rId9" Type="http://schemas.openxmlformats.org/officeDocument/2006/relationships/slideLayout" Target="../slideLayouts/slideLayout331.xml"/><Relationship Id="rId14" Type="http://schemas.openxmlformats.org/officeDocument/2006/relationships/theme" Target="../theme/theme25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3.xml"/><Relationship Id="rId13" Type="http://schemas.openxmlformats.org/officeDocument/2006/relationships/theme" Target="../theme/theme26.xml"/><Relationship Id="rId3" Type="http://schemas.openxmlformats.org/officeDocument/2006/relationships/slideLayout" Target="../slideLayouts/slideLayout338.xml"/><Relationship Id="rId7" Type="http://schemas.openxmlformats.org/officeDocument/2006/relationships/slideLayout" Target="../slideLayouts/slideLayout342.xml"/><Relationship Id="rId12" Type="http://schemas.openxmlformats.org/officeDocument/2006/relationships/slideLayout" Target="../slideLayouts/slideLayout347.xml"/><Relationship Id="rId2" Type="http://schemas.openxmlformats.org/officeDocument/2006/relationships/slideLayout" Target="../slideLayouts/slideLayout337.xml"/><Relationship Id="rId1" Type="http://schemas.openxmlformats.org/officeDocument/2006/relationships/slideLayout" Target="../slideLayouts/slideLayout336.xml"/><Relationship Id="rId6" Type="http://schemas.openxmlformats.org/officeDocument/2006/relationships/slideLayout" Target="../slideLayouts/slideLayout341.xml"/><Relationship Id="rId11" Type="http://schemas.openxmlformats.org/officeDocument/2006/relationships/slideLayout" Target="../slideLayouts/slideLayout346.xml"/><Relationship Id="rId5" Type="http://schemas.openxmlformats.org/officeDocument/2006/relationships/slideLayout" Target="../slideLayouts/slideLayout340.xml"/><Relationship Id="rId10" Type="http://schemas.openxmlformats.org/officeDocument/2006/relationships/slideLayout" Target="../slideLayouts/slideLayout345.xml"/><Relationship Id="rId4" Type="http://schemas.openxmlformats.org/officeDocument/2006/relationships/slideLayout" Target="../slideLayouts/slideLayout339.xml"/><Relationship Id="rId9" Type="http://schemas.openxmlformats.org/officeDocument/2006/relationships/slideLayout" Target="../slideLayouts/slideLayout344.xml"/><Relationship Id="rId14" Type="http://schemas.openxmlformats.org/officeDocument/2006/relationships/image" Target="../media/image1.png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5.xml"/><Relationship Id="rId13" Type="http://schemas.openxmlformats.org/officeDocument/2006/relationships/slideLayout" Target="../slideLayouts/slideLayout360.xml"/><Relationship Id="rId3" Type="http://schemas.openxmlformats.org/officeDocument/2006/relationships/slideLayout" Target="../slideLayouts/slideLayout350.xml"/><Relationship Id="rId7" Type="http://schemas.openxmlformats.org/officeDocument/2006/relationships/slideLayout" Target="../slideLayouts/slideLayout354.xml"/><Relationship Id="rId12" Type="http://schemas.openxmlformats.org/officeDocument/2006/relationships/slideLayout" Target="../slideLayouts/slideLayout359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349.xml"/><Relationship Id="rId16" Type="http://schemas.openxmlformats.org/officeDocument/2006/relationships/theme" Target="../theme/theme27.xml"/><Relationship Id="rId1" Type="http://schemas.openxmlformats.org/officeDocument/2006/relationships/slideLayout" Target="../slideLayouts/slideLayout348.xml"/><Relationship Id="rId6" Type="http://schemas.openxmlformats.org/officeDocument/2006/relationships/slideLayout" Target="../slideLayouts/slideLayout353.xml"/><Relationship Id="rId11" Type="http://schemas.openxmlformats.org/officeDocument/2006/relationships/slideLayout" Target="../slideLayouts/slideLayout358.xml"/><Relationship Id="rId5" Type="http://schemas.openxmlformats.org/officeDocument/2006/relationships/slideLayout" Target="../slideLayouts/slideLayout352.xml"/><Relationship Id="rId15" Type="http://schemas.openxmlformats.org/officeDocument/2006/relationships/slideLayout" Target="../slideLayouts/slideLayout362.xml"/><Relationship Id="rId10" Type="http://schemas.openxmlformats.org/officeDocument/2006/relationships/slideLayout" Target="../slideLayouts/slideLayout357.xml"/><Relationship Id="rId4" Type="http://schemas.openxmlformats.org/officeDocument/2006/relationships/slideLayout" Target="../slideLayouts/slideLayout351.xml"/><Relationship Id="rId9" Type="http://schemas.openxmlformats.org/officeDocument/2006/relationships/slideLayout" Target="../slideLayouts/slideLayout356.xml"/><Relationship Id="rId14" Type="http://schemas.openxmlformats.org/officeDocument/2006/relationships/slideLayout" Target="../slideLayouts/slideLayout361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0.xml"/><Relationship Id="rId3" Type="http://schemas.openxmlformats.org/officeDocument/2006/relationships/slideLayout" Target="../slideLayouts/slideLayout365.xml"/><Relationship Id="rId7" Type="http://schemas.openxmlformats.org/officeDocument/2006/relationships/slideLayout" Target="../slideLayouts/slideLayout369.xml"/><Relationship Id="rId12" Type="http://schemas.openxmlformats.org/officeDocument/2006/relationships/theme" Target="../theme/theme28.xml"/><Relationship Id="rId2" Type="http://schemas.openxmlformats.org/officeDocument/2006/relationships/slideLayout" Target="../slideLayouts/slideLayout364.xml"/><Relationship Id="rId1" Type="http://schemas.openxmlformats.org/officeDocument/2006/relationships/slideLayout" Target="../slideLayouts/slideLayout363.xml"/><Relationship Id="rId6" Type="http://schemas.openxmlformats.org/officeDocument/2006/relationships/slideLayout" Target="../slideLayouts/slideLayout368.xml"/><Relationship Id="rId11" Type="http://schemas.openxmlformats.org/officeDocument/2006/relationships/slideLayout" Target="../slideLayouts/slideLayout373.xml"/><Relationship Id="rId5" Type="http://schemas.openxmlformats.org/officeDocument/2006/relationships/slideLayout" Target="../slideLayouts/slideLayout367.xml"/><Relationship Id="rId10" Type="http://schemas.openxmlformats.org/officeDocument/2006/relationships/slideLayout" Target="../slideLayouts/slideLayout372.xml"/><Relationship Id="rId4" Type="http://schemas.openxmlformats.org/officeDocument/2006/relationships/slideLayout" Target="../slideLayouts/slideLayout366.xml"/><Relationship Id="rId9" Type="http://schemas.openxmlformats.org/officeDocument/2006/relationships/slideLayout" Target="../slideLayouts/slideLayout37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43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81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ine 2"/>
          <p:cNvSpPr>
            <a:spLocks noChangeShapeType="1"/>
          </p:cNvSpPr>
          <p:nvPr/>
        </p:nvSpPr>
        <p:spPr bwMode="auto">
          <a:xfrm>
            <a:off x="0" y="1235075"/>
            <a:ext cx="914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57150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5486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20838"/>
            <a:ext cx="8229600" cy="447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109728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9941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580188"/>
            <a:ext cx="1409700" cy="22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95000"/>
              </a:lnSpc>
              <a:spcBef>
                <a:spcPct val="0"/>
              </a:spcBef>
              <a:defRPr sz="800" b="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V Libri - San Giovanni in Fiore, 11/06/2004</a:t>
            </a:r>
          </a:p>
        </p:txBody>
      </p:sp>
      <p:sp>
        <p:nvSpPr>
          <p:cNvPr id="39943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32750" y="6580188"/>
            <a:ext cx="65405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95000"/>
              </a:lnSpc>
              <a:spcBef>
                <a:spcPct val="0"/>
              </a:spcBef>
              <a:defRPr sz="800">
                <a:solidFill>
                  <a:srgbClr val="000000"/>
                </a:solidFill>
              </a:defRPr>
            </a:lvl1pPr>
          </a:lstStyle>
          <a:p>
            <a:r>
              <a:rPr lang="en-US"/>
              <a:t> </a:t>
            </a:r>
            <a:fld id="{E0B8DF3F-72BC-48AA-BE75-429B723646A4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031" name="Line 8"/>
          <p:cNvSpPr>
            <a:spLocks noChangeShapeType="1"/>
          </p:cNvSpPr>
          <p:nvPr/>
        </p:nvSpPr>
        <p:spPr bwMode="auto">
          <a:xfrm>
            <a:off x="0" y="6527800"/>
            <a:ext cx="914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3013" r:id="rId1"/>
    <p:sldLayoutId id="2147492778" r:id="rId2"/>
    <p:sldLayoutId id="2147492779" r:id="rId3"/>
    <p:sldLayoutId id="2147492780" r:id="rId4"/>
    <p:sldLayoutId id="2147492781" r:id="rId5"/>
    <p:sldLayoutId id="2147492782" r:id="rId6"/>
    <p:sldLayoutId id="2147492783" r:id="rId7"/>
    <p:sldLayoutId id="2147492784" r:id="rId8"/>
    <p:sldLayoutId id="2147492785" r:id="rId9"/>
    <p:sldLayoutId id="2147492786" r:id="rId10"/>
    <p:sldLayoutId id="2147492787" r:id="rId11"/>
    <p:sldLayoutId id="2147492788" r:id="rId12"/>
    <p:sldLayoutId id="2147492789" r:id="rId13"/>
    <p:sldLayoutId id="2147492790" r:id="rId14"/>
    <p:sldLayoutId id="2147492791" r:id="rId15"/>
  </p:sldLayoutIdLst>
  <p:hf hdr="0" ftr="0"/>
  <p:txStyles>
    <p:titleStyle>
      <a:lvl1pPr algn="l" rtl="0" eaLnBrk="0" fontAlgn="base" hangingPunct="0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itchFamily="34" charset="0"/>
          <a:ea typeface="ＭＳ Ｐゴシック" charset="0"/>
          <a:cs typeface="ＭＳ Ｐゴシック" charset="0"/>
        </a:defRPr>
      </a:lvl2pPr>
      <a:lvl3pPr algn="l" rtl="0" eaLnBrk="0" fontAlgn="base" hangingPunct="0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itchFamily="34" charset="0"/>
          <a:ea typeface="ＭＳ Ｐゴシック" charset="0"/>
          <a:cs typeface="ＭＳ Ｐゴシック" charset="0"/>
        </a:defRPr>
      </a:lvl3pPr>
      <a:lvl4pPr algn="l" rtl="0" eaLnBrk="0" fontAlgn="base" hangingPunct="0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itchFamily="34" charset="0"/>
          <a:ea typeface="ＭＳ Ｐゴシック" charset="0"/>
          <a:cs typeface="ＭＳ Ｐゴシック" charset="0"/>
        </a:defRPr>
      </a:lvl4pPr>
      <a:lvl5pPr algn="l" rtl="0" eaLnBrk="0" fontAlgn="base" hangingPunct="0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itchFamily="34" charset="0"/>
          <a:ea typeface="ＭＳ Ｐゴシック" charset="0"/>
          <a:cs typeface="ＭＳ Ｐゴシック" charset="0"/>
        </a:defRPr>
      </a:lvl5pPr>
      <a:lvl6pPr marL="457200" algn="l" rtl="0" eaLnBrk="0" fontAlgn="base" hangingPunct="0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itchFamily="34" charset="0"/>
        </a:defRPr>
      </a:lvl6pPr>
      <a:lvl7pPr marL="914400" algn="l" rtl="0" eaLnBrk="0" fontAlgn="base" hangingPunct="0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itchFamily="34" charset="0"/>
        </a:defRPr>
      </a:lvl7pPr>
      <a:lvl8pPr marL="1371600" algn="l" rtl="0" eaLnBrk="0" fontAlgn="base" hangingPunct="0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itchFamily="34" charset="0"/>
        </a:defRPr>
      </a:lvl8pPr>
      <a:lvl9pPr marL="1828800" algn="l" rtl="0" eaLnBrk="0" fontAlgn="base" hangingPunct="0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lnSpc>
          <a:spcPct val="95000"/>
        </a:lnSpc>
        <a:spcBef>
          <a:spcPct val="75000"/>
        </a:spcBef>
        <a:spcAft>
          <a:spcPct val="0"/>
        </a:spcAft>
        <a:defRPr sz="26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339725" indent="-225425" algn="l" rtl="0" eaLnBrk="0" fontAlgn="base" hangingPunct="0">
        <a:lnSpc>
          <a:spcPct val="95000"/>
        </a:lnSpc>
        <a:spcBef>
          <a:spcPct val="25000"/>
        </a:spcBef>
        <a:spcAft>
          <a:spcPct val="0"/>
        </a:spcAft>
        <a:buSzPct val="80000"/>
        <a:buChar char="•"/>
        <a:defRPr sz="2000">
          <a:solidFill>
            <a:schemeClr val="tx1"/>
          </a:solidFill>
          <a:latin typeface="+mn-lt"/>
          <a:ea typeface="ＭＳ Ｐゴシック" charset="0"/>
        </a:defRPr>
      </a:lvl2pPr>
      <a:lvl3pPr marL="795338" indent="-220663" algn="l" rtl="0" eaLnBrk="0" fontAlgn="base" hangingPunct="0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ＭＳ Ｐゴシック" charset="0"/>
        </a:defRPr>
      </a:lvl3pPr>
      <a:lvl4pPr marL="1252538" indent="-222250" algn="l" rtl="0" eaLnBrk="0" fontAlgn="base" hangingPunct="0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ＭＳ Ｐゴシック" charset="0"/>
        </a:defRPr>
      </a:lvl4pPr>
      <a:lvl5pPr marL="1709738" indent="-222250" algn="l" rtl="0" eaLnBrk="0" fontAlgn="base" hangingPunct="0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ＭＳ Ｐゴシック" charset="0"/>
        </a:defRPr>
      </a:lvl5pPr>
      <a:lvl6pPr marL="2166938" indent="-222250" algn="l" rtl="0" eaLnBrk="0" fontAlgn="base" hangingPunct="0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6pPr>
      <a:lvl7pPr marL="2624138" indent="-222250" algn="l" rtl="0" eaLnBrk="0" fontAlgn="base" hangingPunct="0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7pPr>
      <a:lvl8pPr marL="3081338" indent="-222250" algn="l" rtl="0" eaLnBrk="0" fontAlgn="base" hangingPunct="0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8pPr>
      <a:lvl9pPr marL="3538538" indent="-222250" algn="l" rtl="0" eaLnBrk="0" fontAlgn="base" hangingPunct="0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  <a:endParaRPr lang="en-US" smtClean="0"/>
          </a:p>
        </p:txBody>
      </p:sp>
      <p:sp>
        <p:nvSpPr>
          <p:cNvPr id="532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rgbClr val="898989"/>
                </a:solidFill>
              </a:defRPr>
            </a:lvl1pPr>
          </a:lstStyle>
          <a:p>
            <a:fld id="{49A9511B-C25D-47DE-8165-E11431D0DA4C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914400" eaLnBrk="0" hangingPunct="0">
              <a:spcBef>
                <a:spcPct val="20000"/>
              </a:spcBef>
              <a:buFontTx/>
              <a:buChar char="•"/>
              <a:defRPr sz="1200">
                <a:solidFill>
                  <a:prstClr val="black">
                    <a:tint val="75000"/>
                  </a:prstClr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11A89B9A-9531-400D-BA9D-6B8D59533A66}" type="slidenum">
              <a:rPr lang="en-US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3044" r:id="rId1"/>
    <p:sldLayoutId id="2147493045" r:id="rId2"/>
    <p:sldLayoutId id="2147493046" r:id="rId3"/>
    <p:sldLayoutId id="2147493047" r:id="rId4"/>
    <p:sldLayoutId id="2147493048" r:id="rId5"/>
    <p:sldLayoutId id="2147493049" r:id="rId6"/>
    <p:sldLayoutId id="2147493050" r:id="rId7"/>
    <p:sldLayoutId id="2147493051" r:id="rId8"/>
    <p:sldLayoutId id="2147493052" r:id="rId9"/>
    <p:sldLayoutId id="2147493053" r:id="rId10"/>
    <p:sldLayoutId id="2147493054" r:id="rId11"/>
    <p:sldLayoutId id="2147493055" r:id="rId12"/>
    <p:sldLayoutId id="2147493056" r:id="rId13"/>
    <p:sldLayoutId id="2147493057" r:id="rId14"/>
    <p:sldLayoutId id="2147493058" r:id="rId15"/>
  </p:sldLayoutIdLst>
  <p:transition spd="slow">
    <p:pull dir="ld"/>
  </p:transition>
  <p:timing>
    <p:tnLst>
      <p:par>
        <p:cTn id="1" dur="indefinite" restart="never" nodeType="tmRoot"/>
      </p:par>
    </p:tnLst>
  </p:timing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ext Box 2"/>
          <p:cNvSpPr txBox="1">
            <a:spLocks noChangeArrowheads="1"/>
          </p:cNvSpPr>
          <p:nvPr userDrawn="1"/>
        </p:nvSpPr>
        <p:spPr bwMode="auto">
          <a:xfrm>
            <a:off x="447675" y="6183313"/>
            <a:ext cx="2921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charset="0"/>
                <a:ea typeface="ＭＳ Ｐゴシック" charset="0"/>
              </a:defRPr>
            </a:lvl9pPr>
          </a:lstStyle>
          <a:p>
            <a:pPr algn="l">
              <a:spcBef>
                <a:spcPct val="0"/>
              </a:spcBef>
              <a:defRPr/>
            </a:pPr>
            <a:endParaRPr lang="en-US" sz="240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5539" name="Rectangle 3"/>
          <p:cNvSpPr>
            <a:spLocks noChangeArrowheads="1"/>
          </p:cNvSpPr>
          <p:nvPr userDrawn="1"/>
        </p:nvSpPr>
        <p:spPr bwMode="auto">
          <a:xfrm>
            <a:off x="0" y="1795463"/>
            <a:ext cx="31115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l">
              <a:spcBef>
                <a:spcPct val="0"/>
              </a:spcBef>
            </a:pPr>
            <a:endParaRPr lang="en-GB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2864" r:id="rId1"/>
    <p:sldLayoutId id="2147492865" r:id="rId2"/>
    <p:sldLayoutId id="2147492866" r:id="rId3"/>
    <p:sldLayoutId id="2147492867" r:id="rId4"/>
    <p:sldLayoutId id="2147492868" r:id="rId5"/>
    <p:sldLayoutId id="2147492869" r:id="rId6"/>
    <p:sldLayoutId id="2147492870" r:id="rId7"/>
    <p:sldLayoutId id="2147492871" r:id="rId8"/>
    <p:sldLayoutId id="2147492872" r:id="rId9"/>
    <p:sldLayoutId id="2147492873" r:id="rId10"/>
    <p:sldLayoutId id="2147492874" r:id="rId11"/>
    <p:sldLayoutId id="2147493059" r:id="rId12"/>
    <p:sldLayoutId id="2147493060" r:id="rId13"/>
  </p:sldLayoutIdLst>
  <p:transition spd="slow">
    <p:cover dir="ld"/>
  </p:transition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charset="0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ea typeface="ＭＳ Ｐゴシック" charset="0"/>
          <a:cs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ea typeface="ＭＳ Ｐゴシック" charset="0"/>
          <a:cs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ea typeface="ＭＳ Ｐゴシック" charset="0"/>
          <a:cs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ea typeface="ＭＳ Ｐゴシック" charset="0"/>
          <a:cs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Arial" charset="0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Arial" charset="0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  <a:endParaRPr lang="en-US" smtClean="0"/>
          </a:p>
        </p:txBody>
      </p:sp>
      <p:sp>
        <p:nvSpPr>
          <p:cNvPr id="6758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eaLnBrk="1" hangingPunct="1">
              <a:spcBef>
                <a:spcPct val="0"/>
              </a:spcBef>
              <a:buFontTx/>
              <a:buNone/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fld id="{58A3E115-E332-4FFD-AC85-017913597BB6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45720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457200" eaLnBrk="1" hangingPunct="1">
              <a:spcBef>
                <a:spcPct val="0"/>
              </a:spcBef>
              <a:buFontTx/>
              <a:buNone/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fld id="{6B37A63F-C1A5-4A46-B441-CC5ACD0CFB9A}" type="slidenum">
              <a:rPr lang="en-US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3061" r:id="rId1"/>
    <p:sldLayoutId id="2147493062" r:id="rId2"/>
    <p:sldLayoutId id="2147493063" r:id="rId3"/>
    <p:sldLayoutId id="2147493064" r:id="rId4"/>
    <p:sldLayoutId id="2147493065" r:id="rId5"/>
    <p:sldLayoutId id="2147493066" r:id="rId6"/>
    <p:sldLayoutId id="2147493067" r:id="rId7"/>
    <p:sldLayoutId id="2147493068" r:id="rId8"/>
    <p:sldLayoutId id="2147493069" r:id="rId9"/>
    <p:sldLayoutId id="2147493070" r:id="rId10"/>
    <p:sldLayoutId id="2147493071" r:id="rId11"/>
    <p:sldLayoutId id="2147493072" r:id="rId12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  <a:endParaRPr lang="en-US" smtClean="0"/>
          </a:p>
        </p:txBody>
      </p:sp>
      <p:sp>
        <p:nvSpPr>
          <p:cNvPr id="798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eaLnBrk="1" hangingPunct="1">
              <a:spcBef>
                <a:spcPct val="0"/>
              </a:spcBef>
              <a:buFontTx/>
              <a:buNone/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fld id="{D0915480-F3EA-4C1C-8843-78BEED434D66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457200" eaLnBrk="1" hangingPunct="1">
              <a:spcBef>
                <a:spcPct val="0"/>
              </a:spcBef>
              <a:buFontTx/>
              <a:buNone/>
              <a:defRPr sz="1200">
                <a:solidFill>
                  <a:prstClr val="black">
                    <a:tint val="75000"/>
                  </a:prstClr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457200" eaLnBrk="1" hangingPunct="1">
              <a:spcBef>
                <a:spcPct val="0"/>
              </a:spcBef>
              <a:buFontTx/>
              <a:buNone/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fld id="{1D2B3935-2C1D-4B8B-9050-C6821E6E514D}" type="slidenum">
              <a:rPr lang="en-US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3073" r:id="rId1"/>
    <p:sldLayoutId id="2147493074" r:id="rId2"/>
    <p:sldLayoutId id="2147493075" r:id="rId3"/>
    <p:sldLayoutId id="2147493076" r:id="rId4"/>
    <p:sldLayoutId id="2147493077" r:id="rId5"/>
    <p:sldLayoutId id="2147493078" r:id="rId6"/>
    <p:sldLayoutId id="2147493079" r:id="rId7"/>
    <p:sldLayoutId id="2147493080" r:id="rId8"/>
    <p:sldLayoutId id="2147493081" r:id="rId9"/>
    <p:sldLayoutId id="2147493082" r:id="rId10"/>
    <p:sldLayoutId id="2147493083" r:id="rId1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Line 5"/>
          <p:cNvSpPr>
            <a:spLocks noChangeShapeType="1"/>
          </p:cNvSpPr>
          <p:nvPr/>
        </p:nvSpPr>
        <p:spPr bwMode="auto">
          <a:xfrm>
            <a:off x="0" y="981075"/>
            <a:ext cx="9144000" cy="0"/>
          </a:xfrm>
          <a:prstGeom prst="line">
            <a:avLst/>
          </a:prstGeom>
          <a:noFill/>
          <a:ln w="25400">
            <a:solidFill>
              <a:srgbClr val="FFFF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3084" r:id="rId1"/>
    <p:sldLayoutId id="2147492875" r:id="rId2"/>
    <p:sldLayoutId id="2147492876" r:id="rId3"/>
    <p:sldLayoutId id="2147492877" r:id="rId4"/>
    <p:sldLayoutId id="2147492878" r:id="rId5"/>
    <p:sldLayoutId id="2147492879" r:id="rId6"/>
    <p:sldLayoutId id="2147492880" r:id="rId7"/>
    <p:sldLayoutId id="2147492881" r:id="rId8"/>
    <p:sldLayoutId id="2147492882" r:id="rId9"/>
    <p:sldLayoutId id="2147492883" r:id="rId10"/>
    <p:sldLayoutId id="2147492884" r:id="rId11"/>
    <p:sldLayoutId id="2147492885" r:id="rId12"/>
    <p:sldLayoutId id="2147492886" r:id="rId13"/>
    <p:sldLayoutId id="2147492887" r:id="rId14"/>
    <p:sldLayoutId id="2147492888" r:id="rId15"/>
    <p:sldLayoutId id="2147492889" r:id="rId16"/>
    <p:sldLayoutId id="2147492890" r:id="rId1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40000"/>
        </a:spcBef>
        <a:spcAft>
          <a:spcPct val="20000"/>
        </a:spcAft>
        <a:buClr>
          <a:schemeClr val="accent2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647700" indent="-190500" algn="l" rtl="0" eaLnBrk="0" fontAlgn="base" hangingPunct="0">
        <a:spcBef>
          <a:spcPct val="20000"/>
        </a:spcBef>
        <a:spcAft>
          <a:spcPct val="0"/>
        </a:spcAft>
        <a:buClr>
          <a:srgbClr val="003366"/>
        </a:buClr>
        <a:buChar char="–"/>
        <a:defRPr sz="1400">
          <a:solidFill>
            <a:srgbClr val="003366"/>
          </a:solidFill>
          <a:latin typeface="+mn-lt"/>
          <a:ea typeface="ＭＳ Ｐゴシック" charset="0"/>
          <a:cs typeface="Arial" charset="0"/>
        </a:defRPr>
      </a:lvl2pPr>
      <a:lvl3pPr marL="11430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600">
          <a:solidFill>
            <a:srgbClr val="003366"/>
          </a:solidFill>
          <a:latin typeface="+mn-lt"/>
          <a:ea typeface="Arial" charset="0"/>
          <a:cs typeface="Arial" charset="0"/>
        </a:defRPr>
      </a:lvl3pPr>
      <a:lvl4pPr marL="16002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–"/>
        <a:defRPr sz="1400">
          <a:solidFill>
            <a:srgbClr val="003366"/>
          </a:solidFill>
          <a:latin typeface="+mn-lt"/>
          <a:ea typeface="Arial" charset="0"/>
          <a:cs typeface="Arial" charset="0"/>
        </a:defRPr>
      </a:lvl4pPr>
      <a:lvl5pPr marL="20574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ea typeface="Arial" charset="0"/>
          <a:cs typeface="Arial" charset="0"/>
        </a:defRPr>
      </a:lvl5pPr>
      <a:lvl6pPr marL="25146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6pPr>
      <a:lvl7pPr marL="29718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7pPr>
      <a:lvl8pPr marL="34290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8pPr>
      <a:lvl9pPr marL="38862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 Box 2"/>
          <p:cNvSpPr txBox="1">
            <a:spLocks noChangeArrowheads="1"/>
          </p:cNvSpPr>
          <p:nvPr userDrawn="1"/>
        </p:nvSpPr>
        <p:spPr bwMode="auto">
          <a:xfrm>
            <a:off x="447675" y="6183313"/>
            <a:ext cx="1841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charset="0"/>
                <a:ea typeface="ＭＳ Ｐゴシック" charset="0"/>
              </a:defRPr>
            </a:lvl9pPr>
          </a:lstStyle>
          <a:p>
            <a:pPr algn="l">
              <a:spcBef>
                <a:spcPct val="0"/>
              </a:spcBef>
              <a:defRPr/>
            </a:pPr>
            <a:endParaRPr lang="en-US" sz="240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94211" name="Rectangle 3"/>
          <p:cNvSpPr>
            <a:spLocks noChangeArrowheads="1"/>
          </p:cNvSpPr>
          <p:nvPr userDrawn="1"/>
        </p:nvSpPr>
        <p:spPr bwMode="auto">
          <a:xfrm>
            <a:off x="0" y="2057400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l">
              <a:spcBef>
                <a:spcPct val="0"/>
              </a:spcBef>
            </a:pPr>
            <a:endParaRPr lang="en-GB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2891" r:id="rId1"/>
    <p:sldLayoutId id="2147492892" r:id="rId2"/>
    <p:sldLayoutId id="2147492893" r:id="rId3"/>
    <p:sldLayoutId id="2147492894" r:id="rId4"/>
    <p:sldLayoutId id="2147492895" r:id="rId5"/>
    <p:sldLayoutId id="2147492896" r:id="rId6"/>
    <p:sldLayoutId id="2147492897" r:id="rId7"/>
    <p:sldLayoutId id="2147492898" r:id="rId8"/>
    <p:sldLayoutId id="2147492899" r:id="rId9"/>
    <p:sldLayoutId id="2147492900" r:id="rId10"/>
    <p:sldLayoutId id="2147492901" r:id="rId11"/>
    <p:sldLayoutId id="2147492902" r:id="rId12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charset="0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ea typeface="ＭＳ Ｐゴシック" charset="0"/>
          <a:cs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ea typeface="ＭＳ Ｐゴシック" charset="0"/>
          <a:cs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ea typeface="ＭＳ Ｐゴシック" charset="0"/>
          <a:cs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ea typeface="ＭＳ Ｐゴシック" charset="0"/>
          <a:cs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Arial" charset="0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Arial" charset="0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9523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eaLnBrk="1" hangingPunct="1">
              <a:spcBef>
                <a:spcPct val="0"/>
              </a:spcBef>
              <a:buFontTx/>
              <a:buNone/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fld id="{F1D537EF-7230-4C33-9F43-83DEF97D0017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45720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457200" eaLnBrk="1" hangingPunct="1">
              <a:spcBef>
                <a:spcPct val="0"/>
              </a:spcBef>
              <a:buFontTx/>
              <a:buNone/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fld id="{F9446ECE-895F-451B-B9C1-91BF15CA0E5D}" type="slidenum">
              <a:rPr lang="en-US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3085" r:id="rId1"/>
    <p:sldLayoutId id="2147493086" r:id="rId2"/>
    <p:sldLayoutId id="2147493087" r:id="rId3"/>
    <p:sldLayoutId id="2147493088" r:id="rId4"/>
    <p:sldLayoutId id="2147493089" r:id="rId5"/>
    <p:sldLayoutId id="2147493090" r:id="rId6"/>
    <p:sldLayoutId id="2147493091" r:id="rId7"/>
    <p:sldLayoutId id="2147493092" r:id="rId8"/>
    <p:sldLayoutId id="2147493093" r:id="rId9"/>
    <p:sldLayoutId id="2147493094" r:id="rId10"/>
    <p:sldLayoutId id="2147493095" r:id="rId1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  <a:endParaRPr lang="en-US" smtClean="0"/>
          </a:p>
        </p:txBody>
      </p:sp>
      <p:sp>
        <p:nvSpPr>
          <p:cNvPr id="10752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eaLnBrk="1" hangingPunct="1">
              <a:spcBef>
                <a:spcPct val="0"/>
              </a:spcBef>
              <a:buFontTx/>
              <a:buNone/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fld id="{AB9B7603-AC79-420C-B91C-F5CD270E962F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45720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457200" eaLnBrk="1" hangingPunct="1">
              <a:spcBef>
                <a:spcPct val="0"/>
              </a:spcBef>
              <a:buFontTx/>
              <a:buNone/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fld id="{8DDD9778-6B54-4551-AFCD-C2EA8A7A2B95}" type="slidenum">
              <a:rPr lang="en-US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3096" r:id="rId1"/>
    <p:sldLayoutId id="2147493097" r:id="rId2"/>
    <p:sldLayoutId id="2147493098" r:id="rId3"/>
    <p:sldLayoutId id="2147493099" r:id="rId4"/>
    <p:sldLayoutId id="2147493100" r:id="rId5"/>
    <p:sldLayoutId id="2147493101" r:id="rId6"/>
    <p:sldLayoutId id="2147493102" r:id="rId7"/>
    <p:sldLayoutId id="2147493103" r:id="rId8"/>
    <p:sldLayoutId id="2147493104" r:id="rId9"/>
    <p:sldLayoutId id="2147493105" r:id="rId10"/>
    <p:sldLayoutId id="2147493106" r:id="rId1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1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  <a:endParaRPr lang="en-US" smtClean="0"/>
          </a:p>
        </p:txBody>
      </p:sp>
      <p:sp>
        <p:nvSpPr>
          <p:cNvPr id="11981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rgbClr val="898989"/>
                </a:solidFill>
              </a:defRPr>
            </a:lvl1pPr>
          </a:lstStyle>
          <a:p>
            <a:fld id="{EED07B3D-8079-4705-9D5F-512A33287ADC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914400" eaLnBrk="0" hangingPunct="0">
              <a:spcBef>
                <a:spcPct val="20000"/>
              </a:spcBef>
              <a:buFontTx/>
              <a:buChar char="•"/>
              <a:defRPr sz="1200">
                <a:solidFill>
                  <a:prstClr val="black">
                    <a:tint val="75000"/>
                  </a:prstClr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7645B940-6819-44DC-9CC8-CF1AFEDB49A0}" type="slidenum">
              <a:rPr lang="en-US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3107" r:id="rId1"/>
    <p:sldLayoutId id="2147493108" r:id="rId2"/>
    <p:sldLayoutId id="2147493109" r:id="rId3"/>
    <p:sldLayoutId id="2147493110" r:id="rId4"/>
    <p:sldLayoutId id="2147493111" r:id="rId5"/>
    <p:sldLayoutId id="2147493112" r:id="rId6"/>
    <p:sldLayoutId id="2147493113" r:id="rId7"/>
    <p:sldLayoutId id="2147493114" r:id="rId8"/>
    <p:sldLayoutId id="2147493115" r:id="rId9"/>
    <p:sldLayoutId id="2147493116" r:id="rId10"/>
    <p:sldLayoutId id="2147493117" r:id="rId11"/>
    <p:sldLayoutId id="2147493118" r:id="rId12"/>
    <p:sldLayoutId id="2147493119" r:id="rId13"/>
    <p:sldLayoutId id="2147493120" r:id="rId14"/>
  </p:sldLayoutIdLst>
  <p:transition spd="slow">
    <p:pull dir="ld"/>
  </p:transition>
  <p:timing>
    <p:tnLst>
      <p:par>
        <p:cTn id="1" dur="indefinite" restart="never" nodeType="tmRoot"/>
      </p:par>
    </p:tnLst>
  </p:timing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98" name="Line 5"/>
          <p:cNvSpPr>
            <a:spLocks noChangeShapeType="1"/>
          </p:cNvSpPr>
          <p:nvPr/>
        </p:nvSpPr>
        <p:spPr bwMode="auto">
          <a:xfrm>
            <a:off x="0" y="981075"/>
            <a:ext cx="9144000" cy="0"/>
          </a:xfrm>
          <a:prstGeom prst="line">
            <a:avLst/>
          </a:prstGeom>
          <a:noFill/>
          <a:ln w="25400">
            <a:solidFill>
              <a:srgbClr val="FFFF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132099" name="Picture 8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138" y="0"/>
            <a:ext cx="1439862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121" r:id="rId1"/>
    <p:sldLayoutId id="2147492903" r:id="rId2"/>
    <p:sldLayoutId id="2147492904" r:id="rId3"/>
    <p:sldLayoutId id="2147492905" r:id="rId4"/>
    <p:sldLayoutId id="2147492906" r:id="rId5"/>
    <p:sldLayoutId id="2147492907" r:id="rId6"/>
    <p:sldLayoutId id="2147492908" r:id="rId7"/>
    <p:sldLayoutId id="2147492909" r:id="rId8"/>
    <p:sldLayoutId id="2147492910" r:id="rId9"/>
    <p:sldLayoutId id="2147492911" r:id="rId10"/>
    <p:sldLayoutId id="2147492912" r:id="rId11"/>
    <p:sldLayoutId id="2147492913" r:id="rId12"/>
    <p:sldLayoutId id="2147492914" r:id="rId13"/>
    <p:sldLayoutId id="2147492915" r:id="rId14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40000"/>
        </a:spcBef>
        <a:spcAft>
          <a:spcPct val="20000"/>
        </a:spcAft>
        <a:buClr>
          <a:schemeClr val="accent2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647700" indent="-190500" algn="l" rtl="0" eaLnBrk="0" fontAlgn="base" hangingPunct="0">
        <a:spcBef>
          <a:spcPct val="20000"/>
        </a:spcBef>
        <a:spcAft>
          <a:spcPct val="0"/>
        </a:spcAft>
        <a:buClr>
          <a:srgbClr val="003366"/>
        </a:buClr>
        <a:buChar char="–"/>
        <a:defRPr sz="1400">
          <a:solidFill>
            <a:srgbClr val="003366"/>
          </a:solidFill>
          <a:latin typeface="+mn-lt"/>
          <a:ea typeface="ＭＳ Ｐゴシック" charset="0"/>
          <a:cs typeface="Arial" charset="0"/>
        </a:defRPr>
      </a:lvl2pPr>
      <a:lvl3pPr marL="11430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600">
          <a:solidFill>
            <a:srgbClr val="003366"/>
          </a:solidFill>
          <a:latin typeface="+mn-lt"/>
          <a:ea typeface="Arial" charset="0"/>
          <a:cs typeface="Arial" charset="0"/>
        </a:defRPr>
      </a:lvl3pPr>
      <a:lvl4pPr marL="16002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–"/>
        <a:defRPr sz="1400">
          <a:solidFill>
            <a:srgbClr val="003366"/>
          </a:solidFill>
          <a:latin typeface="+mn-lt"/>
          <a:ea typeface="Arial" charset="0"/>
          <a:cs typeface="Arial" charset="0"/>
        </a:defRPr>
      </a:lvl4pPr>
      <a:lvl5pPr marL="20574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ea typeface="Arial" charset="0"/>
          <a:cs typeface="Arial" charset="0"/>
        </a:defRPr>
      </a:lvl5pPr>
      <a:lvl6pPr marL="25146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6pPr>
      <a:lvl7pPr marL="29718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7pPr>
      <a:lvl8pPr marL="34290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8pPr>
      <a:lvl9pPr marL="38862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  <a:endParaRPr lang="en-US" smtClean="0"/>
          </a:p>
        </p:txBody>
      </p:sp>
      <p:sp>
        <p:nvSpPr>
          <p:cNvPr id="1741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spcBef>
                <a:spcPct val="0"/>
              </a:spcBef>
              <a:buFontTx/>
              <a:buNone/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fld id="{66AEE42F-3E3C-4853-9321-C5E4C13FD277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spcBef>
                <a:spcPct val="0"/>
              </a:spcBef>
              <a:buFontTx/>
              <a:buNone/>
              <a:defRPr sz="1200">
                <a:solidFill>
                  <a:srgbClr val="898989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buFontTx/>
              <a:buNone/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fld id="{4180956F-8FC9-4D45-9D95-E1185EE9A36C}" type="slidenum">
              <a:rPr lang="en-US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3014" r:id="rId1"/>
    <p:sldLayoutId id="2147493015" r:id="rId2"/>
    <p:sldLayoutId id="2147493016" r:id="rId3"/>
    <p:sldLayoutId id="2147493017" r:id="rId4"/>
    <p:sldLayoutId id="2147493018" r:id="rId5"/>
    <p:sldLayoutId id="2147493019" r:id="rId6"/>
    <p:sldLayoutId id="2147493020" r:id="rId7"/>
    <p:sldLayoutId id="2147493021" r:id="rId8"/>
    <p:sldLayoutId id="2147493022" r:id="rId9"/>
    <p:sldLayoutId id="2147493023" r:id="rId10"/>
    <p:sldLayoutId id="2147493024" r:id="rId11"/>
    <p:sldLayoutId id="2147493025" r:id="rId12"/>
    <p:sldLayoutId id="2147493026" r:id="rId13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Line 5"/>
          <p:cNvSpPr>
            <a:spLocks noChangeShapeType="1"/>
          </p:cNvSpPr>
          <p:nvPr/>
        </p:nvSpPr>
        <p:spPr bwMode="auto">
          <a:xfrm>
            <a:off x="0" y="981075"/>
            <a:ext cx="9144000" cy="0"/>
          </a:xfrm>
          <a:prstGeom prst="line">
            <a:avLst/>
          </a:prstGeom>
          <a:noFill/>
          <a:ln w="25400">
            <a:solidFill>
              <a:srgbClr val="FFFF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3122" r:id="rId1"/>
    <p:sldLayoutId id="2147492916" r:id="rId2"/>
    <p:sldLayoutId id="2147492917" r:id="rId3"/>
    <p:sldLayoutId id="2147492918" r:id="rId4"/>
    <p:sldLayoutId id="2147492919" r:id="rId5"/>
    <p:sldLayoutId id="2147492920" r:id="rId6"/>
    <p:sldLayoutId id="2147492921" r:id="rId7"/>
    <p:sldLayoutId id="2147492922" r:id="rId8"/>
    <p:sldLayoutId id="2147492923" r:id="rId9"/>
    <p:sldLayoutId id="2147492924" r:id="rId10"/>
    <p:sldLayoutId id="2147492925" r:id="rId11"/>
    <p:sldLayoutId id="2147492926" r:id="rId12"/>
    <p:sldLayoutId id="2147492927" r:id="rId13"/>
    <p:sldLayoutId id="2147492928" r:id="rId14"/>
    <p:sldLayoutId id="2147492929" r:id="rId15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40000"/>
        </a:spcBef>
        <a:spcAft>
          <a:spcPct val="20000"/>
        </a:spcAft>
        <a:buClr>
          <a:schemeClr val="accent2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647700" indent="-190500" algn="l" rtl="0" eaLnBrk="0" fontAlgn="base" hangingPunct="0">
        <a:spcBef>
          <a:spcPct val="20000"/>
        </a:spcBef>
        <a:spcAft>
          <a:spcPct val="0"/>
        </a:spcAft>
        <a:buClr>
          <a:srgbClr val="003366"/>
        </a:buClr>
        <a:buChar char="–"/>
        <a:defRPr sz="1400">
          <a:solidFill>
            <a:srgbClr val="003366"/>
          </a:solidFill>
          <a:latin typeface="+mn-lt"/>
          <a:ea typeface="ＭＳ Ｐゴシック" charset="0"/>
          <a:cs typeface="Arial" charset="0"/>
        </a:defRPr>
      </a:lvl2pPr>
      <a:lvl3pPr marL="11430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600">
          <a:solidFill>
            <a:srgbClr val="003366"/>
          </a:solidFill>
          <a:latin typeface="+mn-lt"/>
          <a:ea typeface="Arial" charset="0"/>
          <a:cs typeface="Arial" charset="0"/>
        </a:defRPr>
      </a:lvl3pPr>
      <a:lvl4pPr marL="16002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–"/>
        <a:defRPr sz="1400">
          <a:solidFill>
            <a:srgbClr val="003366"/>
          </a:solidFill>
          <a:latin typeface="+mn-lt"/>
          <a:ea typeface="Arial" charset="0"/>
          <a:cs typeface="Arial" charset="0"/>
        </a:defRPr>
      </a:lvl4pPr>
      <a:lvl5pPr marL="20574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ea typeface="Arial" charset="0"/>
          <a:cs typeface="Arial" charset="0"/>
        </a:defRPr>
      </a:lvl5pPr>
      <a:lvl6pPr marL="25146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6pPr>
      <a:lvl7pPr marL="29718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7pPr>
      <a:lvl8pPr marL="34290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8pPr>
      <a:lvl9pPr marL="38862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4" name="Line 5"/>
          <p:cNvSpPr>
            <a:spLocks noChangeShapeType="1"/>
          </p:cNvSpPr>
          <p:nvPr/>
        </p:nvSpPr>
        <p:spPr bwMode="auto">
          <a:xfrm>
            <a:off x="0" y="981075"/>
            <a:ext cx="9144000" cy="0"/>
          </a:xfrm>
          <a:prstGeom prst="line">
            <a:avLst/>
          </a:prstGeom>
          <a:noFill/>
          <a:ln w="25400">
            <a:solidFill>
              <a:srgbClr val="FFFF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136195" name="Picture 8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138" y="0"/>
            <a:ext cx="1439862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123" r:id="rId1"/>
    <p:sldLayoutId id="2147492930" r:id="rId2"/>
    <p:sldLayoutId id="2147492931" r:id="rId3"/>
    <p:sldLayoutId id="2147492932" r:id="rId4"/>
    <p:sldLayoutId id="2147492933" r:id="rId5"/>
    <p:sldLayoutId id="2147492934" r:id="rId6"/>
    <p:sldLayoutId id="2147492935" r:id="rId7"/>
    <p:sldLayoutId id="2147492936" r:id="rId8"/>
    <p:sldLayoutId id="2147492937" r:id="rId9"/>
    <p:sldLayoutId id="2147492938" r:id="rId10"/>
    <p:sldLayoutId id="2147492939" r:id="rId11"/>
    <p:sldLayoutId id="2147492940" r:id="rId12"/>
    <p:sldLayoutId id="2147492941" r:id="rId13"/>
    <p:sldLayoutId id="2147492942" r:id="rId14"/>
    <p:sldLayoutId id="2147492943" r:id="rId15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40000"/>
        </a:spcBef>
        <a:spcAft>
          <a:spcPct val="20000"/>
        </a:spcAft>
        <a:buClr>
          <a:schemeClr val="accent2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647700" indent="-190500" algn="l" rtl="0" eaLnBrk="0" fontAlgn="base" hangingPunct="0">
        <a:spcBef>
          <a:spcPct val="20000"/>
        </a:spcBef>
        <a:spcAft>
          <a:spcPct val="0"/>
        </a:spcAft>
        <a:buClr>
          <a:srgbClr val="003366"/>
        </a:buClr>
        <a:buChar char="–"/>
        <a:defRPr sz="1400">
          <a:solidFill>
            <a:srgbClr val="003366"/>
          </a:solidFill>
          <a:latin typeface="+mn-lt"/>
          <a:ea typeface="ＭＳ Ｐゴシック" charset="0"/>
          <a:cs typeface="Arial" charset="0"/>
        </a:defRPr>
      </a:lvl2pPr>
      <a:lvl3pPr marL="11430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600">
          <a:solidFill>
            <a:srgbClr val="003366"/>
          </a:solidFill>
          <a:latin typeface="+mn-lt"/>
          <a:ea typeface="Arial" charset="0"/>
          <a:cs typeface="Arial" charset="0"/>
        </a:defRPr>
      </a:lvl3pPr>
      <a:lvl4pPr marL="16002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–"/>
        <a:defRPr sz="1400">
          <a:solidFill>
            <a:srgbClr val="003366"/>
          </a:solidFill>
          <a:latin typeface="+mn-lt"/>
          <a:ea typeface="Arial" charset="0"/>
          <a:cs typeface="Arial" charset="0"/>
        </a:defRPr>
      </a:lvl4pPr>
      <a:lvl5pPr marL="20574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ea typeface="Arial" charset="0"/>
          <a:cs typeface="Arial" charset="0"/>
        </a:defRPr>
      </a:lvl5pPr>
      <a:lvl6pPr marL="25146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6pPr>
      <a:lvl7pPr marL="29718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7pPr>
      <a:lvl8pPr marL="34290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8pPr>
      <a:lvl9pPr marL="38862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2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547813" y="0"/>
            <a:ext cx="7596187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1382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80691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914400" eaLnBrk="1" hangingPunct="1">
              <a:spcBef>
                <a:spcPct val="0"/>
              </a:spcBef>
              <a:buFontTx/>
              <a:buNone/>
              <a:defRPr sz="14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069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914400" eaLnBrk="1" hangingPunct="1">
              <a:spcBef>
                <a:spcPct val="0"/>
              </a:spcBef>
              <a:buFontTx/>
              <a:buNone/>
              <a:defRPr sz="14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0691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buFontTx/>
              <a:buNone/>
              <a:defRPr sz="1400">
                <a:solidFill>
                  <a:srgbClr val="000000"/>
                </a:solidFill>
              </a:defRPr>
            </a:lvl1pPr>
          </a:lstStyle>
          <a:p>
            <a:fld id="{BEB0E8DF-F058-47C1-A938-99F64C3ABDB1}" type="slidenum">
              <a:rPr lang="en-GB"/>
              <a:pPr/>
              <a:t>‹#›</a:t>
            </a:fld>
            <a:endParaRPr lang="en-GB"/>
          </a:p>
        </p:txBody>
      </p:sp>
      <p:pic>
        <p:nvPicPr>
          <p:cNvPr id="138247" name="Picture 7" descr="5C_V_1L_P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4462" r="-21330"/>
          <a:stretch>
            <a:fillRect/>
          </a:stretch>
        </p:blipFill>
        <p:spPr bwMode="auto">
          <a:xfrm>
            <a:off x="7524750" y="6340475"/>
            <a:ext cx="161925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8248" name="Picture 8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308"/>
          <a:stretch>
            <a:fillRect/>
          </a:stretch>
        </p:blipFill>
        <p:spPr bwMode="auto">
          <a:xfrm>
            <a:off x="179388" y="0"/>
            <a:ext cx="1327150" cy="644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8249" name="Line 9"/>
          <p:cNvSpPr>
            <a:spLocks noChangeShapeType="1"/>
          </p:cNvSpPr>
          <p:nvPr/>
        </p:nvSpPr>
        <p:spPr bwMode="auto">
          <a:xfrm flipH="1">
            <a:off x="0" y="765175"/>
            <a:ext cx="9144000" cy="14288"/>
          </a:xfrm>
          <a:prstGeom prst="line">
            <a:avLst/>
          </a:prstGeom>
          <a:noFill/>
          <a:ln w="28575" cap="rnd">
            <a:solidFill>
              <a:srgbClr val="F87D0E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3124" r:id="rId1"/>
    <p:sldLayoutId id="2147493125" r:id="rId2"/>
    <p:sldLayoutId id="2147493126" r:id="rId3"/>
    <p:sldLayoutId id="2147493127" r:id="rId4"/>
    <p:sldLayoutId id="2147493128" r:id="rId5"/>
    <p:sldLayoutId id="2147493129" r:id="rId6"/>
    <p:sldLayoutId id="2147493130" r:id="rId7"/>
    <p:sldLayoutId id="2147493131" r:id="rId8"/>
    <p:sldLayoutId id="2147493132" r:id="rId9"/>
    <p:sldLayoutId id="2147493133" r:id="rId10"/>
    <p:sldLayoutId id="2147493134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+mj-lt"/>
          <a:ea typeface="ＭＳ Ｐゴシック" charset="0"/>
          <a:cs typeface="ＭＳ Ｐゴシック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Arial" charset="0"/>
          <a:ea typeface="ＭＳ Ｐゴシック" charset="0"/>
          <a:cs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Arial" charset="0"/>
          <a:ea typeface="ＭＳ Ｐゴシック" charset="0"/>
          <a:cs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Arial" charset="0"/>
          <a:ea typeface="ＭＳ Ｐゴシック" charset="0"/>
          <a:cs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2600" b="1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chemeClr val="tx1"/>
          </a:solidFill>
          <a:latin typeface="+mn-lt"/>
          <a:ea typeface="ＭＳ Ｐゴシック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200">
          <a:solidFill>
            <a:schemeClr val="tx1"/>
          </a:solidFill>
          <a:latin typeface="+mn-lt"/>
          <a:ea typeface="ＭＳ Ｐゴシック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rgbClr val="FF9900"/>
          </a:solidFill>
          <a:latin typeface="+mn-lt"/>
          <a:ea typeface="ＭＳ Ｐゴシック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rgbClr val="FF9933"/>
          </a:solidFill>
          <a:latin typeface="+mn-lt"/>
          <a:ea typeface="ＭＳ Ｐゴシック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•"/>
        <a:defRPr sz="2000">
          <a:solidFill>
            <a:srgbClr val="FF9933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•"/>
        <a:defRPr sz="2000">
          <a:solidFill>
            <a:srgbClr val="FF9933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•"/>
        <a:defRPr sz="2000">
          <a:solidFill>
            <a:srgbClr val="FF9933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•"/>
        <a:defRPr sz="2000">
          <a:solidFill>
            <a:srgbClr val="FF9933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530" name="Line 5"/>
          <p:cNvSpPr>
            <a:spLocks noChangeShapeType="1"/>
          </p:cNvSpPr>
          <p:nvPr/>
        </p:nvSpPr>
        <p:spPr bwMode="auto">
          <a:xfrm>
            <a:off x="0" y="981075"/>
            <a:ext cx="9144000" cy="0"/>
          </a:xfrm>
          <a:prstGeom prst="line">
            <a:avLst/>
          </a:prstGeom>
          <a:noFill/>
          <a:ln w="25400">
            <a:solidFill>
              <a:srgbClr val="FFFF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3135" r:id="rId1"/>
    <p:sldLayoutId id="2147492944" r:id="rId2"/>
    <p:sldLayoutId id="2147492945" r:id="rId3"/>
    <p:sldLayoutId id="2147492946" r:id="rId4"/>
    <p:sldLayoutId id="2147492947" r:id="rId5"/>
    <p:sldLayoutId id="2147492948" r:id="rId6"/>
    <p:sldLayoutId id="2147492949" r:id="rId7"/>
    <p:sldLayoutId id="2147492950" r:id="rId8"/>
    <p:sldLayoutId id="2147492951" r:id="rId9"/>
    <p:sldLayoutId id="2147492952" r:id="rId10"/>
    <p:sldLayoutId id="2147492953" r:id="rId11"/>
    <p:sldLayoutId id="2147492954" r:id="rId12"/>
    <p:sldLayoutId id="2147492955" r:id="rId13"/>
    <p:sldLayoutId id="2147492956" r:id="rId14"/>
    <p:sldLayoutId id="2147492957" r:id="rId15"/>
    <p:sldLayoutId id="2147492958" r:id="rId16"/>
    <p:sldLayoutId id="2147492959" r:id="rId1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40000"/>
        </a:spcBef>
        <a:spcAft>
          <a:spcPct val="20000"/>
        </a:spcAft>
        <a:buClr>
          <a:schemeClr val="accent2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647700" indent="-190500" algn="l" rtl="0" eaLnBrk="0" fontAlgn="base" hangingPunct="0">
        <a:spcBef>
          <a:spcPct val="20000"/>
        </a:spcBef>
        <a:spcAft>
          <a:spcPct val="0"/>
        </a:spcAft>
        <a:buClr>
          <a:srgbClr val="003366"/>
        </a:buClr>
        <a:buChar char="–"/>
        <a:defRPr sz="1400">
          <a:solidFill>
            <a:srgbClr val="003366"/>
          </a:solidFill>
          <a:latin typeface="+mn-lt"/>
          <a:ea typeface="ＭＳ Ｐゴシック" charset="0"/>
          <a:cs typeface="Arial" charset="0"/>
        </a:defRPr>
      </a:lvl2pPr>
      <a:lvl3pPr marL="11430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600">
          <a:solidFill>
            <a:srgbClr val="003366"/>
          </a:solidFill>
          <a:latin typeface="+mn-lt"/>
          <a:ea typeface="Arial" charset="0"/>
          <a:cs typeface="Arial" charset="0"/>
        </a:defRPr>
      </a:lvl3pPr>
      <a:lvl4pPr marL="16002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–"/>
        <a:defRPr sz="1400">
          <a:solidFill>
            <a:srgbClr val="003366"/>
          </a:solidFill>
          <a:latin typeface="+mn-lt"/>
          <a:ea typeface="Arial" charset="0"/>
          <a:cs typeface="Arial" charset="0"/>
        </a:defRPr>
      </a:lvl4pPr>
      <a:lvl5pPr marL="20574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ea typeface="Arial" charset="0"/>
          <a:cs typeface="Arial" charset="0"/>
        </a:defRPr>
      </a:lvl5pPr>
      <a:lvl6pPr marL="25146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6pPr>
      <a:lvl7pPr marL="29718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7pPr>
      <a:lvl8pPr marL="34290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8pPr>
      <a:lvl9pPr marL="38862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578" name="Line 5"/>
          <p:cNvSpPr>
            <a:spLocks noChangeShapeType="1"/>
          </p:cNvSpPr>
          <p:nvPr/>
        </p:nvSpPr>
        <p:spPr bwMode="auto">
          <a:xfrm>
            <a:off x="0" y="981075"/>
            <a:ext cx="9144000" cy="0"/>
          </a:xfrm>
          <a:prstGeom prst="line">
            <a:avLst/>
          </a:prstGeom>
          <a:noFill/>
          <a:ln w="25400">
            <a:solidFill>
              <a:srgbClr val="FFFF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3136" r:id="rId1"/>
    <p:sldLayoutId id="2147492960" r:id="rId2"/>
    <p:sldLayoutId id="2147492961" r:id="rId3"/>
    <p:sldLayoutId id="2147492962" r:id="rId4"/>
    <p:sldLayoutId id="2147492963" r:id="rId5"/>
    <p:sldLayoutId id="2147492964" r:id="rId6"/>
    <p:sldLayoutId id="2147492965" r:id="rId7"/>
    <p:sldLayoutId id="2147492966" r:id="rId8"/>
    <p:sldLayoutId id="2147492967" r:id="rId9"/>
    <p:sldLayoutId id="2147492968" r:id="rId10"/>
    <p:sldLayoutId id="2147492969" r:id="rId11"/>
    <p:sldLayoutId id="2147492970" r:id="rId12"/>
    <p:sldLayoutId id="2147492971" r:id="rId13"/>
    <p:sldLayoutId id="2147492972" r:id="rId14"/>
    <p:sldLayoutId id="2147492973" r:id="rId15"/>
    <p:sldLayoutId id="2147492974" r:id="rId16"/>
    <p:sldLayoutId id="2147492975" r:id="rId1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40000"/>
        </a:spcBef>
        <a:spcAft>
          <a:spcPct val="20000"/>
        </a:spcAft>
        <a:buClr>
          <a:schemeClr val="accent2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647700" indent="-190500" algn="l" rtl="0" eaLnBrk="0" fontAlgn="base" hangingPunct="0">
        <a:spcBef>
          <a:spcPct val="20000"/>
        </a:spcBef>
        <a:spcAft>
          <a:spcPct val="0"/>
        </a:spcAft>
        <a:buClr>
          <a:srgbClr val="003366"/>
        </a:buClr>
        <a:buChar char="–"/>
        <a:defRPr sz="1400">
          <a:solidFill>
            <a:srgbClr val="003366"/>
          </a:solidFill>
          <a:latin typeface="+mn-lt"/>
          <a:ea typeface="ＭＳ Ｐゴシック" charset="0"/>
          <a:cs typeface="Arial" charset="0"/>
        </a:defRPr>
      </a:lvl2pPr>
      <a:lvl3pPr marL="11430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600">
          <a:solidFill>
            <a:srgbClr val="003366"/>
          </a:solidFill>
          <a:latin typeface="+mn-lt"/>
          <a:ea typeface="Arial" charset="0"/>
          <a:cs typeface="Arial" charset="0"/>
        </a:defRPr>
      </a:lvl3pPr>
      <a:lvl4pPr marL="16002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–"/>
        <a:defRPr sz="1400">
          <a:solidFill>
            <a:srgbClr val="003366"/>
          </a:solidFill>
          <a:latin typeface="+mn-lt"/>
          <a:ea typeface="Arial" charset="0"/>
          <a:cs typeface="Arial" charset="0"/>
        </a:defRPr>
      </a:lvl4pPr>
      <a:lvl5pPr marL="20574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ea typeface="Arial" charset="0"/>
          <a:cs typeface="Arial" charset="0"/>
        </a:defRPr>
      </a:lvl5pPr>
      <a:lvl6pPr marL="25146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6pPr>
      <a:lvl7pPr marL="29718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7pPr>
      <a:lvl8pPr marL="34290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8pPr>
      <a:lvl9pPr marL="38862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626" name="Line 2"/>
          <p:cNvSpPr>
            <a:spLocks noChangeShapeType="1"/>
          </p:cNvSpPr>
          <p:nvPr/>
        </p:nvSpPr>
        <p:spPr bwMode="auto">
          <a:xfrm>
            <a:off x="0" y="981075"/>
            <a:ext cx="9144000" cy="0"/>
          </a:xfrm>
          <a:prstGeom prst="line">
            <a:avLst/>
          </a:prstGeom>
          <a:noFill/>
          <a:ln w="25400">
            <a:solidFill>
              <a:srgbClr val="00339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3137" r:id="rId1"/>
    <p:sldLayoutId id="2147492976" r:id="rId2"/>
    <p:sldLayoutId id="2147492977" r:id="rId3"/>
    <p:sldLayoutId id="2147492978" r:id="rId4"/>
    <p:sldLayoutId id="2147492979" r:id="rId5"/>
    <p:sldLayoutId id="2147492980" r:id="rId6"/>
    <p:sldLayoutId id="2147492981" r:id="rId7"/>
    <p:sldLayoutId id="2147492982" r:id="rId8"/>
    <p:sldLayoutId id="2147492983" r:id="rId9"/>
    <p:sldLayoutId id="2147492984" r:id="rId10"/>
    <p:sldLayoutId id="2147492985" r:id="rId11"/>
    <p:sldLayoutId id="2147492986" r:id="rId12"/>
    <p:sldLayoutId id="2147492987" r:id="rId13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+mj-lt"/>
          <a:ea typeface="ＭＳ Ｐゴシック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pitchFamily="34" charset="0"/>
          <a:ea typeface="ＭＳ Ｐゴシック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pitchFamily="34" charset="0"/>
          <a:ea typeface="ＭＳ Ｐゴシック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pitchFamily="34" charset="0"/>
          <a:ea typeface="ＭＳ Ｐゴシック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pitchFamily="34" charset="0"/>
          <a:ea typeface="ＭＳ Ｐゴシック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40000"/>
        </a:spcBef>
        <a:spcAft>
          <a:spcPct val="20000"/>
        </a:spcAft>
        <a:buClr>
          <a:schemeClr val="accent2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647700" indent="-190500" algn="l" rtl="0" eaLnBrk="0" fontAlgn="base" hangingPunct="0">
        <a:spcBef>
          <a:spcPct val="20000"/>
        </a:spcBef>
        <a:spcAft>
          <a:spcPct val="0"/>
        </a:spcAft>
        <a:buClr>
          <a:srgbClr val="003366"/>
        </a:buClr>
        <a:buChar char="–"/>
        <a:defRPr sz="1400">
          <a:solidFill>
            <a:srgbClr val="003366"/>
          </a:solidFill>
          <a:latin typeface="+mn-lt"/>
          <a:ea typeface="Arial" charset="0"/>
          <a:cs typeface="+mn-cs"/>
        </a:defRPr>
      </a:lvl2pPr>
      <a:lvl3pPr marL="11430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600">
          <a:solidFill>
            <a:srgbClr val="003366"/>
          </a:solidFill>
          <a:latin typeface="+mn-lt"/>
          <a:ea typeface="Arial" charset="0"/>
          <a:cs typeface="+mn-cs"/>
        </a:defRPr>
      </a:lvl3pPr>
      <a:lvl4pPr marL="16002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–"/>
        <a:defRPr sz="1400">
          <a:solidFill>
            <a:srgbClr val="003366"/>
          </a:solidFill>
          <a:latin typeface="+mn-lt"/>
          <a:ea typeface="Arial" charset="0"/>
          <a:cs typeface="+mn-cs"/>
        </a:defRPr>
      </a:lvl4pPr>
      <a:lvl5pPr marL="20574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ea typeface="Arial" charset="0"/>
          <a:cs typeface="+mn-cs"/>
        </a:defRPr>
      </a:lvl5pPr>
      <a:lvl6pPr marL="25146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+mn-cs"/>
        </a:defRPr>
      </a:lvl6pPr>
      <a:lvl7pPr marL="29718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+mn-cs"/>
        </a:defRPr>
      </a:lvl7pPr>
      <a:lvl8pPr marL="34290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+mn-cs"/>
        </a:defRPr>
      </a:lvl8pPr>
      <a:lvl9pPr marL="38862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Line 2"/>
          <p:cNvSpPr>
            <a:spLocks noChangeShapeType="1"/>
          </p:cNvSpPr>
          <p:nvPr/>
        </p:nvSpPr>
        <p:spPr bwMode="auto">
          <a:xfrm>
            <a:off x="0" y="1235075"/>
            <a:ext cx="914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5667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57150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5486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5667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20838"/>
            <a:ext cx="8229600" cy="447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109728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56677" name="Line 7"/>
          <p:cNvSpPr>
            <a:spLocks noChangeShapeType="1"/>
          </p:cNvSpPr>
          <p:nvPr/>
        </p:nvSpPr>
        <p:spPr bwMode="auto">
          <a:xfrm>
            <a:off x="0" y="6527800"/>
            <a:ext cx="914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pic>
        <p:nvPicPr>
          <p:cNvPr id="156678" name="Picture 8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138" y="0"/>
            <a:ext cx="1439862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138" r:id="rId1"/>
    <p:sldLayoutId id="2147492988" r:id="rId2"/>
    <p:sldLayoutId id="2147492989" r:id="rId3"/>
    <p:sldLayoutId id="2147492990" r:id="rId4"/>
    <p:sldLayoutId id="2147492991" r:id="rId5"/>
    <p:sldLayoutId id="2147492992" r:id="rId6"/>
    <p:sldLayoutId id="2147492993" r:id="rId7"/>
    <p:sldLayoutId id="2147492994" r:id="rId8"/>
    <p:sldLayoutId id="2147492995" r:id="rId9"/>
    <p:sldLayoutId id="2147492996" r:id="rId10"/>
    <p:sldLayoutId id="2147492997" r:id="rId11"/>
    <p:sldLayoutId id="2147492998" r:id="rId12"/>
  </p:sldLayoutIdLst>
  <p:transition>
    <p:cut/>
  </p:transition>
  <p:txStyles>
    <p:titleStyle>
      <a:lvl1pPr algn="l" rtl="0" eaLnBrk="0" fontAlgn="base" hangingPunct="0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fontAlgn="base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6pPr>
      <a:lvl7pPr marL="914400" algn="l" rtl="0" fontAlgn="base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7pPr>
      <a:lvl8pPr marL="1371600" algn="l" rtl="0" fontAlgn="base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8pPr>
      <a:lvl9pPr marL="1828800" algn="l" rtl="0" fontAlgn="base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95000"/>
        </a:lnSpc>
        <a:spcBef>
          <a:spcPct val="75000"/>
        </a:spcBef>
        <a:spcAft>
          <a:spcPct val="0"/>
        </a:spcAft>
        <a:defRPr sz="26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339725" indent="-225425" algn="l" rtl="0" eaLnBrk="0" fontAlgn="base" hangingPunct="0">
        <a:lnSpc>
          <a:spcPct val="95000"/>
        </a:lnSpc>
        <a:spcBef>
          <a:spcPct val="25000"/>
        </a:spcBef>
        <a:spcAft>
          <a:spcPct val="0"/>
        </a:spcAft>
        <a:buSzPct val="80000"/>
        <a:buChar char="•"/>
        <a:defRPr sz="2000">
          <a:solidFill>
            <a:schemeClr val="tx1"/>
          </a:solidFill>
          <a:latin typeface="+mn-lt"/>
          <a:ea typeface="ＭＳ Ｐゴシック" charset="0"/>
        </a:defRPr>
      </a:lvl2pPr>
      <a:lvl3pPr marL="795338" indent="-220663" algn="l" rtl="0" eaLnBrk="0" fontAlgn="base" hangingPunct="0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ＭＳ Ｐゴシック" charset="0"/>
        </a:defRPr>
      </a:lvl3pPr>
      <a:lvl4pPr marL="1252538" indent="-222250" algn="l" rtl="0" eaLnBrk="0" fontAlgn="base" hangingPunct="0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ＭＳ Ｐゴシック" charset="0"/>
        </a:defRPr>
      </a:lvl4pPr>
      <a:lvl5pPr marL="1709738" indent="-222250" algn="l" rtl="0" eaLnBrk="0" fontAlgn="base" hangingPunct="0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ＭＳ Ｐゴシック" charset="0"/>
        </a:defRPr>
      </a:lvl5pPr>
      <a:lvl6pPr marL="2166938" indent="-222250" algn="l" rtl="0" fontAlgn="base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6pPr>
      <a:lvl7pPr marL="2624138" indent="-222250" algn="l" rtl="0" fontAlgn="base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7pPr>
      <a:lvl8pPr marL="3081338" indent="-222250" algn="l" rtl="0" fontAlgn="base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8pPr>
      <a:lvl9pPr marL="3538538" indent="-222250" algn="l" rtl="0" fontAlgn="base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Line 5"/>
          <p:cNvSpPr>
            <a:spLocks noChangeShapeType="1"/>
          </p:cNvSpPr>
          <p:nvPr/>
        </p:nvSpPr>
        <p:spPr bwMode="auto">
          <a:xfrm>
            <a:off x="0" y="981075"/>
            <a:ext cx="9144000" cy="0"/>
          </a:xfrm>
          <a:prstGeom prst="line">
            <a:avLst/>
          </a:prstGeom>
          <a:noFill/>
          <a:ln w="25400">
            <a:solidFill>
              <a:srgbClr val="FFFF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3139" r:id="rId1"/>
    <p:sldLayoutId id="2147492999" r:id="rId2"/>
    <p:sldLayoutId id="2147493000" r:id="rId3"/>
    <p:sldLayoutId id="2147493001" r:id="rId4"/>
    <p:sldLayoutId id="2147493002" r:id="rId5"/>
    <p:sldLayoutId id="2147493003" r:id="rId6"/>
    <p:sldLayoutId id="2147493004" r:id="rId7"/>
    <p:sldLayoutId id="2147493005" r:id="rId8"/>
    <p:sldLayoutId id="2147493006" r:id="rId9"/>
    <p:sldLayoutId id="2147493007" r:id="rId10"/>
    <p:sldLayoutId id="2147493008" r:id="rId11"/>
    <p:sldLayoutId id="2147493009" r:id="rId12"/>
    <p:sldLayoutId id="2147493010" r:id="rId13"/>
    <p:sldLayoutId id="2147493011" r:id="rId14"/>
    <p:sldLayoutId id="2147493012" r:id="rId15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40000"/>
        </a:spcBef>
        <a:spcAft>
          <a:spcPct val="20000"/>
        </a:spcAft>
        <a:buClr>
          <a:schemeClr val="accent2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647700" indent="-190500" algn="l" rtl="0" eaLnBrk="0" fontAlgn="base" hangingPunct="0">
        <a:spcBef>
          <a:spcPct val="20000"/>
        </a:spcBef>
        <a:spcAft>
          <a:spcPct val="0"/>
        </a:spcAft>
        <a:buClr>
          <a:srgbClr val="003366"/>
        </a:buClr>
        <a:buChar char="–"/>
        <a:defRPr sz="1400">
          <a:solidFill>
            <a:srgbClr val="003366"/>
          </a:solidFill>
          <a:latin typeface="+mn-lt"/>
          <a:ea typeface="ＭＳ Ｐゴシック" charset="0"/>
          <a:cs typeface="Arial" charset="0"/>
        </a:defRPr>
      </a:lvl2pPr>
      <a:lvl3pPr marL="11430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600">
          <a:solidFill>
            <a:srgbClr val="003366"/>
          </a:solidFill>
          <a:latin typeface="+mn-lt"/>
          <a:ea typeface="Arial" charset="0"/>
          <a:cs typeface="Arial" charset="0"/>
        </a:defRPr>
      </a:lvl3pPr>
      <a:lvl4pPr marL="16002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–"/>
        <a:defRPr sz="1400">
          <a:solidFill>
            <a:srgbClr val="003366"/>
          </a:solidFill>
          <a:latin typeface="+mn-lt"/>
          <a:ea typeface="Arial" charset="0"/>
          <a:cs typeface="Arial" charset="0"/>
        </a:defRPr>
      </a:lvl4pPr>
      <a:lvl5pPr marL="20574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ea typeface="Arial" charset="0"/>
          <a:cs typeface="Arial" charset="0"/>
        </a:defRPr>
      </a:lvl5pPr>
      <a:lvl6pPr marL="25146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6pPr>
      <a:lvl7pPr marL="29718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7pPr>
      <a:lvl8pPr marL="34290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8pPr>
      <a:lvl9pPr marL="38862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77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6077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eaLnBrk="1" hangingPunct="1">
              <a:spcBef>
                <a:spcPct val="0"/>
              </a:spcBef>
              <a:buFontTx/>
              <a:buNone/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fld id="{82ED2B8C-7AB6-489B-8101-E1DF8FA41A5D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45720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457200" eaLnBrk="1" hangingPunct="1">
              <a:spcBef>
                <a:spcPct val="0"/>
              </a:spcBef>
              <a:buFontTx/>
              <a:buNone/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fld id="{0FFEF71F-CBF8-4346-AEC7-A962CF96EE8B}" type="slidenum">
              <a:rPr lang="en-US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3140" r:id="rId1"/>
    <p:sldLayoutId id="2147493141" r:id="rId2"/>
    <p:sldLayoutId id="2147493142" r:id="rId3"/>
    <p:sldLayoutId id="2147493143" r:id="rId4"/>
    <p:sldLayoutId id="2147493144" r:id="rId5"/>
    <p:sldLayoutId id="2147493145" r:id="rId6"/>
    <p:sldLayoutId id="2147493146" r:id="rId7"/>
    <p:sldLayoutId id="2147493147" r:id="rId8"/>
    <p:sldLayoutId id="2147493148" r:id="rId9"/>
    <p:sldLayoutId id="2147493149" r:id="rId10"/>
    <p:sldLayoutId id="2147493150" r:id="rId1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Line 2"/>
          <p:cNvSpPr>
            <a:spLocks noChangeShapeType="1"/>
          </p:cNvSpPr>
          <p:nvPr/>
        </p:nvSpPr>
        <p:spPr bwMode="auto">
          <a:xfrm>
            <a:off x="0" y="1235075"/>
            <a:ext cx="914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57150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5486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970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20838"/>
            <a:ext cx="8229600" cy="447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109728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29701" name="Picture 8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138" y="0"/>
            <a:ext cx="1439862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027" r:id="rId1"/>
    <p:sldLayoutId id="2147492792" r:id="rId2"/>
    <p:sldLayoutId id="2147492793" r:id="rId3"/>
    <p:sldLayoutId id="2147492794" r:id="rId4"/>
    <p:sldLayoutId id="2147492795" r:id="rId5"/>
    <p:sldLayoutId id="2147492796" r:id="rId6"/>
    <p:sldLayoutId id="2147492797" r:id="rId7"/>
    <p:sldLayoutId id="2147492798" r:id="rId8"/>
    <p:sldLayoutId id="2147492799" r:id="rId9"/>
    <p:sldLayoutId id="2147492800" r:id="rId10"/>
    <p:sldLayoutId id="2147492801" r:id="rId11"/>
    <p:sldLayoutId id="2147492802" r:id="rId12"/>
    <p:sldLayoutId id="2147492803" r:id="rId13"/>
  </p:sldLayoutIdLst>
  <p:transition>
    <p:cut/>
  </p:transition>
  <p:txStyles>
    <p:titleStyle>
      <a:lvl1pPr algn="l" rtl="0" eaLnBrk="0" fontAlgn="base" hangingPunct="0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fontAlgn="base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6pPr>
      <a:lvl7pPr marL="914400" algn="l" rtl="0" fontAlgn="base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7pPr>
      <a:lvl8pPr marL="1371600" algn="l" rtl="0" fontAlgn="base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8pPr>
      <a:lvl9pPr marL="1828800" algn="l" rtl="0" fontAlgn="base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95000"/>
        </a:lnSpc>
        <a:spcBef>
          <a:spcPct val="75000"/>
        </a:spcBef>
        <a:spcAft>
          <a:spcPct val="0"/>
        </a:spcAft>
        <a:defRPr sz="26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339725" indent="-225425" algn="l" rtl="0" eaLnBrk="0" fontAlgn="base" hangingPunct="0">
        <a:lnSpc>
          <a:spcPct val="95000"/>
        </a:lnSpc>
        <a:spcBef>
          <a:spcPct val="25000"/>
        </a:spcBef>
        <a:spcAft>
          <a:spcPct val="0"/>
        </a:spcAft>
        <a:buSzPct val="80000"/>
        <a:buChar char="•"/>
        <a:defRPr sz="2000">
          <a:solidFill>
            <a:schemeClr val="tx1"/>
          </a:solidFill>
          <a:latin typeface="+mn-lt"/>
          <a:ea typeface="ＭＳ Ｐゴシック" charset="0"/>
        </a:defRPr>
      </a:lvl2pPr>
      <a:lvl3pPr marL="795338" indent="-220663" algn="l" rtl="0" eaLnBrk="0" fontAlgn="base" hangingPunct="0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ＭＳ Ｐゴシック" charset="0"/>
        </a:defRPr>
      </a:lvl3pPr>
      <a:lvl4pPr marL="1252538" indent="-222250" algn="l" rtl="0" eaLnBrk="0" fontAlgn="base" hangingPunct="0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ＭＳ Ｐゴシック" charset="0"/>
        </a:defRPr>
      </a:lvl4pPr>
      <a:lvl5pPr marL="1709738" indent="-222250" algn="l" rtl="0" eaLnBrk="0" fontAlgn="base" hangingPunct="0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ＭＳ Ｐゴシック" charset="0"/>
        </a:defRPr>
      </a:lvl5pPr>
      <a:lvl6pPr marL="2166938" indent="-222250" algn="l" rtl="0" fontAlgn="base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6pPr>
      <a:lvl7pPr marL="2624138" indent="-222250" algn="l" rtl="0" fontAlgn="base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7pPr>
      <a:lvl8pPr marL="3081338" indent="-222250" algn="l" rtl="0" fontAlgn="base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8pPr>
      <a:lvl9pPr marL="3538538" indent="-222250" algn="l" rtl="0" fontAlgn="base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Line 5"/>
          <p:cNvSpPr>
            <a:spLocks noChangeShapeType="1"/>
          </p:cNvSpPr>
          <p:nvPr/>
        </p:nvSpPr>
        <p:spPr bwMode="auto">
          <a:xfrm>
            <a:off x="0" y="981075"/>
            <a:ext cx="9144000" cy="0"/>
          </a:xfrm>
          <a:prstGeom prst="line">
            <a:avLst/>
          </a:prstGeom>
          <a:noFill/>
          <a:ln w="25400">
            <a:solidFill>
              <a:srgbClr val="FFFF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31747" name="Picture 8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138" y="0"/>
            <a:ext cx="1439862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028" r:id="rId1"/>
    <p:sldLayoutId id="2147492804" r:id="rId2"/>
    <p:sldLayoutId id="2147492805" r:id="rId3"/>
    <p:sldLayoutId id="2147492806" r:id="rId4"/>
    <p:sldLayoutId id="2147492807" r:id="rId5"/>
    <p:sldLayoutId id="2147492808" r:id="rId6"/>
    <p:sldLayoutId id="2147492809" r:id="rId7"/>
    <p:sldLayoutId id="2147492810" r:id="rId8"/>
    <p:sldLayoutId id="2147492811" r:id="rId9"/>
    <p:sldLayoutId id="2147492812" r:id="rId10"/>
    <p:sldLayoutId id="2147492813" r:id="rId11"/>
    <p:sldLayoutId id="2147492814" r:id="rId12"/>
    <p:sldLayoutId id="2147492815" r:id="rId13"/>
    <p:sldLayoutId id="2147492816" r:id="rId14"/>
  </p:sldLayoutIdLst>
  <p:transition>
    <p:cut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40000"/>
        </a:spcBef>
        <a:spcAft>
          <a:spcPct val="20000"/>
        </a:spcAft>
        <a:buClr>
          <a:schemeClr val="accent2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647700" indent="-190500" algn="l" rtl="0" eaLnBrk="0" fontAlgn="base" hangingPunct="0">
        <a:spcBef>
          <a:spcPct val="20000"/>
        </a:spcBef>
        <a:spcAft>
          <a:spcPct val="0"/>
        </a:spcAft>
        <a:buClr>
          <a:srgbClr val="003366"/>
        </a:buClr>
        <a:buChar char="–"/>
        <a:defRPr sz="1400">
          <a:solidFill>
            <a:srgbClr val="003366"/>
          </a:solidFill>
          <a:latin typeface="+mn-lt"/>
          <a:ea typeface="ＭＳ Ｐゴシック" charset="0"/>
          <a:cs typeface="Arial" charset="0"/>
        </a:defRPr>
      </a:lvl2pPr>
      <a:lvl3pPr marL="11430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600">
          <a:solidFill>
            <a:srgbClr val="003366"/>
          </a:solidFill>
          <a:latin typeface="+mn-lt"/>
          <a:ea typeface="Arial" charset="0"/>
          <a:cs typeface="Arial" charset="0"/>
        </a:defRPr>
      </a:lvl3pPr>
      <a:lvl4pPr marL="16002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–"/>
        <a:defRPr sz="1400">
          <a:solidFill>
            <a:srgbClr val="003366"/>
          </a:solidFill>
          <a:latin typeface="+mn-lt"/>
          <a:ea typeface="Arial" charset="0"/>
          <a:cs typeface="Arial" charset="0"/>
        </a:defRPr>
      </a:lvl4pPr>
      <a:lvl5pPr marL="20574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ea typeface="Arial" charset="0"/>
          <a:cs typeface="Arial" charset="0"/>
        </a:defRPr>
      </a:lvl5pPr>
      <a:lvl6pPr marL="25146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6pPr>
      <a:lvl7pPr marL="29718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7pPr>
      <a:lvl8pPr marL="34290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8pPr>
      <a:lvl9pPr marL="38862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Line 2"/>
          <p:cNvSpPr>
            <a:spLocks noChangeShapeType="1"/>
          </p:cNvSpPr>
          <p:nvPr/>
        </p:nvSpPr>
        <p:spPr bwMode="auto">
          <a:xfrm>
            <a:off x="0" y="1235075"/>
            <a:ext cx="914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57150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5486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20838"/>
            <a:ext cx="8229600" cy="447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109728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3797" name="Line 7"/>
          <p:cNvSpPr>
            <a:spLocks noChangeShapeType="1"/>
          </p:cNvSpPr>
          <p:nvPr/>
        </p:nvSpPr>
        <p:spPr bwMode="auto">
          <a:xfrm>
            <a:off x="0" y="6527800"/>
            <a:ext cx="914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pic>
        <p:nvPicPr>
          <p:cNvPr id="33798" name="Picture 8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138" y="0"/>
            <a:ext cx="1439862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029" r:id="rId1"/>
    <p:sldLayoutId id="2147492817" r:id="rId2"/>
    <p:sldLayoutId id="2147492818" r:id="rId3"/>
    <p:sldLayoutId id="2147492819" r:id="rId4"/>
    <p:sldLayoutId id="2147492820" r:id="rId5"/>
    <p:sldLayoutId id="2147492821" r:id="rId6"/>
    <p:sldLayoutId id="2147492822" r:id="rId7"/>
    <p:sldLayoutId id="2147492823" r:id="rId8"/>
    <p:sldLayoutId id="2147492824" r:id="rId9"/>
    <p:sldLayoutId id="2147492825" r:id="rId10"/>
    <p:sldLayoutId id="2147492826" r:id="rId11"/>
    <p:sldLayoutId id="2147492827" r:id="rId12"/>
  </p:sldLayoutIdLst>
  <p:transition>
    <p:cut/>
  </p:transition>
  <p:txStyles>
    <p:titleStyle>
      <a:lvl1pPr algn="l" rtl="0" eaLnBrk="0" fontAlgn="base" hangingPunct="0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fontAlgn="base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6pPr>
      <a:lvl7pPr marL="914400" algn="l" rtl="0" fontAlgn="base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7pPr>
      <a:lvl8pPr marL="1371600" algn="l" rtl="0" fontAlgn="base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8pPr>
      <a:lvl9pPr marL="1828800" algn="l" rtl="0" fontAlgn="base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95000"/>
        </a:lnSpc>
        <a:spcBef>
          <a:spcPct val="75000"/>
        </a:spcBef>
        <a:spcAft>
          <a:spcPct val="0"/>
        </a:spcAft>
        <a:defRPr sz="26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339725" indent="-225425" algn="l" rtl="0" eaLnBrk="0" fontAlgn="base" hangingPunct="0">
        <a:lnSpc>
          <a:spcPct val="95000"/>
        </a:lnSpc>
        <a:spcBef>
          <a:spcPct val="25000"/>
        </a:spcBef>
        <a:spcAft>
          <a:spcPct val="0"/>
        </a:spcAft>
        <a:buSzPct val="80000"/>
        <a:buChar char="•"/>
        <a:defRPr sz="2000">
          <a:solidFill>
            <a:schemeClr val="tx1"/>
          </a:solidFill>
          <a:latin typeface="+mn-lt"/>
          <a:ea typeface="ＭＳ Ｐゴシック" charset="0"/>
        </a:defRPr>
      </a:lvl2pPr>
      <a:lvl3pPr marL="795338" indent="-220663" algn="l" rtl="0" eaLnBrk="0" fontAlgn="base" hangingPunct="0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ＭＳ Ｐゴシック" charset="0"/>
        </a:defRPr>
      </a:lvl3pPr>
      <a:lvl4pPr marL="1252538" indent="-222250" algn="l" rtl="0" eaLnBrk="0" fontAlgn="base" hangingPunct="0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ＭＳ Ｐゴシック" charset="0"/>
        </a:defRPr>
      </a:lvl4pPr>
      <a:lvl5pPr marL="1709738" indent="-222250" algn="l" rtl="0" eaLnBrk="0" fontAlgn="base" hangingPunct="0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ＭＳ Ｐゴシック" charset="0"/>
        </a:defRPr>
      </a:lvl5pPr>
      <a:lvl6pPr marL="2166938" indent="-222250" algn="l" rtl="0" fontAlgn="base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6pPr>
      <a:lvl7pPr marL="2624138" indent="-222250" algn="l" rtl="0" fontAlgn="base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7pPr>
      <a:lvl8pPr marL="3081338" indent="-222250" algn="l" rtl="0" fontAlgn="base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8pPr>
      <a:lvl9pPr marL="3538538" indent="-222250" algn="l" rtl="0" fontAlgn="base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Line 2"/>
          <p:cNvSpPr>
            <a:spLocks noChangeShapeType="1"/>
          </p:cNvSpPr>
          <p:nvPr/>
        </p:nvSpPr>
        <p:spPr bwMode="auto">
          <a:xfrm>
            <a:off x="0" y="1235075"/>
            <a:ext cx="914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35843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57150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5486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5844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20838"/>
            <a:ext cx="8229600" cy="447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109728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35845" name="Picture 8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138" y="0"/>
            <a:ext cx="1439862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030" r:id="rId1"/>
    <p:sldLayoutId id="2147492828" r:id="rId2"/>
    <p:sldLayoutId id="2147492829" r:id="rId3"/>
    <p:sldLayoutId id="2147492830" r:id="rId4"/>
    <p:sldLayoutId id="2147492831" r:id="rId5"/>
    <p:sldLayoutId id="2147492832" r:id="rId6"/>
    <p:sldLayoutId id="2147492833" r:id="rId7"/>
    <p:sldLayoutId id="2147492834" r:id="rId8"/>
    <p:sldLayoutId id="2147492835" r:id="rId9"/>
    <p:sldLayoutId id="2147492836" r:id="rId10"/>
    <p:sldLayoutId id="2147492837" r:id="rId11"/>
    <p:sldLayoutId id="2147492838" r:id="rId12"/>
  </p:sldLayoutIdLst>
  <p:transition spd="slow">
    <p:cover dir="ld"/>
  </p:transition>
  <p:txStyles>
    <p:titleStyle>
      <a:lvl1pPr algn="l" rtl="0" eaLnBrk="0" fontAlgn="base" hangingPunct="0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fontAlgn="base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6pPr>
      <a:lvl7pPr marL="914400" algn="l" rtl="0" fontAlgn="base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7pPr>
      <a:lvl8pPr marL="1371600" algn="l" rtl="0" fontAlgn="base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8pPr>
      <a:lvl9pPr marL="1828800" algn="l" rtl="0" fontAlgn="base">
        <a:lnSpc>
          <a:spcPts val="41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95000"/>
        </a:lnSpc>
        <a:spcBef>
          <a:spcPct val="75000"/>
        </a:spcBef>
        <a:spcAft>
          <a:spcPct val="0"/>
        </a:spcAft>
        <a:defRPr sz="26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339725" indent="-225425" algn="l" rtl="0" eaLnBrk="0" fontAlgn="base" hangingPunct="0">
        <a:lnSpc>
          <a:spcPct val="95000"/>
        </a:lnSpc>
        <a:spcBef>
          <a:spcPct val="25000"/>
        </a:spcBef>
        <a:spcAft>
          <a:spcPct val="0"/>
        </a:spcAft>
        <a:buSzPct val="80000"/>
        <a:buChar char="•"/>
        <a:defRPr sz="2000">
          <a:solidFill>
            <a:schemeClr val="tx1"/>
          </a:solidFill>
          <a:latin typeface="+mn-lt"/>
          <a:ea typeface="ＭＳ Ｐゴシック" charset="0"/>
        </a:defRPr>
      </a:lvl2pPr>
      <a:lvl3pPr marL="795338" indent="-220663" algn="l" rtl="0" eaLnBrk="0" fontAlgn="base" hangingPunct="0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ＭＳ Ｐゴシック" charset="0"/>
        </a:defRPr>
      </a:lvl3pPr>
      <a:lvl4pPr marL="1252538" indent="-222250" algn="l" rtl="0" eaLnBrk="0" fontAlgn="base" hangingPunct="0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ＭＳ Ｐゴシック" charset="0"/>
        </a:defRPr>
      </a:lvl4pPr>
      <a:lvl5pPr marL="1709738" indent="-222250" algn="l" rtl="0" eaLnBrk="0" fontAlgn="base" hangingPunct="0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ＭＳ Ｐゴシック" charset="0"/>
        </a:defRPr>
      </a:lvl5pPr>
      <a:lvl6pPr marL="2166938" indent="-222250" algn="l" rtl="0" fontAlgn="base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6pPr>
      <a:lvl7pPr marL="2624138" indent="-222250" algn="l" rtl="0" fontAlgn="base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7pPr>
      <a:lvl8pPr marL="3081338" indent="-222250" algn="l" rtl="0" fontAlgn="base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8pPr>
      <a:lvl9pPr marL="3538538" indent="-222250" algn="l" rtl="0" fontAlgn="base">
        <a:lnSpc>
          <a:spcPct val="95000"/>
        </a:lnSpc>
        <a:spcBef>
          <a:spcPct val="25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Line 5"/>
          <p:cNvSpPr>
            <a:spLocks noChangeShapeType="1"/>
          </p:cNvSpPr>
          <p:nvPr/>
        </p:nvSpPr>
        <p:spPr bwMode="auto">
          <a:xfrm>
            <a:off x="0" y="981075"/>
            <a:ext cx="9144000" cy="0"/>
          </a:xfrm>
          <a:prstGeom prst="line">
            <a:avLst/>
          </a:prstGeom>
          <a:noFill/>
          <a:ln w="25400">
            <a:solidFill>
              <a:srgbClr val="FFFF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37891" name="Picture 8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138" y="0"/>
            <a:ext cx="1439862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031" r:id="rId1"/>
    <p:sldLayoutId id="2147492839" r:id="rId2"/>
    <p:sldLayoutId id="2147492840" r:id="rId3"/>
    <p:sldLayoutId id="2147492841" r:id="rId4"/>
    <p:sldLayoutId id="2147492842" r:id="rId5"/>
    <p:sldLayoutId id="2147492843" r:id="rId6"/>
    <p:sldLayoutId id="2147492844" r:id="rId7"/>
    <p:sldLayoutId id="2147492845" r:id="rId8"/>
    <p:sldLayoutId id="2147492846" r:id="rId9"/>
    <p:sldLayoutId id="2147492847" r:id="rId10"/>
    <p:sldLayoutId id="2147492848" r:id="rId11"/>
    <p:sldLayoutId id="2147492849" r:id="rId12"/>
    <p:sldLayoutId id="2147492850" r:id="rId13"/>
    <p:sldLayoutId id="2147492851" r:id="rId14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rgbClr val="3333CC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40000"/>
        </a:spcBef>
        <a:spcAft>
          <a:spcPct val="20000"/>
        </a:spcAft>
        <a:buClr>
          <a:schemeClr val="accent2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647700" indent="-190500" algn="l" rtl="0" eaLnBrk="0" fontAlgn="base" hangingPunct="0">
        <a:spcBef>
          <a:spcPct val="20000"/>
        </a:spcBef>
        <a:spcAft>
          <a:spcPct val="0"/>
        </a:spcAft>
        <a:buClr>
          <a:srgbClr val="003366"/>
        </a:buClr>
        <a:buChar char="–"/>
        <a:defRPr sz="1400">
          <a:solidFill>
            <a:srgbClr val="003366"/>
          </a:solidFill>
          <a:latin typeface="+mn-lt"/>
          <a:ea typeface="ＭＳ Ｐゴシック" charset="0"/>
          <a:cs typeface="Arial" charset="0"/>
        </a:defRPr>
      </a:lvl2pPr>
      <a:lvl3pPr marL="11430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600">
          <a:solidFill>
            <a:srgbClr val="003366"/>
          </a:solidFill>
          <a:latin typeface="+mn-lt"/>
          <a:ea typeface="Arial" charset="0"/>
          <a:cs typeface="Arial" charset="0"/>
        </a:defRPr>
      </a:lvl3pPr>
      <a:lvl4pPr marL="16002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–"/>
        <a:defRPr sz="1400">
          <a:solidFill>
            <a:srgbClr val="003366"/>
          </a:solidFill>
          <a:latin typeface="+mn-lt"/>
          <a:ea typeface="Arial" charset="0"/>
          <a:cs typeface="Arial" charset="0"/>
        </a:defRPr>
      </a:lvl4pPr>
      <a:lvl5pPr marL="20574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ea typeface="Arial" charset="0"/>
          <a:cs typeface="Arial" charset="0"/>
        </a:defRPr>
      </a:lvl5pPr>
      <a:lvl6pPr marL="25146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6pPr>
      <a:lvl7pPr marL="29718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7pPr>
      <a:lvl8pPr marL="34290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8pPr>
      <a:lvl9pPr marL="3886200" indent="-228600" algn="l" rtl="0" fontAlgn="base">
        <a:lnSpc>
          <a:spcPct val="130000"/>
        </a:lnSpc>
        <a:spcBef>
          <a:spcPct val="20000"/>
        </a:spcBef>
        <a:spcAft>
          <a:spcPct val="0"/>
        </a:spcAft>
        <a:buClr>
          <a:srgbClr val="003366"/>
        </a:buClr>
        <a:buChar char="•"/>
        <a:defRPr sz="1400">
          <a:solidFill>
            <a:srgbClr val="003366"/>
          </a:solidFill>
          <a:latin typeface="+mn-lt"/>
          <a:cs typeface="Arial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ext Box 2"/>
          <p:cNvSpPr txBox="1">
            <a:spLocks noChangeArrowheads="1"/>
          </p:cNvSpPr>
          <p:nvPr userDrawn="1"/>
        </p:nvSpPr>
        <p:spPr bwMode="auto">
          <a:xfrm>
            <a:off x="447675" y="6183313"/>
            <a:ext cx="1841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l">
              <a:spcBef>
                <a:spcPct val="0"/>
              </a:spcBef>
              <a:defRPr/>
            </a:pPr>
            <a:endParaRPr lang="en-US" sz="2400" smtClean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9939" name="Rectangle 3"/>
          <p:cNvSpPr>
            <a:spLocks noChangeArrowheads="1"/>
          </p:cNvSpPr>
          <p:nvPr userDrawn="1"/>
        </p:nvSpPr>
        <p:spPr bwMode="auto">
          <a:xfrm>
            <a:off x="0" y="2057400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l">
              <a:spcBef>
                <a:spcPct val="0"/>
              </a:spcBef>
            </a:pPr>
            <a:endParaRPr lang="en-GB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2852" r:id="rId1"/>
    <p:sldLayoutId id="2147492853" r:id="rId2"/>
    <p:sldLayoutId id="2147492854" r:id="rId3"/>
    <p:sldLayoutId id="2147492855" r:id="rId4"/>
    <p:sldLayoutId id="2147492856" r:id="rId5"/>
    <p:sldLayoutId id="2147492857" r:id="rId6"/>
    <p:sldLayoutId id="2147492858" r:id="rId7"/>
    <p:sldLayoutId id="2147492859" r:id="rId8"/>
    <p:sldLayoutId id="2147492860" r:id="rId9"/>
    <p:sldLayoutId id="2147492861" r:id="rId10"/>
    <p:sldLayoutId id="2147492862" r:id="rId11"/>
    <p:sldLayoutId id="2147492863" r:id="rId12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charset="0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ea typeface="ＭＳ Ｐゴシック" charset="0"/>
          <a:cs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ea typeface="ＭＳ Ｐゴシック" charset="0"/>
          <a:cs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ea typeface="ＭＳ Ｐゴシック" charset="0"/>
          <a:cs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ea typeface="ＭＳ Ｐゴシック" charset="0"/>
          <a:cs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Arial" charset="0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Arial" charset="0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  <a:endParaRPr lang="en-US" smtClean="0"/>
          </a:p>
        </p:txBody>
      </p:sp>
      <p:sp>
        <p:nvSpPr>
          <p:cNvPr id="4096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spcBef>
                <a:spcPct val="0"/>
              </a:spcBef>
              <a:buFontTx/>
              <a:buNone/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fld id="{4C3F543D-E1BF-47AC-A348-B7127B2B1F82}" type="datetimeFigureOut">
              <a:rPr lang="en-US"/>
              <a:pPr/>
              <a:t>5/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914400" eaLnBrk="1" hangingPunct="1">
              <a:spcBef>
                <a:spcPct val="0"/>
              </a:spcBef>
              <a:buFontTx/>
              <a:buNone/>
              <a:defRPr sz="1200">
                <a:solidFill>
                  <a:srgbClr val="898989"/>
                </a:solidFill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buFontTx/>
              <a:buNone/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fld id="{FD78EB61-F984-471B-BF86-A826E101E3E4}" type="slidenum">
              <a:rPr lang="en-US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3032" r:id="rId1"/>
    <p:sldLayoutId id="2147493033" r:id="rId2"/>
    <p:sldLayoutId id="2147493034" r:id="rId3"/>
    <p:sldLayoutId id="2147493035" r:id="rId4"/>
    <p:sldLayoutId id="2147493036" r:id="rId5"/>
    <p:sldLayoutId id="2147493037" r:id="rId6"/>
    <p:sldLayoutId id="2147493038" r:id="rId7"/>
    <p:sldLayoutId id="2147493039" r:id="rId8"/>
    <p:sldLayoutId id="2147493040" r:id="rId9"/>
    <p:sldLayoutId id="2147493041" r:id="rId10"/>
    <p:sldLayoutId id="2147493042" r:id="rId11"/>
    <p:sldLayoutId id="2147493043" r:id="rId12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6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6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7.png"/><Relationship Id="rId4" Type="http://schemas.openxmlformats.org/officeDocument/2006/relationships/image" Target="../media/image12.w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6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7.png"/><Relationship Id="rId4" Type="http://schemas.openxmlformats.org/officeDocument/2006/relationships/image" Target="../media/image13.w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6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7.png"/><Relationship Id="rId4" Type="http://schemas.openxmlformats.org/officeDocument/2006/relationships/image" Target="../media/image14.w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9.xml"/><Relationship Id="rId4" Type="http://schemas.openxmlformats.org/officeDocument/2006/relationships/image" Target="file:///C:\Documents%20and%20Settings\KMosley\Local%20Settings\Temporary%20Internet%20Files\Content.IE5\8F8TCVUH\SJMC%5b1%5d.gif" TargetMode="Externa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67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7.png"/><Relationship Id="rId4" Type="http://schemas.openxmlformats.org/officeDocument/2006/relationships/image" Target="../media/image15.w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6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7.png"/><Relationship Id="rId4" Type="http://schemas.openxmlformats.org/officeDocument/2006/relationships/image" Target="../media/image16.w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2.xml"/><Relationship Id="rId4" Type="http://schemas.openxmlformats.org/officeDocument/2006/relationships/image" Target="/C/Documents%20and%20Settings/KMosley/Local%20Settings/Temporary%20Internet%20Files/Content.IE5/8F8TCVUH/SJMC%5b1%5d.gif" TargetMode="External"/></Relationships>
</file>

<file path=ppt/slides/_rels/slide20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303" Type="http://schemas.openxmlformats.org/officeDocument/2006/relationships/tags" Target="../tags/tag303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0" Type="http://schemas.openxmlformats.org/officeDocument/2006/relationships/tags" Target="../tags/tag240.xml"/><Relationship Id="rId245" Type="http://schemas.openxmlformats.org/officeDocument/2006/relationships/tags" Target="../tags/tag245.xml"/><Relationship Id="rId261" Type="http://schemas.openxmlformats.org/officeDocument/2006/relationships/tags" Target="../tags/tag261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14" Type="http://schemas.openxmlformats.org/officeDocument/2006/relationships/tags" Target="../tags/tag14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282" Type="http://schemas.openxmlformats.org/officeDocument/2006/relationships/tags" Target="../tags/tag282.xml"/><Relationship Id="rId312" Type="http://schemas.openxmlformats.org/officeDocument/2006/relationships/tags" Target="../tags/tag312.xml"/><Relationship Id="rId317" Type="http://schemas.openxmlformats.org/officeDocument/2006/relationships/slideLayout" Target="../slideLayouts/slideLayout107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189" Type="http://schemas.openxmlformats.org/officeDocument/2006/relationships/tags" Target="../tags/tag189.xml"/><Relationship Id="rId219" Type="http://schemas.openxmlformats.org/officeDocument/2006/relationships/tags" Target="../tags/tag219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0" Type="http://schemas.openxmlformats.org/officeDocument/2006/relationships/tags" Target="../tags/tag230.xml"/><Relationship Id="rId235" Type="http://schemas.openxmlformats.org/officeDocument/2006/relationships/tags" Target="../tags/tag235.xml"/><Relationship Id="rId251" Type="http://schemas.openxmlformats.org/officeDocument/2006/relationships/tags" Target="../tags/tag251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2" Type="http://schemas.openxmlformats.org/officeDocument/2006/relationships/tags" Target="../tags/tag302.xml"/><Relationship Id="rId307" Type="http://schemas.openxmlformats.org/officeDocument/2006/relationships/tags" Target="../tags/tag30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79" Type="http://schemas.openxmlformats.org/officeDocument/2006/relationships/tags" Target="../tags/tag179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0" Type="http://schemas.openxmlformats.org/officeDocument/2006/relationships/tags" Target="../tags/tag220.xml"/><Relationship Id="rId225" Type="http://schemas.openxmlformats.org/officeDocument/2006/relationships/tags" Target="../tags/tag225.xml"/><Relationship Id="rId241" Type="http://schemas.openxmlformats.org/officeDocument/2006/relationships/tags" Target="../tags/tag241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3" Type="http://schemas.openxmlformats.org/officeDocument/2006/relationships/tags" Target="../tags/tag313.xml"/><Relationship Id="rId318" Type="http://schemas.openxmlformats.org/officeDocument/2006/relationships/notesSlide" Target="../notesSlides/notesSlide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94" Type="http://schemas.openxmlformats.org/officeDocument/2006/relationships/tags" Target="../tags/tag94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48" Type="http://schemas.openxmlformats.org/officeDocument/2006/relationships/tags" Target="../tags/tag148.xml"/><Relationship Id="rId164" Type="http://schemas.openxmlformats.org/officeDocument/2006/relationships/tags" Target="../tags/tag164.xml"/><Relationship Id="rId169" Type="http://schemas.openxmlformats.org/officeDocument/2006/relationships/tags" Target="../tags/tag169.xml"/><Relationship Id="rId185" Type="http://schemas.openxmlformats.org/officeDocument/2006/relationships/tags" Target="../tags/tag185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80" Type="http://schemas.openxmlformats.org/officeDocument/2006/relationships/tags" Target="../tags/tag180.xml"/><Relationship Id="rId210" Type="http://schemas.openxmlformats.org/officeDocument/2006/relationships/tags" Target="../tags/tag21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image" Target="../media/image7.png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95.xml"/><Relationship Id="rId4" Type="http://schemas.openxmlformats.org/officeDocument/2006/relationships/image" Target="../media/image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3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5.wmf"/><Relationship Id="rId1" Type="http://schemas.openxmlformats.org/officeDocument/2006/relationships/slideLayout" Target="../slideLayouts/slideLayout14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9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1.xml"/><Relationship Id="rId5" Type="http://schemas.openxmlformats.org/officeDocument/2006/relationships/image" Target="file:///C:\Documents%20and%20Settings\KMosley\Local%20Settings\Temporary%20Internet%20Files\Content.IE5\8F8TCVUH\SJMC%5b1%5d.gif" TargetMode="External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3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2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1.xml"/><Relationship Id="rId5" Type="http://schemas.openxmlformats.org/officeDocument/2006/relationships/image" Target="file:///C:\Documents%20and%20Settings\KMosley\Local%20Settings\Temporary%20Internet%20Files\Content.IE5\8F8TCVUH\SJMC%5b1%5d.gif" TargetMode="External"/><Relationship Id="rId4" Type="http://schemas.openxmlformats.org/officeDocument/2006/relationships/image" Target="../media/image8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notesSlide" Target="../notesSlides/notesSlide11.xml"/><Relationship Id="rId7" Type="http://schemas.openxmlformats.org/officeDocument/2006/relationships/oleObject" Target="../embeddings/oleObject22.bin"/><Relationship Id="rId2" Type="http://schemas.openxmlformats.org/officeDocument/2006/relationships/slideLayout" Target="../slideLayouts/slideLayout22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7.png"/><Relationship Id="rId5" Type="http://schemas.openxmlformats.org/officeDocument/2006/relationships/oleObject" Target="../embeddings/oleObject21.bin"/><Relationship Id="rId10" Type="http://schemas.openxmlformats.org/officeDocument/2006/relationships/image" Target="../media/image31.png"/><Relationship Id="rId4" Type="http://schemas.openxmlformats.org/officeDocument/2006/relationships/image" Target="../media/image29.jpeg"/><Relationship Id="rId9" Type="http://schemas.openxmlformats.org/officeDocument/2006/relationships/image" Target="../media/image30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notesSlide" Target="../notesSlides/notesSlide12.xml"/><Relationship Id="rId7" Type="http://schemas.openxmlformats.org/officeDocument/2006/relationships/oleObject" Target="../embeddings/oleObject23.bin"/><Relationship Id="rId2" Type="http://schemas.openxmlformats.org/officeDocument/2006/relationships/slideLayout" Target="../slideLayouts/slideLayout15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png"/><Relationship Id="rId5" Type="http://schemas.openxmlformats.org/officeDocument/2006/relationships/image" Target="../media/image30.png"/><Relationship Id="rId10" Type="http://schemas.openxmlformats.org/officeDocument/2006/relationships/image" Target="../media/image28.png"/><Relationship Id="rId4" Type="http://schemas.openxmlformats.org/officeDocument/2006/relationships/image" Target="../media/image32.jpeg"/><Relationship Id="rId9" Type="http://schemas.openxmlformats.org/officeDocument/2006/relationships/oleObject" Target="../embeddings/oleObject24.bin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7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png"/><Relationship Id="rId4" Type="http://schemas.openxmlformats.org/officeDocument/2006/relationships/image" Target="../media/image9.w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6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4.wmf"/><Relationship Id="rId1" Type="http://schemas.openxmlformats.org/officeDocument/2006/relationships/slideLayout" Target="../slideLayouts/slideLayout16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24.xml"/><Relationship Id="rId5" Type="http://schemas.openxmlformats.org/officeDocument/2006/relationships/image" Target="file:///C:\Documents%20and%20Settings\KMosley\Local%20Settings\Temporary%20Internet%20Files\Content.IE5\8F8TCVUH\SJMC%5b1%5d.gif" TargetMode="External"/><Relationship Id="rId4" Type="http://schemas.openxmlformats.org/officeDocument/2006/relationships/image" Target="../media/image8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26.xml"/><Relationship Id="rId4" Type="http://schemas.openxmlformats.org/officeDocument/2006/relationships/image" Target="../media/image37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1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file:///C:\Documents%20and%20Settings\KMosley\Local%20Settings\Temporary%20Internet%20Files\Content.IE5\8F8TCVUH\SJMC%5b1%5d.gif" TargetMode="External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90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41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w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21.xml"/><Relationship Id="rId4" Type="http://schemas.openxmlformats.org/officeDocument/2006/relationships/image" Target="../media/image43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354.xml"/><Relationship Id="rId7" Type="http://schemas.openxmlformats.org/officeDocument/2006/relationships/image" Target="../media/image44.png"/><Relationship Id="rId2" Type="http://schemas.openxmlformats.org/officeDocument/2006/relationships/tags" Target="../tags/tag317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Microsoft_Excel_Chart1.xls"/><Relationship Id="rId5" Type="http://schemas.openxmlformats.org/officeDocument/2006/relationships/oleObject" Target="../embeddings/oleObject25.bin"/><Relationship Id="rId10" Type="http://schemas.openxmlformats.org/officeDocument/2006/relationships/image" Target="file:///C:\Documents%20and%20Settings\KMosley\Local%20Settings\Temporary%20Internet%20Files\Content.IE5\8F8TCVUH\SJMC%5b1%5d.gif" TargetMode="External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8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24.xml"/><Relationship Id="rId4" Type="http://schemas.openxmlformats.org/officeDocument/2006/relationships/image" Target="file:///C:\Documents%20and%20Settings\KMosley\Local%20Settings\Temporary%20Internet%20Files\Content.IE5\8F8TCVUH\SJMC%5b1%5d.gif" TargetMode="Externa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31.xml"/><Relationship Id="rId4" Type="http://schemas.openxmlformats.org/officeDocument/2006/relationships/image" Target="file:///C:\Documents%20and%20Settings\KMosley\Local%20Settings\Temporary%20Internet%20Files\Content.IE5\8F8TCVUH\SJMC%5b1%5d.gif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wmf"/><Relationship Id="rId13" Type="http://schemas.openxmlformats.org/officeDocument/2006/relationships/oleObject" Target="../embeddings/oleObject7.bin"/><Relationship Id="rId18" Type="http://schemas.openxmlformats.org/officeDocument/2006/relationships/image" Target="../media/image16.wmf"/><Relationship Id="rId3" Type="http://schemas.openxmlformats.org/officeDocument/2006/relationships/oleObject" Target="../embeddings/oleObject2.bin"/><Relationship Id="rId21" Type="http://schemas.openxmlformats.org/officeDocument/2006/relationships/oleObject" Target="../embeddings/oleObject11.bin"/><Relationship Id="rId7" Type="http://schemas.openxmlformats.org/officeDocument/2006/relationships/oleObject" Target="../embeddings/oleObject4.bin"/><Relationship Id="rId12" Type="http://schemas.openxmlformats.org/officeDocument/2006/relationships/image" Target="../media/image13.wmf"/><Relationship Id="rId17" Type="http://schemas.openxmlformats.org/officeDocument/2006/relationships/oleObject" Target="../embeddings/oleObject9.bin"/><Relationship Id="rId2" Type="http://schemas.openxmlformats.org/officeDocument/2006/relationships/slideLayout" Target="../slideLayouts/slideLayout53.xml"/><Relationship Id="rId16" Type="http://schemas.openxmlformats.org/officeDocument/2006/relationships/image" Target="../media/image15.wmf"/><Relationship Id="rId20" Type="http://schemas.openxmlformats.org/officeDocument/2006/relationships/image" Target="../media/image17.wmf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wmf"/><Relationship Id="rId11" Type="http://schemas.openxmlformats.org/officeDocument/2006/relationships/oleObject" Target="../embeddings/oleObject6.bin"/><Relationship Id="rId5" Type="http://schemas.openxmlformats.org/officeDocument/2006/relationships/oleObject" Target="../embeddings/oleObject3.bin"/><Relationship Id="rId15" Type="http://schemas.openxmlformats.org/officeDocument/2006/relationships/oleObject" Target="../embeddings/oleObject8.bin"/><Relationship Id="rId23" Type="http://schemas.openxmlformats.org/officeDocument/2006/relationships/image" Target="../media/image7.png"/><Relationship Id="rId10" Type="http://schemas.openxmlformats.org/officeDocument/2006/relationships/image" Target="../media/image12.wmf"/><Relationship Id="rId19" Type="http://schemas.openxmlformats.org/officeDocument/2006/relationships/oleObject" Target="../embeddings/oleObject10.bin"/><Relationship Id="rId4" Type="http://schemas.openxmlformats.org/officeDocument/2006/relationships/image" Target="../media/image10.wmf"/><Relationship Id="rId9" Type="http://schemas.openxmlformats.org/officeDocument/2006/relationships/oleObject" Target="../embeddings/oleObject5.bin"/><Relationship Id="rId14" Type="http://schemas.openxmlformats.org/officeDocument/2006/relationships/image" Target="../media/image14.wmf"/><Relationship Id="rId22" Type="http://schemas.openxmlformats.org/officeDocument/2006/relationships/image" Target="../media/image18.wmf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file:///C:\Documents%20and%20Settings\KMosley\Local%20Settings\Temporary%20Internet%20Files\Content.IE5\8F8TCVUH\SJMC%5b1%5d.gif" TargetMode="External"/><Relationship Id="rId3" Type="http://schemas.openxmlformats.org/officeDocument/2006/relationships/oleObject" Target="../embeddings/oleObject26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2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7.png"/><Relationship Id="rId5" Type="http://schemas.openxmlformats.org/officeDocument/2006/relationships/image" Target="../media/image45.wmf"/><Relationship Id="rId4" Type="http://schemas.openxmlformats.org/officeDocument/2006/relationships/oleObject" Target="../embeddings/Microsoft_Word_97_-_2003_Document2.doc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7" Type="http://schemas.openxmlformats.org/officeDocument/2006/relationships/image" Target="file:///C:\Documents%20and%20Settings\KMosley\Local%20Settings\Temporary%20Internet%20Files\Content.IE5\8F8TCVUH\SJMC%5b1%5d.gif" TargetMode="External"/><Relationship Id="rId2" Type="http://schemas.openxmlformats.org/officeDocument/2006/relationships/image" Target="../media/image46.gif"/><Relationship Id="rId1" Type="http://schemas.openxmlformats.org/officeDocument/2006/relationships/slideLayout" Target="../slideLayouts/slideLayout240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48.jpe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35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35.xml"/><Relationship Id="rId6" Type="http://schemas.openxmlformats.org/officeDocument/2006/relationships/image" Target="file:///C:\Documents%20and%20Settings\KMosley\Local%20Settings\Temporary%20Internet%20Files\Content.IE5\8F8TCVUH\SJMC%5b1%5d.gif" TargetMode="Externa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7" Type="http://schemas.openxmlformats.org/officeDocument/2006/relationships/image" Target="file:///C:\Documents%20and%20Settings\KMosley\Local%20Settings\Temporary%20Internet%20Files\Content.IE5\8F8TCVUH\SJMC%5b1%5d.gif" TargetMode="External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25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55.pn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27.bin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7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7.w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56.wmf"/><Relationship Id="rId9" Type="http://schemas.openxmlformats.org/officeDocument/2006/relationships/image" Target="file:///C:\Documents%20and%20Settings\KMosley\Local%20Settings\Temporary%20Internet%20Files\Content.IE5\8F8TCVUH\SJMC%5b1%5d.gif" TargetMode="Externa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79.xml"/><Relationship Id="rId6" Type="http://schemas.openxmlformats.org/officeDocument/2006/relationships/image" Target="file:///C:\Documents%20and%20Settings\KMosley\Local%20Settings\Temporary%20Internet%20Files\Content.IE5\8F8TCVUH\SJMC%5b1%5d.gif" TargetMode="Externa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87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41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7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0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5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.png"/><Relationship Id="rId4" Type="http://schemas.openxmlformats.org/officeDocument/2006/relationships/image" Target="../media/image19.wmf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10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7" Type="http://schemas.openxmlformats.org/officeDocument/2006/relationships/image" Target="file:///C:\Documents%20and%20Settings\KMosley\Local%20Settings\Temporary%20Internet%20Files\Content.IE5\8F8TCVUH\SJMC%5b1%5d.gif" TargetMode="External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1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7.png"/><Relationship Id="rId4" Type="http://schemas.openxmlformats.org/officeDocument/2006/relationships/image" Target="../media/image10.w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7.png"/><Relationship Id="rId4" Type="http://schemas.openxmlformats.org/officeDocument/2006/relationships/image" Target="../media/image20.w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21.png"/><Relationship Id="rId4" Type="http://schemas.openxmlformats.org/officeDocument/2006/relationships/oleObject" Target="../embeddings/oleObject1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081" name="Picture 3" descr="Imperial College Col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2463" y="446088"/>
            <a:ext cx="4338637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082" name="Picture 2" descr="http://www.iis.ee.ic.ac.uk/~stimotheou/images/ICL_logo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775" y="446088"/>
            <a:ext cx="2193925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083" name="Rectangle 8"/>
          <p:cNvSpPr>
            <a:spLocks noChangeArrowheads="1"/>
          </p:cNvSpPr>
          <p:nvPr/>
        </p:nvSpPr>
        <p:spPr bwMode="auto">
          <a:xfrm>
            <a:off x="467544" y="1484313"/>
            <a:ext cx="8333556" cy="20005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457200" eaLnBrk="1" hangingPunct="1">
              <a:spcBef>
                <a:spcPct val="0"/>
              </a:spcBef>
              <a:buFontTx/>
              <a:buNone/>
            </a:pPr>
            <a:r>
              <a:rPr lang="en-US" sz="5400" dirty="0">
                <a:solidFill>
                  <a:srgbClr val="1A61B6"/>
                </a:solidFill>
                <a:cs typeface="Arial" pitchFamily="34" charset="0"/>
              </a:rPr>
              <a:t>Drug d</a:t>
            </a:r>
            <a:r>
              <a:rPr lang="en-US" sz="5400" dirty="0" smtClean="0">
                <a:solidFill>
                  <a:srgbClr val="1A61B6"/>
                </a:solidFill>
                <a:cs typeface="Arial" pitchFamily="34" charset="0"/>
              </a:rPr>
              <a:t>evelopment and translational medicine</a:t>
            </a:r>
            <a:endParaRPr lang="en-US" sz="5400" dirty="0">
              <a:solidFill>
                <a:srgbClr val="1A61B6"/>
              </a:solidFill>
              <a:cs typeface="Arial" pitchFamily="34" charset="0"/>
            </a:endParaRPr>
          </a:p>
          <a:p>
            <a:pPr algn="r" defTabSz="457200" eaLnBrk="1" hangingPunct="1">
              <a:spcBef>
                <a:spcPct val="0"/>
              </a:spcBef>
              <a:buFontTx/>
              <a:buNone/>
            </a:pPr>
            <a:endParaRPr lang="en-US" sz="1600" b="1" dirty="0">
              <a:solidFill>
                <a:srgbClr val="1A61B6"/>
              </a:solidFill>
              <a:latin typeface="Helvetica" charset="0"/>
            </a:endParaRPr>
          </a:p>
        </p:txBody>
      </p:sp>
      <p:sp>
        <p:nvSpPr>
          <p:cNvPr id="174084" name="Rectangle 1"/>
          <p:cNvSpPr>
            <a:spLocks noChangeArrowheads="1"/>
          </p:cNvSpPr>
          <p:nvPr/>
        </p:nvSpPr>
        <p:spPr bwMode="auto">
          <a:xfrm>
            <a:off x="2339975" y="3580111"/>
            <a:ext cx="4572000" cy="27392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en-GB" sz="3200" dirty="0">
                <a:solidFill>
                  <a:srgbClr val="000099"/>
                </a:solidFill>
                <a:cs typeface="Arial" pitchFamily="34" charset="0"/>
              </a:rPr>
              <a:t>Dr </a:t>
            </a:r>
            <a:r>
              <a:rPr lang="en-GB" sz="3200" dirty="0" smtClean="0">
                <a:solidFill>
                  <a:srgbClr val="000099"/>
                </a:solidFill>
                <a:cs typeface="Arial" pitchFamily="34" charset="0"/>
              </a:rPr>
              <a:t>Vincenzo </a:t>
            </a:r>
            <a:r>
              <a:rPr lang="en-GB" sz="3200" dirty="0" err="1" smtClean="0">
                <a:solidFill>
                  <a:srgbClr val="000099"/>
                </a:solidFill>
                <a:cs typeface="Arial" pitchFamily="34" charset="0"/>
              </a:rPr>
              <a:t>Libri</a:t>
            </a:r>
            <a:endParaRPr lang="en-GB" sz="3200" dirty="0">
              <a:solidFill>
                <a:srgbClr val="000099"/>
              </a:solidFill>
              <a:cs typeface="Arial" pitchFamily="34" charset="0"/>
            </a:endParaRPr>
          </a:p>
          <a:p>
            <a:pPr>
              <a:spcBef>
                <a:spcPct val="0"/>
              </a:spcBef>
              <a:buFontTx/>
              <a:buNone/>
            </a:pPr>
            <a:endParaRPr lang="en-GB" sz="1400" b="1" dirty="0">
              <a:solidFill>
                <a:srgbClr val="000099"/>
              </a:solidFill>
              <a:cs typeface="Arial" pitchFamily="34" charset="0"/>
            </a:endParaRPr>
          </a:p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GB" sz="1400" dirty="0">
                <a:solidFill>
                  <a:srgbClr val="000099"/>
                </a:solidFill>
                <a:cs typeface="Arial" pitchFamily="34" charset="0"/>
              </a:rPr>
              <a:t>Head of Clinical Studies</a:t>
            </a:r>
          </a:p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GB" sz="1400" dirty="0" err="1">
                <a:solidFill>
                  <a:srgbClr val="000099"/>
                </a:solidFill>
                <a:cs typeface="Arial" pitchFamily="34" charset="0"/>
              </a:rPr>
              <a:t>Wellcome</a:t>
            </a:r>
            <a:r>
              <a:rPr lang="en-GB" sz="1400" dirty="0">
                <a:solidFill>
                  <a:srgbClr val="000099"/>
                </a:solidFill>
                <a:cs typeface="Arial" pitchFamily="34" charset="0"/>
              </a:rPr>
              <a:t> Trust McMichael Clinical Research Facility</a:t>
            </a:r>
          </a:p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GB" sz="1400" dirty="0">
                <a:solidFill>
                  <a:srgbClr val="000099"/>
                </a:solidFill>
                <a:cs typeface="Arial" pitchFamily="34" charset="0"/>
              </a:rPr>
              <a:t>Department of Medicine</a:t>
            </a:r>
          </a:p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GB" sz="1400" dirty="0">
                <a:solidFill>
                  <a:srgbClr val="000099"/>
                </a:solidFill>
                <a:cs typeface="Arial" pitchFamily="34" charset="0"/>
              </a:rPr>
              <a:t>Division of Experimental Medicine </a:t>
            </a:r>
          </a:p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GB" sz="1400" dirty="0">
                <a:solidFill>
                  <a:srgbClr val="000099"/>
                </a:solidFill>
                <a:cs typeface="Arial" pitchFamily="34" charset="0"/>
              </a:rPr>
              <a:t>Imperial College, Hammersmith Campus</a:t>
            </a:r>
          </a:p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GB" sz="1400" dirty="0">
                <a:solidFill>
                  <a:srgbClr val="000099"/>
                </a:solidFill>
                <a:cs typeface="Arial" pitchFamily="34" charset="0"/>
              </a:rPr>
              <a:t>Du Cane Road, London W12 0H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21" name="Rectangle 2"/>
          <p:cNvSpPr>
            <a:spLocks noGrp="1" noChangeArrowheads="1"/>
          </p:cNvSpPr>
          <p:nvPr>
            <p:ph type="title"/>
          </p:nvPr>
        </p:nvSpPr>
        <p:spPr>
          <a:xfrm>
            <a:off x="428625" y="0"/>
            <a:ext cx="8229600" cy="1143000"/>
          </a:xfrm>
        </p:spPr>
        <p:txBody>
          <a:bodyPr/>
          <a:lstStyle/>
          <a:p>
            <a:pPr eaLnBrk="1" hangingPunct="1"/>
            <a:r>
              <a:rPr lang="en-GB" sz="2800" smtClean="0">
                <a:solidFill>
                  <a:srgbClr val="FF0000"/>
                </a:solidFill>
                <a:ea typeface="ＭＳ Ｐゴシック" pitchFamily="34" charset="-128"/>
              </a:rPr>
              <a:t>Phase I</a:t>
            </a:r>
          </a:p>
        </p:txBody>
      </p:sp>
      <p:graphicFrame>
        <p:nvGraphicFramePr>
          <p:cNvPr id="184322" name="Object 3"/>
          <p:cNvGraphicFramePr>
            <a:graphicFrameLocks noChangeAspect="1"/>
          </p:cNvGraphicFramePr>
          <p:nvPr>
            <p:ph type="clipArt" sz="half" idx="2"/>
          </p:nvPr>
        </p:nvGraphicFramePr>
        <p:xfrm>
          <a:off x="5448300" y="1620838"/>
          <a:ext cx="2441575" cy="44751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26" name="Clip" r:id="rId3" imgW="654710" imgH="1167689" progId="">
                  <p:embed/>
                </p:oleObj>
              </mc:Choice>
              <mc:Fallback>
                <p:oleObj name="Clip" r:id="rId3" imgW="654710" imgH="1167689" progId="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48300" y="1620838"/>
                        <a:ext cx="2441575" cy="44751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23" name="Rectangle 4"/>
          <p:cNvSpPr>
            <a:spLocks noGrp="1" noChangeArrowheads="1"/>
          </p:cNvSpPr>
          <p:nvPr>
            <p:ph type="body" sz="half" idx="1"/>
          </p:nvPr>
        </p:nvSpPr>
        <p:spPr>
          <a:xfrm>
            <a:off x="457200" y="1620838"/>
            <a:ext cx="4033838" cy="4475162"/>
          </a:xfrm>
        </p:spPr>
        <p:txBody>
          <a:bodyPr/>
          <a:lstStyle/>
          <a:p>
            <a:pPr marL="0" indent="0" eaLnBrk="1" hangingPunct="1"/>
            <a:r>
              <a:rPr lang="en-GB" sz="2200" smtClean="0">
                <a:ea typeface="ＭＳ Ｐゴシック" pitchFamily="34" charset="-128"/>
              </a:rPr>
              <a:t>To assess:</a:t>
            </a:r>
          </a:p>
          <a:p>
            <a:pPr marL="0" indent="0" eaLnBrk="1" hangingPunct="1"/>
            <a:endParaRPr lang="en-GB" sz="2200" smtClean="0">
              <a:ea typeface="ＭＳ Ｐゴシック" pitchFamily="34" charset="-128"/>
            </a:endParaRPr>
          </a:p>
          <a:p>
            <a:pPr lvl="1" eaLnBrk="1" hangingPunct="1"/>
            <a:r>
              <a:rPr lang="en-GB" sz="2200" smtClean="0">
                <a:ea typeface="ＭＳ Ｐゴシック" pitchFamily="34" charset="-128"/>
              </a:rPr>
              <a:t>safety, tolerability, and dose range in healthy volunteers</a:t>
            </a:r>
          </a:p>
          <a:p>
            <a:pPr lvl="1" eaLnBrk="1" hangingPunct="1"/>
            <a:endParaRPr lang="en-GB" sz="2200" smtClean="0">
              <a:ea typeface="ＭＳ Ｐゴシック" pitchFamily="34" charset="-128"/>
            </a:endParaRPr>
          </a:p>
          <a:p>
            <a:pPr lvl="1" eaLnBrk="1" hangingPunct="1"/>
            <a:r>
              <a:rPr lang="en-GB" sz="2200" smtClean="0">
                <a:ea typeface="ＭＳ Ｐゴシック" pitchFamily="34" charset="-128"/>
              </a:rPr>
              <a:t>Pharmacokinetics, pharmacodynamics</a:t>
            </a:r>
          </a:p>
          <a:p>
            <a:pPr lvl="1" eaLnBrk="1" hangingPunct="1"/>
            <a:endParaRPr lang="en-GB" sz="2200" smtClean="0">
              <a:ea typeface="ＭＳ Ｐゴシック" pitchFamily="34" charset="-128"/>
            </a:endParaRPr>
          </a:p>
          <a:p>
            <a:pPr lvl="1" eaLnBrk="1" hangingPunct="1"/>
            <a:r>
              <a:rPr lang="en-GB" sz="2200" smtClean="0">
                <a:ea typeface="ＭＳ Ｐゴシック" pitchFamily="34" charset="-128"/>
              </a:rPr>
              <a:t>20-100 subjects</a:t>
            </a:r>
          </a:p>
          <a:p>
            <a:pPr lvl="1" eaLnBrk="1" hangingPunct="1"/>
            <a:endParaRPr lang="en-GB" sz="2200" smtClean="0">
              <a:ea typeface="ＭＳ Ｐゴシック" pitchFamily="34" charset="-128"/>
            </a:endParaRPr>
          </a:p>
          <a:p>
            <a:pPr lvl="1" eaLnBrk="1" hangingPunct="1"/>
            <a:r>
              <a:rPr lang="en-GB" sz="2200" smtClean="0">
                <a:ea typeface="ＭＳ Ｐゴシック" pitchFamily="34" charset="-128"/>
              </a:rPr>
              <a:t>Short term</a:t>
            </a:r>
          </a:p>
        </p:txBody>
      </p:sp>
      <p:sp>
        <p:nvSpPr>
          <p:cNvPr id="184324" name="Rectangle 4"/>
          <p:cNvSpPr>
            <a:spLocks noChangeArrowheads="1"/>
          </p:cNvSpPr>
          <p:nvPr/>
        </p:nvSpPr>
        <p:spPr bwMode="auto">
          <a:xfrm>
            <a:off x="7572375" y="0"/>
            <a:ext cx="1571625" cy="64293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184325" name="Picture 6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60350"/>
            <a:ext cx="1690687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34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sz="2800" smtClean="0">
                <a:solidFill>
                  <a:srgbClr val="FF0000"/>
                </a:solidFill>
                <a:ea typeface="ＭＳ Ｐゴシック" pitchFamily="34" charset="-128"/>
              </a:rPr>
              <a:t>Phase II</a:t>
            </a:r>
          </a:p>
        </p:txBody>
      </p:sp>
      <p:sp>
        <p:nvSpPr>
          <p:cNvPr id="185346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457200" y="1620838"/>
            <a:ext cx="4033838" cy="4475162"/>
          </a:xfrm>
        </p:spPr>
        <p:txBody>
          <a:bodyPr/>
          <a:lstStyle/>
          <a:p>
            <a:pPr marL="0" indent="0" eaLnBrk="1" hangingPunct="1"/>
            <a:r>
              <a:rPr lang="en-GB" sz="2200" smtClean="0">
                <a:ea typeface="ＭＳ Ｐゴシック" pitchFamily="34" charset="-128"/>
              </a:rPr>
              <a:t>To assess:</a:t>
            </a:r>
          </a:p>
          <a:p>
            <a:pPr marL="0" indent="0" eaLnBrk="1" hangingPunct="1"/>
            <a:endParaRPr lang="en-GB" sz="2200" smtClean="0">
              <a:ea typeface="ＭＳ Ｐゴシック" pitchFamily="34" charset="-128"/>
            </a:endParaRPr>
          </a:p>
          <a:p>
            <a:pPr lvl="1" eaLnBrk="1" hangingPunct="1"/>
            <a:r>
              <a:rPr lang="en-GB" sz="2200" smtClean="0">
                <a:ea typeface="ＭＳ Ｐゴシック" pitchFamily="34" charset="-128"/>
              </a:rPr>
              <a:t>efficacy, safety, optimum dose</a:t>
            </a:r>
          </a:p>
          <a:p>
            <a:pPr lvl="1" eaLnBrk="1" hangingPunct="1"/>
            <a:r>
              <a:rPr lang="en-GB" sz="2200" smtClean="0">
                <a:ea typeface="ＭＳ Ｐゴシック" pitchFamily="34" charset="-128"/>
              </a:rPr>
              <a:t>100-500 selected patients </a:t>
            </a:r>
          </a:p>
          <a:p>
            <a:pPr lvl="1" eaLnBrk="1" hangingPunct="1"/>
            <a:r>
              <a:rPr lang="en-GB" sz="2200" smtClean="0">
                <a:ea typeface="ＭＳ Ｐゴシック" pitchFamily="34" charset="-128"/>
              </a:rPr>
              <a:t>Short term</a:t>
            </a:r>
          </a:p>
          <a:p>
            <a:pPr lvl="1" eaLnBrk="1" hangingPunct="1"/>
            <a:r>
              <a:rPr lang="en-GB" sz="2200" smtClean="0">
                <a:ea typeface="ＭＳ Ｐゴシック" pitchFamily="34" charset="-128"/>
              </a:rPr>
              <a:t>Phase II a (POC)</a:t>
            </a:r>
          </a:p>
          <a:p>
            <a:pPr lvl="1" eaLnBrk="1" hangingPunct="1"/>
            <a:r>
              <a:rPr lang="en-GB" sz="2200" smtClean="0">
                <a:ea typeface="ＭＳ Ｐゴシック" pitchFamily="34" charset="-128"/>
              </a:rPr>
              <a:t>Phase II b (full development)</a:t>
            </a:r>
          </a:p>
        </p:txBody>
      </p:sp>
      <p:graphicFrame>
        <p:nvGraphicFramePr>
          <p:cNvPr id="185347" name="Object 4"/>
          <p:cNvGraphicFramePr>
            <a:graphicFrameLocks noChangeAspect="1"/>
          </p:cNvGraphicFramePr>
          <p:nvPr>
            <p:ph type="clipArt" sz="half" idx="2"/>
          </p:nvPr>
        </p:nvGraphicFramePr>
        <p:xfrm>
          <a:off x="5127625" y="1620838"/>
          <a:ext cx="3081338" cy="44751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50" name="Clip" r:id="rId3" imgW="1725473" imgH="2440534" progId="">
                  <p:embed/>
                </p:oleObj>
              </mc:Choice>
              <mc:Fallback>
                <p:oleObj name="Clip" r:id="rId3" imgW="1725473" imgH="2440534" progId="">
                  <p:embed/>
                  <p:pic>
                    <p:nvPicPr>
                      <p:cNvPr id="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127625" y="1620838"/>
                        <a:ext cx="3081338" cy="44751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5348" name="Rectangle 4"/>
          <p:cNvSpPr>
            <a:spLocks noChangeArrowheads="1"/>
          </p:cNvSpPr>
          <p:nvPr/>
        </p:nvSpPr>
        <p:spPr bwMode="auto">
          <a:xfrm>
            <a:off x="7572375" y="0"/>
            <a:ext cx="1571625" cy="64293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185349" name="Picture 6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60350"/>
            <a:ext cx="1690687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6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sz="2800" smtClean="0">
                <a:solidFill>
                  <a:srgbClr val="FF0000"/>
                </a:solidFill>
                <a:ea typeface="ＭＳ Ｐゴシック" pitchFamily="34" charset="-128"/>
              </a:rPr>
              <a:t>Phase III</a:t>
            </a:r>
          </a:p>
        </p:txBody>
      </p:sp>
      <p:sp>
        <p:nvSpPr>
          <p:cNvPr id="186370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457200" y="1620838"/>
            <a:ext cx="4033838" cy="4475162"/>
          </a:xfrm>
        </p:spPr>
        <p:txBody>
          <a:bodyPr/>
          <a:lstStyle/>
          <a:p>
            <a:pPr marL="0" indent="0" eaLnBrk="1" hangingPunct="1"/>
            <a:r>
              <a:rPr lang="en-GB" sz="2200" smtClean="0">
                <a:ea typeface="ＭＳ Ｐゴシック" pitchFamily="34" charset="-128"/>
              </a:rPr>
              <a:t>To verify:</a:t>
            </a:r>
          </a:p>
          <a:p>
            <a:pPr marL="0" indent="0" eaLnBrk="1" hangingPunct="1"/>
            <a:endParaRPr lang="en-GB" sz="2200" smtClean="0">
              <a:ea typeface="ＭＳ Ｐゴシック" pitchFamily="34" charset="-128"/>
            </a:endParaRPr>
          </a:p>
          <a:p>
            <a:pPr lvl="1" eaLnBrk="1" hangingPunct="1"/>
            <a:r>
              <a:rPr lang="en-GB" sz="2200" smtClean="0">
                <a:ea typeface="ＭＳ Ｐゴシック" pitchFamily="34" charset="-128"/>
              </a:rPr>
              <a:t>effectiveness, safety in longer term</a:t>
            </a:r>
          </a:p>
          <a:p>
            <a:pPr lvl="1" eaLnBrk="1" hangingPunct="1"/>
            <a:r>
              <a:rPr lang="en-GB" sz="2200" smtClean="0">
                <a:ea typeface="ＭＳ Ｐゴシック" pitchFamily="34" charset="-128"/>
              </a:rPr>
              <a:t>1000-3000 patients</a:t>
            </a:r>
          </a:p>
          <a:p>
            <a:pPr lvl="1" eaLnBrk="1" hangingPunct="1"/>
            <a:r>
              <a:rPr lang="en-GB" sz="2200" smtClean="0">
                <a:ea typeface="ＭＳ Ｐゴシック" pitchFamily="34" charset="-128"/>
              </a:rPr>
              <a:t>Placebo, dose and comparator controlled trials</a:t>
            </a:r>
          </a:p>
          <a:p>
            <a:pPr lvl="1" eaLnBrk="1" hangingPunct="1"/>
            <a:r>
              <a:rPr lang="en-GB" sz="2200" smtClean="0">
                <a:ea typeface="ＭＳ Ｐゴシック" pitchFamily="34" charset="-128"/>
              </a:rPr>
              <a:t>Multi-centric</a:t>
            </a:r>
          </a:p>
        </p:txBody>
      </p:sp>
      <p:graphicFrame>
        <p:nvGraphicFramePr>
          <p:cNvPr id="186371" name="Object 4"/>
          <p:cNvGraphicFramePr>
            <a:graphicFrameLocks noChangeAspect="1"/>
          </p:cNvGraphicFramePr>
          <p:nvPr>
            <p:ph type="clipArt" sz="half" idx="2"/>
          </p:nvPr>
        </p:nvGraphicFramePr>
        <p:xfrm>
          <a:off x="4652963" y="2060575"/>
          <a:ext cx="4033837" cy="3595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74" name="Clip" r:id="rId3" imgW="1451153" imgH="1259129" progId="">
                  <p:embed/>
                </p:oleObj>
              </mc:Choice>
              <mc:Fallback>
                <p:oleObj name="Clip" r:id="rId3" imgW="1451153" imgH="1259129" progId="">
                  <p:embed/>
                  <p:pic>
                    <p:nvPicPr>
                      <p:cNvPr id="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52963" y="2060575"/>
                        <a:ext cx="4033837" cy="3595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6372" name="Rectangle 4"/>
          <p:cNvSpPr>
            <a:spLocks noChangeArrowheads="1"/>
          </p:cNvSpPr>
          <p:nvPr/>
        </p:nvSpPr>
        <p:spPr bwMode="auto">
          <a:xfrm>
            <a:off x="7500938" y="0"/>
            <a:ext cx="1643062" cy="7143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186373" name="Picture 6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60350"/>
            <a:ext cx="1690687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Rectangle 2"/>
          <p:cNvSpPr>
            <a:spLocks noGrp="1" noChangeArrowheads="1"/>
          </p:cNvSpPr>
          <p:nvPr>
            <p:ph type="title"/>
          </p:nvPr>
        </p:nvSpPr>
        <p:spPr>
          <a:xfrm>
            <a:off x="1000125" y="357188"/>
            <a:ext cx="6357938" cy="857250"/>
          </a:xfrm>
        </p:spPr>
        <p:txBody>
          <a:bodyPr/>
          <a:lstStyle/>
          <a:p>
            <a:pPr algn="ctr" eaLnBrk="1" hangingPunct="1">
              <a:tabLst>
                <a:tab pos="1433513" algn="l"/>
              </a:tabLst>
              <a:defRPr/>
            </a:pPr>
            <a:r>
              <a:rPr lang="en-GB" sz="2800" b="0" dirty="0" smtClean="0">
                <a:solidFill>
                  <a:srgbClr val="002060"/>
                </a:solidFill>
                <a:latin typeface="+mn-lt"/>
                <a:ea typeface="+mj-ea"/>
                <a:cs typeface="+mj-cs"/>
              </a:rPr>
              <a:t>Conventional clinical trial designs </a:t>
            </a:r>
          </a:p>
        </p:txBody>
      </p:sp>
      <p:sp>
        <p:nvSpPr>
          <p:cNvPr id="8196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428625" y="1500188"/>
            <a:ext cx="8358188" cy="4857750"/>
          </a:xfrm>
        </p:spPr>
        <p:txBody>
          <a:bodyPr/>
          <a:lstStyle/>
          <a:p>
            <a:pPr marL="0" indent="0" algn="ctr" eaLnBrk="1" hangingPunct="1"/>
            <a:r>
              <a:rPr lang="en-GB" sz="2400" smtClean="0">
                <a:solidFill>
                  <a:srgbClr val="FF0000"/>
                </a:solidFill>
                <a:ea typeface="ＭＳ Ｐゴシック" pitchFamily="34" charset="-128"/>
              </a:rPr>
              <a:t>double-blind – randomised - placebo-controlled</a:t>
            </a:r>
          </a:p>
        </p:txBody>
      </p:sp>
      <p:sp>
        <p:nvSpPr>
          <p:cNvPr id="61444" name="Rectangle 9"/>
          <p:cNvSpPr>
            <a:spLocks noChangeArrowheads="1"/>
          </p:cNvSpPr>
          <p:nvPr/>
        </p:nvSpPr>
        <p:spPr bwMode="auto">
          <a:xfrm>
            <a:off x="7143750" y="0"/>
            <a:ext cx="2000250" cy="1071563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>
              <a:ea typeface="+mn-ea"/>
            </a:endParaRPr>
          </a:p>
        </p:txBody>
      </p:sp>
      <p:cxnSp>
        <p:nvCxnSpPr>
          <p:cNvPr id="187396" name="Straight Connector 31"/>
          <p:cNvCxnSpPr>
            <a:cxnSpLocks noChangeShapeType="1"/>
          </p:cNvCxnSpPr>
          <p:nvPr/>
        </p:nvCxnSpPr>
        <p:spPr bwMode="auto">
          <a:xfrm>
            <a:off x="7000875" y="2428875"/>
            <a:ext cx="914400" cy="91440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grpSp>
        <p:nvGrpSpPr>
          <p:cNvPr id="187397" name="Group 32"/>
          <p:cNvGrpSpPr>
            <a:grpSpLocks/>
          </p:cNvGrpSpPr>
          <p:nvPr/>
        </p:nvGrpSpPr>
        <p:grpSpPr bwMode="auto">
          <a:xfrm>
            <a:off x="4500563" y="3357563"/>
            <a:ext cx="3929062" cy="1908175"/>
            <a:chOff x="0" y="1765925"/>
            <a:chExt cx="9144000" cy="3147919"/>
          </a:xfrm>
        </p:grpSpPr>
        <p:sp>
          <p:nvSpPr>
            <p:cNvPr id="61462" name="Line 6"/>
            <p:cNvSpPr>
              <a:spLocks noChangeShapeType="1"/>
            </p:cNvSpPr>
            <p:nvPr/>
          </p:nvSpPr>
          <p:spPr bwMode="auto">
            <a:xfrm>
              <a:off x="0" y="3402737"/>
              <a:ext cx="1197033" cy="0"/>
            </a:xfrm>
            <a:prstGeom prst="line">
              <a:avLst/>
            </a:prstGeom>
            <a:noFill/>
            <a:ln w="76200" cmpd="tri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defRPr/>
              </a:pPr>
              <a:endParaRPr lang="en-GB">
                <a:ea typeface="+mn-ea"/>
              </a:endParaRPr>
            </a:p>
          </p:txBody>
        </p:sp>
        <p:sp>
          <p:nvSpPr>
            <p:cNvPr id="61463" name="Line 7"/>
            <p:cNvSpPr>
              <a:spLocks noChangeShapeType="1"/>
            </p:cNvSpPr>
            <p:nvPr/>
          </p:nvSpPr>
          <p:spPr bwMode="auto">
            <a:xfrm flipV="1">
              <a:off x="1233978" y="2648494"/>
              <a:ext cx="997527" cy="754243"/>
            </a:xfrm>
            <a:prstGeom prst="line">
              <a:avLst/>
            </a:prstGeom>
            <a:noFill/>
            <a:ln w="76200" cmpd="tri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defRPr/>
              </a:pPr>
              <a:endParaRPr lang="en-GB">
                <a:ea typeface="+mn-ea"/>
              </a:endParaRPr>
            </a:p>
          </p:txBody>
        </p:sp>
        <p:sp>
          <p:nvSpPr>
            <p:cNvPr id="61464" name="Line 8"/>
            <p:cNvSpPr>
              <a:spLocks noChangeShapeType="1"/>
            </p:cNvSpPr>
            <p:nvPr/>
          </p:nvSpPr>
          <p:spPr bwMode="auto">
            <a:xfrm>
              <a:off x="1237672" y="3376548"/>
              <a:ext cx="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defRPr/>
              </a:pPr>
              <a:endParaRPr lang="en-GB">
                <a:ea typeface="+mn-ea"/>
              </a:endParaRPr>
            </a:p>
          </p:txBody>
        </p:sp>
        <p:sp>
          <p:nvSpPr>
            <p:cNvPr id="61465" name="Line 9"/>
            <p:cNvSpPr>
              <a:spLocks noChangeShapeType="1"/>
            </p:cNvSpPr>
            <p:nvPr/>
          </p:nvSpPr>
          <p:spPr bwMode="auto">
            <a:xfrm>
              <a:off x="1222894" y="3415833"/>
              <a:ext cx="1034473" cy="631154"/>
            </a:xfrm>
            <a:prstGeom prst="line">
              <a:avLst/>
            </a:prstGeom>
            <a:noFill/>
            <a:ln w="76200" cmpd="tri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defRPr/>
              </a:pPr>
              <a:endParaRPr lang="en-GB">
                <a:ea typeface="+mn-ea"/>
              </a:endParaRPr>
            </a:p>
          </p:txBody>
        </p:sp>
        <p:sp>
          <p:nvSpPr>
            <p:cNvPr id="61466" name="Line 11"/>
            <p:cNvSpPr>
              <a:spLocks noChangeShapeType="1"/>
            </p:cNvSpPr>
            <p:nvPr/>
          </p:nvSpPr>
          <p:spPr bwMode="auto">
            <a:xfrm>
              <a:off x="2231506" y="2638018"/>
              <a:ext cx="1599737" cy="0"/>
            </a:xfrm>
            <a:prstGeom prst="line">
              <a:avLst/>
            </a:prstGeom>
            <a:noFill/>
            <a:ln w="76200" cmpd="tri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defRPr/>
              </a:pPr>
              <a:endParaRPr lang="en-GB">
                <a:ea typeface="+mn-ea"/>
              </a:endParaRPr>
            </a:p>
          </p:txBody>
        </p:sp>
        <p:sp>
          <p:nvSpPr>
            <p:cNvPr id="61467" name="Line 12"/>
            <p:cNvSpPr>
              <a:spLocks noChangeShapeType="1"/>
            </p:cNvSpPr>
            <p:nvPr/>
          </p:nvSpPr>
          <p:spPr bwMode="auto">
            <a:xfrm>
              <a:off x="2246284" y="4036511"/>
              <a:ext cx="1518457" cy="0"/>
            </a:xfrm>
            <a:prstGeom prst="line">
              <a:avLst/>
            </a:prstGeom>
            <a:noFill/>
            <a:ln w="76200" cmpd="tri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defRPr/>
              </a:pPr>
              <a:endParaRPr lang="en-GB">
                <a:ea typeface="+mn-ea"/>
              </a:endParaRPr>
            </a:p>
          </p:txBody>
        </p:sp>
        <p:sp>
          <p:nvSpPr>
            <p:cNvPr id="61468" name="Line 13"/>
            <p:cNvSpPr>
              <a:spLocks noChangeShapeType="1"/>
            </p:cNvSpPr>
            <p:nvPr/>
          </p:nvSpPr>
          <p:spPr bwMode="auto">
            <a:xfrm flipV="1">
              <a:off x="3749963" y="2648494"/>
              <a:ext cx="1991361" cy="1388018"/>
            </a:xfrm>
            <a:prstGeom prst="line">
              <a:avLst/>
            </a:prstGeom>
            <a:noFill/>
            <a:ln w="76200" cmpd="tri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defRPr/>
              </a:pPr>
              <a:endParaRPr lang="en-GB">
                <a:ea typeface="+mn-ea"/>
              </a:endParaRPr>
            </a:p>
          </p:txBody>
        </p:sp>
        <p:sp>
          <p:nvSpPr>
            <p:cNvPr id="61469" name="Line 14"/>
            <p:cNvSpPr>
              <a:spLocks noChangeShapeType="1"/>
            </p:cNvSpPr>
            <p:nvPr/>
          </p:nvSpPr>
          <p:spPr bwMode="auto">
            <a:xfrm>
              <a:off x="3831243" y="2638018"/>
              <a:ext cx="1828801" cy="1424682"/>
            </a:xfrm>
            <a:prstGeom prst="line">
              <a:avLst/>
            </a:prstGeom>
            <a:noFill/>
            <a:ln w="76200" cmpd="tri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defRPr/>
              </a:pPr>
              <a:endParaRPr lang="en-GB">
                <a:ea typeface="+mn-ea"/>
              </a:endParaRPr>
            </a:p>
          </p:txBody>
        </p:sp>
        <p:sp>
          <p:nvSpPr>
            <p:cNvPr id="61470" name="Line 17"/>
            <p:cNvSpPr>
              <a:spLocks noChangeShapeType="1"/>
            </p:cNvSpPr>
            <p:nvPr/>
          </p:nvSpPr>
          <p:spPr bwMode="auto">
            <a:xfrm>
              <a:off x="4680989" y="3389644"/>
              <a:ext cx="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defRPr/>
              </a:pPr>
              <a:endParaRPr lang="en-GB">
                <a:ea typeface="+mn-ea"/>
              </a:endParaRPr>
            </a:p>
          </p:txBody>
        </p:sp>
        <p:sp>
          <p:nvSpPr>
            <p:cNvPr id="61471" name="Line 19"/>
            <p:cNvSpPr>
              <a:spLocks noChangeShapeType="1"/>
            </p:cNvSpPr>
            <p:nvPr/>
          </p:nvSpPr>
          <p:spPr bwMode="auto">
            <a:xfrm>
              <a:off x="5700683" y="2651114"/>
              <a:ext cx="1573877" cy="0"/>
            </a:xfrm>
            <a:prstGeom prst="line">
              <a:avLst/>
            </a:prstGeom>
            <a:noFill/>
            <a:ln w="76200" cmpd="tri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defRPr/>
              </a:pPr>
              <a:endParaRPr lang="en-GB">
                <a:ea typeface="+mn-ea"/>
              </a:endParaRPr>
            </a:p>
          </p:txBody>
        </p:sp>
        <p:sp>
          <p:nvSpPr>
            <p:cNvPr id="61472" name="Line 20"/>
            <p:cNvSpPr>
              <a:spLocks noChangeShapeType="1"/>
            </p:cNvSpPr>
            <p:nvPr/>
          </p:nvSpPr>
          <p:spPr bwMode="auto">
            <a:xfrm>
              <a:off x="5648960" y="4049607"/>
              <a:ext cx="1559098" cy="0"/>
            </a:xfrm>
            <a:prstGeom prst="line">
              <a:avLst/>
            </a:prstGeom>
            <a:noFill/>
            <a:ln w="76200" cmpd="tri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defRPr/>
              </a:pPr>
              <a:endParaRPr lang="en-GB">
                <a:ea typeface="+mn-ea"/>
              </a:endParaRPr>
            </a:p>
          </p:txBody>
        </p:sp>
        <p:sp>
          <p:nvSpPr>
            <p:cNvPr id="61473" name="Line 21"/>
            <p:cNvSpPr>
              <a:spLocks noChangeShapeType="1"/>
            </p:cNvSpPr>
            <p:nvPr/>
          </p:nvSpPr>
          <p:spPr bwMode="auto">
            <a:xfrm flipV="1">
              <a:off x="7193280" y="3470829"/>
              <a:ext cx="956889" cy="578778"/>
            </a:xfrm>
            <a:prstGeom prst="line">
              <a:avLst/>
            </a:prstGeom>
            <a:noFill/>
            <a:ln w="76200" cmpd="tri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defRPr/>
              </a:pPr>
              <a:endParaRPr lang="en-GB">
                <a:ea typeface="+mn-ea"/>
              </a:endParaRPr>
            </a:p>
          </p:txBody>
        </p:sp>
        <p:sp>
          <p:nvSpPr>
            <p:cNvPr id="61474" name="Line 22"/>
            <p:cNvSpPr>
              <a:spLocks noChangeShapeType="1"/>
            </p:cNvSpPr>
            <p:nvPr/>
          </p:nvSpPr>
          <p:spPr bwMode="auto">
            <a:xfrm>
              <a:off x="7274560" y="2651114"/>
              <a:ext cx="886691" cy="819715"/>
            </a:xfrm>
            <a:prstGeom prst="line">
              <a:avLst/>
            </a:prstGeom>
            <a:noFill/>
            <a:ln w="76200" cmpd="tri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defRPr/>
              </a:pPr>
              <a:endParaRPr lang="en-GB">
                <a:ea typeface="+mn-ea"/>
              </a:endParaRPr>
            </a:p>
          </p:txBody>
        </p:sp>
        <p:sp>
          <p:nvSpPr>
            <p:cNvPr id="61475" name="Line 23"/>
            <p:cNvSpPr>
              <a:spLocks noChangeShapeType="1"/>
            </p:cNvSpPr>
            <p:nvPr/>
          </p:nvSpPr>
          <p:spPr bwMode="auto">
            <a:xfrm>
              <a:off x="8161251" y="3455115"/>
              <a:ext cx="982749" cy="0"/>
            </a:xfrm>
            <a:prstGeom prst="line">
              <a:avLst/>
            </a:prstGeom>
            <a:noFill/>
            <a:ln w="76200" cmpd="tri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defRPr/>
              </a:pPr>
              <a:endParaRPr lang="en-GB">
                <a:ea typeface="+mn-ea"/>
              </a:endParaRPr>
            </a:p>
          </p:txBody>
        </p:sp>
        <p:sp>
          <p:nvSpPr>
            <p:cNvPr id="61476" name="Text Box 24"/>
            <p:cNvSpPr txBox="1">
              <a:spLocks noChangeArrowheads="1"/>
            </p:cNvSpPr>
            <p:nvPr/>
          </p:nvSpPr>
          <p:spPr bwMode="auto">
            <a:xfrm>
              <a:off x="1869440" y="1765925"/>
              <a:ext cx="2619432" cy="659963"/>
            </a:xfrm>
            <a:prstGeom prst="rect">
              <a:avLst/>
            </a:prstGeom>
            <a:no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l">
                <a:spcBef>
                  <a:spcPct val="0"/>
                </a:spcBef>
                <a:buFontTx/>
                <a:buNone/>
                <a:defRPr/>
              </a:pPr>
              <a:r>
                <a:rPr lang="en-US" sz="2000">
                  <a:solidFill>
                    <a:srgbClr val="000000"/>
                  </a:solidFill>
                  <a:ea typeface="+mn-ea"/>
                </a:rPr>
                <a:t>Placebo</a:t>
              </a:r>
            </a:p>
          </p:txBody>
        </p:sp>
        <p:sp>
          <p:nvSpPr>
            <p:cNvPr id="61477" name="Text Box 25"/>
            <p:cNvSpPr txBox="1">
              <a:spLocks noChangeArrowheads="1"/>
            </p:cNvSpPr>
            <p:nvPr/>
          </p:nvSpPr>
          <p:spPr bwMode="auto">
            <a:xfrm>
              <a:off x="2109585" y="4253881"/>
              <a:ext cx="1426095" cy="659963"/>
            </a:xfrm>
            <a:prstGeom prst="rect">
              <a:avLst/>
            </a:prstGeom>
            <a:no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>
                <a:spcBef>
                  <a:spcPct val="0"/>
                </a:spcBef>
                <a:buFontTx/>
                <a:buNone/>
                <a:defRPr/>
              </a:pPr>
              <a:r>
                <a:rPr lang="en-US" sz="2000">
                  <a:solidFill>
                    <a:srgbClr val="FF0000"/>
                  </a:solidFill>
                  <a:ea typeface="+mn-ea"/>
                </a:rPr>
                <a:t>INP</a:t>
              </a:r>
            </a:p>
          </p:txBody>
        </p:sp>
        <p:sp>
          <p:nvSpPr>
            <p:cNvPr id="61478" name="Text Box 26"/>
            <p:cNvSpPr txBox="1">
              <a:spLocks noChangeArrowheads="1"/>
            </p:cNvSpPr>
            <p:nvPr/>
          </p:nvSpPr>
          <p:spPr bwMode="auto">
            <a:xfrm>
              <a:off x="6047971" y="4253881"/>
              <a:ext cx="1426095" cy="659963"/>
            </a:xfrm>
            <a:prstGeom prst="rect">
              <a:avLst/>
            </a:prstGeom>
            <a:no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>
                <a:spcBef>
                  <a:spcPct val="0"/>
                </a:spcBef>
                <a:buFontTx/>
                <a:buNone/>
                <a:defRPr/>
              </a:pPr>
              <a:r>
                <a:rPr lang="en-US" sz="2000">
                  <a:solidFill>
                    <a:srgbClr val="FF0000"/>
                  </a:solidFill>
                  <a:ea typeface="+mn-ea"/>
                </a:rPr>
                <a:t>INP</a:t>
              </a:r>
            </a:p>
          </p:txBody>
        </p:sp>
        <p:sp>
          <p:nvSpPr>
            <p:cNvPr id="61479" name="Text Box 27"/>
            <p:cNvSpPr txBox="1">
              <a:spLocks noChangeArrowheads="1"/>
            </p:cNvSpPr>
            <p:nvPr/>
          </p:nvSpPr>
          <p:spPr bwMode="auto">
            <a:xfrm>
              <a:off x="5405120" y="1765925"/>
              <a:ext cx="2589878" cy="659963"/>
            </a:xfrm>
            <a:prstGeom prst="rect">
              <a:avLst/>
            </a:prstGeom>
            <a:no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l">
                <a:spcBef>
                  <a:spcPct val="0"/>
                </a:spcBef>
                <a:buFontTx/>
                <a:buNone/>
                <a:defRPr/>
              </a:pPr>
              <a:r>
                <a:rPr lang="en-US" sz="2000">
                  <a:solidFill>
                    <a:srgbClr val="000000"/>
                  </a:solidFill>
                  <a:ea typeface="+mn-ea"/>
                </a:rPr>
                <a:t>Placebo</a:t>
              </a:r>
            </a:p>
          </p:txBody>
        </p:sp>
      </p:grpSp>
      <p:sp>
        <p:nvSpPr>
          <p:cNvPr id="52" name="Rectangle 51"/>
          <p:cNvSpPr/>
          <p:nvPr/>
        </p:nvSpPr>
        <p:spPr>
          <a:xfrm>
            <a:off x="5786438" y="2357438"/>
            <a:ext cx="1519237" cy="444500"/>
          </a:xfrm>
          <a:prstGeom prst="rect">
            <a:avLst/>
          </a:prstGeom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pPr eaLnBrk="1" hangingPunct="1">
              <a:lnSpc>
                <a:spcPct val="95000"/>
              </a:lnSpc>
              <a:spcBef>
                <a:spcPct val="75000"/>
              </a:spcBef>
              <a:buFontTx/>
              <a:buNone/>
              <a:defRPr/>
            </a:pPr>
            <a:r>
              <a:rPr lang="en-GB" sz="2400" kern="0" dirty="0">
                <a:solidFill>
                  <a:srgbClr val="000000"/>
                </a:solidFill>
                <a:latin typeface="Arial"/>
                <a:ea typeface="+mn-ea"/>
              </a:rPr>
              <a:t>crossover</a:t>
            </a:r>
          </a:p>
        </p:txBody>
      </p:sp>
      <p:sp>
        <p:nvSpPr>
          <p:cNvPr id="53" name="Rectangle 52"/>
          <p:cNvSpPr/>
          <p:nvPr/>
        </p:nvSpPr>
        <p:spPr>
          <a:xfrm>
            <a:off x="1214438" y="2428875"/>
            <a:ext cx="2205037" cy="444500"/>
          </a:xfrm>
          <a:prstGeom prst="rect">
            <a:avLst/>
          </a:prstGeom>
          <a:ln>
            <a:solidFill>
              <a:schemeClr val="accent2"/>
            </a:solidFill>
          </a:ln>
        </p:spPr>
        <p:txBody>
          <a:bodyPr>
            <a:spAutoFit/>
          </a:bodyPr>
          <a:lstStyle/>
          <a:p>
            <a:pPr eaLnBrk="1" hangingPunct="1">
              <a:lnSpc>
                <a:spcPct val="95000"/>
              </a:lnSpc>
              <a:spcBef>
                <a:spcPct val="75000"/>
              </a:spcBef>
              <a:buFontTx/>
              <a:buNone/>
              <a:defRPr/>
            </a:pPr>
            <a:r>
              <a:rPr lang="en-GB" sz="2400" kern="0" dirty="0">
                <a:solidFill>
                  <a:srgbClr val="000000"/>
                </a:solidFill>
                <a:latin typeface="Arial"/>
                <a:ea typeface="+mn-ea"/>
              </a:rPr>
              <a:t>parallel arm</a:t>
            </a:r>
          </a:p>
        </p:txBody>
      </p:sp>
      <p:sp>
        <p:nvSpPr>
          <p:cNvPr id="55" name="Rectangle 54"/>
          <p:cNvSpPr/>
          <p:nvPr/>
        </p:nvSpPr>
        <p:spPr>
          <a:xfrm>
            <a:off x="6072188" y="5500688"/>
            <a:ext cx="1152525" cy="3873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eaLnBrk="1" hangingPunct="1">
              <a:lnSpc>
                <a:spcPct val="95000"/>
              </a:lnSpc>
              <a:spcBef>
                <a:spcPct val="75000"/>
              </a:spcBef>
              <a:buFontTx/>
              <a:buNone/>
              <a:defRPr/>
            </a:pPr>
            <a:r>
              <a:rPr lang="en-GB" sz="2000" kern="0" dirty="0">
                <a:solidFill>
                  <a:srgbClr val="000000"/>
                </a:solidFill>
                <a:latin typeface="Arial"/>
                <a:ea typeface="+mn-ea"/>
              </a:rPr>
              <a:t>washout</a:t>
            </a:r>
          </a:p>
        </p:txBody>
      </p:sp>
      <p:grpSp>
        <p:nvGrpSpPr>
          <p:cNvPr id="187401" name="Group 55"/>
          <p:cNvGrpSpPr>
            <a:grpSpLocks/>
          </p:cNvGrpSpPr>
          <p:nvPr/>
        </p:nvGrpSpPr>
        <p:grpSpPr bwMode="auto">
          <a:xfrm>
            <a:off x="785813" y="3286125"/>
            <a:ext cx="2330450" cy="2273300"/>
            <a:chOff x="1236663" y="1765925"/>
            <a:chExt cx="5424054" cy="2443018"/>
          </a:xfrm>
        </p:grpSpPr>
        <p:sp>
          <p:nvSpPr>
            <p:cNvPr id="61454" name="Line 8"/>
            <p:cNvSpPr>
              <a:spLocks noChangeShapeType="1"/>
            </p:cNvSpPr>
            <p:nvPr/>
          </p:nvSpPr>
          <p:spPr bwMode="auto">
            <a:xfrm>
              <a:off x="1236663" y="3376406"/>
              <a:ext cx="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defRPr/>
              </a:pPr>
              <a:endParaRPr lang="en-GB">
                <a:ea typeface="+mn-ea"/>
              </a:endParaRPr>
            </a:p>
          </p:txBody>
        </p:sp>
        <p:sp>
          <p:nvSpPr>
            <p:cNvPr id="61455" name="Line 11"/>
            <p:cNvSpPr>
              <a:spLocks noChangeShapeType="1"/>
            </p:cNvSpPr>
            <p:nvPr/>
          </p:nvSpPr>
          <p:spPr bwMode="auto">
            <a:xfrm>
              <a:off x="5060842" y="1996238"/>
              <a:ext cx="1599875" cy="0"/>
            </a:xfrm>
            <a:prstGeom prst="line">
              <a:avLst/>
            </a:prstGeom>
            <a:noFill/>
            <a:ln w="76200" cmpd="tri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defRPr/>
              </a:pPr>
              <a:endParaRPr lang="en-GB">
                <a:ea typeface="+mn-ea"/>
              </a:endParaRPr>
            </a:p>
          </p:txBody>
        </p:sp>
        <p:sp>
          <p:nvSpPr>
            <p:cNvPr id="61456" name="Line 12"/>
            <p:cNvSpPr>
              <a:spLocks noChangeShapeType="1"/>
            </p:cNvSpPr>
            <p:nvPr/>
          </p:nvSpPr>
          <p:spPr bwMode="auto">
            <a:xfrm>
              <a:off x="5060842" y="3378113"/>
              <a:ext cx="1518588" cy="0"/>
            </a:xfrm>
            <a:prstGeom prst="line">
              <a:avLst/>
            </a:prstGeom>
            <a:noFill/>
            <a:ln w="76200" cmpd="tri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defRPr/>
              </a:pPr>
              <a:endParaRPr lang="en-GB">
                <a:ea typeface="+mn-ea"/>
              </a:endParaRPr>
            </a:p>
          </p:txBody>
        </p:sp>
        <p:sp>
          <p:nvSpPr>
            <p:cNvPr id="61457" name="Line 17"/>
            <p:cNvSpPr>
              <a:spLocks noChangeShapeType="1"/>
            </p:cNvSpPr>
            <p:nvPr/>
          </p:nvSpPr>
          <p:spPr bwMode="auto">
            <a:xfrm>
              <a:off x="4680272" y="3391761"/>
              <a:ext cx="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defRPr/>
              </a:pPr>
              <a:endParaRPr lang="en-GB">
                <a:ea typeface="+mn-ea"/>
              </a:endParaRPr>
            </a:p>
          </p:txBody>
        </p:sp>
        <p:sp>
          <p:nvSpPr>
            <p:cNvPr id="61458" name="Line 19"/>
            <p:cNvSpPr>
              <a:spLocks noChangeShapeType="1"/>
            </p:cNvSpPr>
            <p:nvPr/>
          </p:nvSpPr>
          <p:spPr bwMode="auto">
            <a:xfrm>
              <a:off x="5060842" y="2687175"/>
              <a:ext cx="1574010" cy="0"/>
            </a:xfrm>
            <a:prstGeom prst="line">
              <a:avLst/>
            </a:prstGeom>
            <a:noFill/>
            <a:ln w="76200" cmpd="tri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defRPr/>
              </a:pPr>
              <a:endParaRPr lang="en-GB">
                <a:ea typeface="+mn-ea"/>
              </a:endParaRPr>
            </a:p>
          </p:txBody>
        </p:sp>
        <p:sp>
          <p:nvSpPr>
            <p:cNvPr id="61459" name="Line 20"/>
            <p:cNvSpPr>
              <a:spLocks noChangeShapeType="1"/>
            </p:cNvSpPr>
            <p:nvPr/>
          </p:nvSpPr>
          <p:spPr bwMode="auto">
            <a:xfrm>
              <a:off x="5060842" y="3992279"/>
              <a:ext cx="1559231" cy="0"/>
            </a:xfrm>
            <a:prstGeom prst="line">
              <a:avLst/>
            </a:prstGeom>
            <a:noFill/>
            <a:ln w="76200" cmpd="tri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defRPr/>
              </a:pPr>
              <a:endParaRPr lang="en-GB">
                <a:ea typeface="+mn-ea"/>
              </a:endParaRPr>
            </a:p>
          </p:txBody>
        </p:sp>
        <p:sp>
          <p:nvSpPr>
            <p:cNvPr id="61460" name="Text Box 24"/>
            <p:cNvSpPr txBox="1">
              <a:spLocks noChangeArrowheads="1"/>
            </p:cNvSpPr>
            <p:nvPr/>
          </p:nvSpPr>
          <p:spPr bwMode="auto">
            <a:xfrm>
              <a:off x="1569200" y="1765925"/>
              <a:ext cx="2601181" cy="429917"/>
            </a:xfrm>
            <a:prstGeom prst="rect">
              <a:avLst/>
            </a:prstGeom>
            <a:no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l">
                <a:spcBef>
                  <a:spcPct val="0"/>
                </a:spcBef>
                <a:buFontTx/>
                <a:buNone/>
                <a:defRPr/>
              </a:pPr>
              <a:r>
                <a:rPr lang="en-US" sz="2000">
                  <a:solidFill>
                    <a:srgbClr val="000000"/>
                  </a:solidFill>
                  <a:ea typeface="+mn-ea"/>
                </a:rPr>
                <a:t>Placebo</a:t>
              </a:r>
            </a:p>
          </p:txBody>
        </p:sp>
        <p:sp>
          <p:nvSpPr>
            <p:cNvPr id="61461" name="Text Box 25"/>
            <p:cNvSpPr txBox="1">
              <a:spLocks noChangeArrowheads="1"/>
            </p:cNvSpPr>
            <p:nvPr/>
          </p:nvSpPr>
          <p:spPr bwMode="auto">
            <a:xfrm>
              <a:off x="1569200" y="2456863"/>
              <a:ext cx="2660299" cy="1752080"/>
            </a:xfrm>
            <a:prstGeom prst="rect">
              <a:avLst/>
            </a:prstGeom>
            <a:no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l">
                <a:spcBef>
                  <a:spcPct val="0"/>
                </a:spcBef>
                <a:buFontTx/>
                <a:buNone/>
                <a:defRPr/>
              </a:pPr>
              <a:r>
                <a:rPr lang="en-US" sz="2000">
                  <a:solidFill>
                    <a:srgbClr val="FF0000"/>
                  </a:solidFill>
                  <a:ea typeface="+mn-ea"/>
                </a:rPr>
                <a:t>INP  1</a:t>
              </a:r>
            </a:p>
            <a:p>
              <a:pPr algn="l">
                <a:spcBef>
                  <a:spcPct val="0"/>
                </a:spcBef>
                <a:buFontTx/>
                <a:buNone/>
                <a:defRPr/>
              </a:pPr>
              <a:endParaRPr lang="en-US" sz="2000">
                <a:solidFill>
                  <a:srgbClr val="FF0000"/>
                </a:solidFill>
                <a:ea typeface="+mn-ea"/>
              </a:endParaRPr>
            </a:p>
            <a:p>
              <a:pPr algn="l">
                <a:spcBef>
                  <a:spcPct val="0"/>
                </a:spcBef>
                <a:buFontTx/>
                <a:buNone/>
                <a:defRPr/>
              </a:pPr>
              <a:r>
                <a:rPr lang="en-US" sz="2000">
                  <a:solidFill>
                    <a:srgbClr val="FF0000"/>
                  </a:solidFill>
                  <a:ea typeface="+mn-ea"/>
                </a:rPr>
                <a:t>INP  2</a:t>
              </a:r>
            </a:p>
            <a:p>
              <a:pPr algn="l">
                <a:spcBef>
                  <a:spcPct val="0"/>
                </a:spcBef>
                <a:buFontTx/>
                <a:buNone/>
                <a:defRPr/>
              </a:pPr>
              <a:endParaRPr lang="en-US" sz="2000">
                <a:solidFill>
                  <a:srgbClr val="FF0000"/>
                </a:solidFill>
                <a:ea typeface="+mn-ea"/>
              </a:endParaRPr>
            </a:p>
            <a:p>
              <a:pPr algn="l">
                <a:spcBef>
                  <a:spcPct val="0"/>
                </a:spcBef>
                <a:buFontTx/>
                <a:buNone/>
                <a:defRPr/>
              </a:pPr>
              <a:r>
                <a:rPr lang="en-US" sz="2000">
                  <a:solidFill>
                    <a:srgbClr val="FF0000"/>
                  </a:solidFill>
                  <a:ea typeface="+mn-ea"/>
                </a:rPr>
                <a:t>INP  3</a:t>
              </a:r>
            </a:p>
          </p:txBody>
        </p:sp>
      </p:grpSp>
      <p:grpSp>
        <p:nvGrpSpPr>
          <p:cNvPr id="187402" name="Group 4"/>
          <p:cNvGrpSpPr>
            <a:grpSpLocks/>
          </p:cNvGrpSpPr>
          <p:nvPr/>
        </p:nvGrpSpPr>
        <p:grpSpPr bwMode="auto">
          <a:xfrm>
            <a:off x="7715250" y="228600"/>
            <a:ext cx="1298575" cy="681038"/>
            <a:chOff x="7500938" y="285728"/>
            <a:chExt cx="1298575" cy="681060"/>
          </a:xfrm>
        </p:grpSpPr>
        <p:pic>
          <p:nvPicPr>
            <p:cNvPr id="187403" name="Picture 64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2396" y="285728"/>
              <a:ext cx="1071590" cy="2823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7404" name="Picture 63" descr="C:\Documents and Settings\KMosley\Local Settings\Temporary Internet Files\Content.IE5\8F8TCVUH\SJMC[1].gif"/>
            <p:cNvPicPr>
              <a:picLocks noChangeAspect="1" noChangeArrowheads="1"/>
            </p:cNvPicPr>
            <p:nvPr/>
          </p:nvPicPr>
          <p:blipFill>
            <a:blip r:embed="rId3" r:link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0938" y="668338"/>
              <a:ext cx="1298575" cy="298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ransition spd="slow">
    <p:cover dir="ld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defRPr/>
            </a:pPr>
            <a:endParaRPr lang="en-GB" b="1">
              <a:solidFill>
                <a:srgbClr val="C0C0C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46083" name="Rectangle 3"/>
          <p:cNvSpPr>
            <a:spLocks noChangeArrowheads="1"/>
          </p:cNvSpPr>
          <p:nvPr/>
        </p:nvSpPr>
        <p:spPr bwMode="auto">
          <a:xfrm>
            <a:off x="406400" y="228600"/>
            <a:ext cx="8483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54864" anchor="b"/>
          <a:lstStyle/>
          <a:p>
            <a:pPr algn="l">
              <a:spcBef>
                <a:spcPct val="0"/>
              </a:spcBef>
              <a:defRPr/>
            </a:pPr>
            <a:endParaRPr lang="en-GB" sz="1600" b="1">
              <a:solidFill>
                <a:srgbClr val="3333CC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46084" name="Rectangle 4"/>
          <p:cNvSpPr>
            <a:spLocks noChangeArrowheads="1"/>
          </p:cNvSpPr>
          <p:nvPr/>
        </p:nvSpPr>
        <p:spPr bwMode="auto">
          <a:xfrm>
            <a:off x="406400" y="1676400"/>
            <a:ext cx="7721600" cy="457200"/>
          </a:xfrm>
          <a:prstGeom prst="rect">
            <a:avLst/>
          </a:prstGeom>
          <a:solidFill>
            <a:srgbClr val="00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  <a:defRPr/>
            </a:pPr>
            <a:r>
              <a:rPr lang="en-GB" sz="2600">
                <a:solidFill>
                  <a:srgbClr val="000000"/>
                </a:solidFill>
                <a:latin typeface="Arial" charset="0"/>
                <a:ea typeface="ＭＳ Ｐゴシック" charset="0"/>
              </a:rPr>
              <a:t>Placebo</a:t>
            </a:r>
            <a:endParaRPr lang="en-US" sz="260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46085" name="Rectangle 5"/>
          <p:cNvSpPr>
            <a:spLocks noChangeArrowheads="1"/>
          </p:cNvSpPr>
          <p:nvPr/>
        </p:nvSpPr>
        <p:spPr bwMode="auto">
          <a:xfrm>
            <a:off x="406400" y="2209800"/>
            <a:ext cx="7721600" cy="457200"/>
          </a:xfrm>
          <a:prstGeom prst="rect">
            <a:avLst/>
          </a:prstGeom>
          <a:solidFill>
            <a:schemeClr val="folHlink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  <a:defRPr/>
            </a:pPr>
            <a:r>
              <a:rPr lang="en-GB" sz="2600">
                <a:solidFill>
                  <a:srgbClr val="000000"/>
                </a:solidFill>
                <a:latin typeface="Arial" charset="0"/>
                <a:ea typeface="ＭＳ Ｐゴシック" charset="0"/>
              </a:rPr>
              <a:t>NCE</a:t>
            </a:r>
            <a:endParaRPr lang="en-US" sz="260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46086" name="Rectangle 6"/>
          <p:cNvSpPr>
            <a:spLocks noChangeArrowheads="1"/>
          </p:cNvSpPr>
          <p:nvPr/>
        </p:nvSpPr>
        <p:spPr bwMode="auto">
          <a:xfrm>
            <a:off x="323850" y="2997200"/>
            <a:ext cx="8208963" cy="2973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lvl="1" algn="l">
              <a:buClr>
                <a:srgbClr val="003366"/>
              </a:buClr>
              <a:buFontTx/>
              <a:buNone/>
            </a:pPr>
            <a:r>
              <a:rPr lang="en-GB" sz="2400">
                <a:solidFill>
                  <a:srgbClr val="003366"/>
                </a:solidFill>
              </a:rPr>
              <a:t>… placebo controlled trials provide the best evidence to substantiate the claim that a drug safely and effectively treats a disease (FDA)</a:t>
            </a:r>
          </a:p>
          <a:p>
            <a:pPr lvl="1" algn="l">
              <a:buClr>
                <a:srgbClr val="003366"/>
              </a:buClr>
              <a:buFontTx/>
              <a:buNone/>
            </a:pPr>
            <a:endParaRPr lang="en-GB" sz="2400">
              <a:solidFill>
                <a:srgbClr val="003366"/>
              </a:solidFill>
            </a:endParaRPr>
          </a:p>
          <a:p>
            <a:pPr lvl="1" algn="l">
              <a:buClr>
                <a:srgbClr val="003366"/>
              </a:buClr>
              <a:buFontTx/>
              <a:buNone/>
            </a:pPr>
            <a:r>
              <a:rPr lang="en-GB" sz="2400">
                <a:solidFill>
                  <a:srgbClr val="003366"/>
                </a:solidFill>
              </a:rPr>
              <a:t>… it is unethical to withdraw effective treatments from patients (Declaration of Helsinki)</a:t>
            </a:r>
          </a:p>
          <a:p>
            <a:pPr lvl="1" algn="l">
              <a:buClr>
                <a:srgbClr val="003366"/>
              </a:buClr>
              <a:buFontTx/>
              <a:buChar char="–"/>
            </a:pPr>
            <a:endParaRPr lang="en-GB">
              <a:solidFill>
                <a:srgbClr val="003366"/>
              </a:solidFill>
            </a:endParaRPr>
          </a:p>
        </p:txBody>
      </p:sp>
      <p:sp>
        <p:nvSpPr>
          <p:cNvPr id="46087" name="Rectangle 7"/>
          <p:cNvSpPr>
            <a:spLocks noChangeArrowheads="1"/>
          </p:cNvSpPr>
          <p:nvPr/>
        </p:nvSpPr>
        <p:spPr bwMode="auto">
          <a:xfrm>
            <a:off x="928688" y="714375"/>
            <a:ext cx="70993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l">
              <a:buFontTx/>
              <a:buNone/>
              <a:defRPr/>
            </a:pPr>
            <a:r>
              <a:rPr lang="en-GB" b="1">
                <a:solidFill>
                  <a:srgbClr val="002060"/>
                </a:solidFill>
                <a:latin typeface="Arial" charset="0"/>
                <a:ea typeface="ＭＳ Ｐゴシック" charset="0"/>
              </a:rPr>
              <a:t>Placebo controlled parallel arm desig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4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sz="2800" smtClean="0">
                <a:solidFill>
                  <a:srgbClr val="FF0000"/>
                </a:solidFill>
                <a:ea typeface="ＭＳ Ｐゴシック" pitchFamily="34" charset="-128"/>
              </a:rPr>
              <a:t>Marketing Authorisation Application</a:t>
            </a:r>
          </a:p>
        </p:txBody>
      </p:sp>
      <p:sp>
        <p:nvSpPr>
          <p:cNvPr id="189442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357188" y="3214688"/>
            <a:ext cx="5808662" cy="3260725"/>
          </a:xfrm>
        </p:spPr>
        <p:txBody>
          <a:bodyPr/>
          <a:lstStyle/>
          <a:p>
            <a:pPr marL="0" indent="0" eaLnBrk="1" hangingPunct="1"/>
            <a:r>
              <a:rPr lang="en-GB" sz="2400" u="sng" smtClean="0">
                <a:ea typeface="ＭＳ Ｐゴシック" pitchFamily="34" charset="-128"/>
              </a:rPr>
              <a:t>Dossier:</a:t>
            </a:r>
          </a:p>
          <a:p>
            <a:pPr lvl="1" eaLnBrk="1" hangingPunct="1"/>
            <a:r>
              <a:rPr lang="en-GB" sz="2200" smtClean="0">
                <a:ea typeface="ＭＳ Ｐゴシック" pitchFamily="34" charset="-128"/>
              </a:rPr>
              <a:t>Chemistry, quality manufacture</a:t>
            </a:r>
          </a:p>
          <a:p>
            <a:pPr lvl="1" eaLnBrk="1" hangingPunct="1"/>
            <a:r>
              <a:rPr lang="en-GB" sz="2200" smtClean="0">
                <a:ea typeface="ＭＳ Ｐゴシック" pitchFamily="34" charset="-128"/>
              </a:rPr>
              <a:t>Non-clinical pharmacology</a:t>
            </a:r>
          </a:p>
          <a:p>
            <a:pPr lvl="1" eaLnBrk="1" hangingPunct="1"/>
            <a:r>
              <a:rPr lang="en-GB" sz="2200" smtClean="0">
                <a:ea typeface="ＭＳ Ｐゴシック" pitchFamily="34" charset="-128"/>
              </a:rPr>
              <a:t>Toxicology, PK, PD</a:t>
            </a:r>
          </a:p>
          <a:p>
            <a:pPr lvl="1" eaLnBrk="1" hangingPunct="1"/>
            <a:r>
              <a:rPr lang="en-GB" sz="2200" smtClean="0">
                <a:ea typeface="ＭＳ Ｐゴシック" pitchFamily="34" charset="-128"/>
              </a:rPr>
              <a:t>Clinical data</a:t>
            </a:r>
          </a:p>
          <a:p>
            <a:pPr lvl="1" eaLnBrk="1" hangingPunct="1"/>
            <a:r>
              <a:rPr lang="en-GB" sz="2200" smtClean="0">
                <a:ea typeface="ＭＳ Ｐゴシック" pitchFamily="34" charset="-128"/>
              </a:rPr>
              <a:t>Safety, (adverse events)</a:t>
            </a:r>
          </a:p>
          <a:p>
            <a:pPr lvl="1" eaLnBrk="1" hangingPunct="1"/>
            <a:r>
              <a:rPr lang="en-GB" sz="2200" smtClean="0">
                <a:ea typeface="ＭＳ Ｐゴシック" pitchFamily="34" charset="-128"/>
              </a:rPr>
              <a:t>Efficacy</a:t>
            </a:r>
          </a:p>
          <a:p>
            <a:pPr lvl="1" eaLnBrk="1" hangingPunct="1"/>
            <a:r>
              <a:rPr lang="en-GB" sz="2200" smtClean="0">
                <a:ea typeface="ＭＳ Ｐゴシック" pitchFamily="34" charset="-128"/>
              </a:rPr>
              <a:t>Publications, labels, etc.</a:t>
            </a:r>
          </a:p>
          <a:p>
            <a:pPr marL="0" indent="0" eaLnBrk="1" hangingPunct="1"/>
            <a:endParaRPr lang="en-GB" sz="2200" smtClean="0">
              <a:ea typeface="ＭＳ Ｐゴシック" pitchFamily="34" charset="-128"/>
            </a:endParaRPr>
          </a:p>
        </p:txBody>
      </p:sp>
      <p:graphicFrame>
        <p:nvGraphicFramePr>
          <p:cNvPr id="189443" name="Object 4"/>
          <p:cNvGraphicFramePr>
            <a:graphicFrameLocks noChangeAspect="1"/>
          </p:cNvGraphicFramePr>
          <p:nvPr>
            <p:ph type="clipArt" sz="half" idx="2"/>
          </p:nvPr>
        </p:nvGraphicFramePr>
        <p:xfrm>
          <a:off x="5143500" y="2500313"/>
          <a:ext cx="3581400" cy="32972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47" name="Clip" r:id="rId3" imgW="1451153" imgH="1255471" progId="">
                  <p:embed/>
                </p:oleObj>
              </mc:Choice>
              <mc:Fallback>
                <p:oleObj name="Clip" r:id="rId3" imgW="1451153" imgH="1255471" progId="">
                  <p:embed/>
                  <p:pic>
                    <p:nvPicPr>
                      <p:cNvPr id="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143500" y="2500313"/>
                        <a:ext cx="3581400" cy="32972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9444" name="Rectangle 4"/>
          <p:cNvSpPr>
            <a:spLocks noChangeArrowheads="1"/>
          </p:cNvSpPr>
          <p:nvPr/>
        </p:nvSpPr>
        <p:spPr bwMode="auto">
          <a:xfrm>
            <a:off x="7572375" y="0"/>
            <a:ext cx="1571625" cy="64293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89445" name="Rectangle 5"/>
          <p:cNvSpPr>
            <a:spLocks noChangeArrowheads="1"/>
          </p:cNvSpPr>
          <p:nvPr/>
        </p:nvSpPr>
        <p:spPr bwMode="auto">
          <a:xfrm>
            <a:off x="285750" y="1357313"/>
            <a:ext cx="8643938" cy="1643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l">
              <a:lnSpc>
                <a:spcPct val="90000"/>
              </a:lnSpc>
              <a:buFontTx/>
              <a:buChar char="-"/>
            </a:pPr>
            <a:r>
              <a:rPr lang="en-US" sz="2400">
                <a:solidFill>
                  <a:srgbClr val="000000"/>
                </a:solidFill>
              </a:rPr>
              <a:t>The regulatory process differs from country to country</a:t>
            </a:r>
          </a:p>
          <a:p>
            <a:pPr algn="l">
              <a:lnSpc>
                <a:spcPct val="90000"/>
              </a:lnSpc>
              <a:buFontTx/>
              <a:buNone/>
            </a:pPr>
            <a:r>
              <a:rPr lang="en-US" sz="2400">
                <a:solidFill>
                  <a:srgbClr val="000000"/>
                </a:solidFill>
              </a:rPr>
              <a:t>	(MHRA, EMEA, FDA)</a:t>
            </a:r>
          </a:p>
          <a:p>
            <a:pPr algn="l">
              <a:lnSpc>
                <a:spcPct val="90000"/>
              </a:lnSpc>
              <a:buFontTx/>
              <a:buChar char="-"/>
            </a:pPr>
            <a:r>
              <a:rPr lang="en-US" sz="2400">
                <a:solidFill>
                  <a:srgbClr val="000000"/>
                </a:solidFill>
              </a:rPr>
              <a:t> EU Directive in place since 2001</a:t>
            </a:r>
          </a:p>
          <a:p>
            <a:pPr algn="l">
              <a:lnSpc>
                <a:spcPct val="90000"/>
              </a:lnSpc>
              <a:buFontTx/>
              <a:buChar char="-"/>
            </a:pPr>
            <a:r>
              <a:rPr lang="en-US" sz="2400">
                <a:solidFill>
                  <a:srgbClr val="000000"/>
                </a:solidFill>
              </a:rPr>
              <a:t> EU Road Map for Clinical Trials</a:t>
            </a:r>
            <a:endParaRPr lang="en-US">
              <a:solidFill>
                <a:srgbClr val="000000"/>
              </a:solidFill>
            </a:endParaRPr>
          </a:p>
        </p:txBody>
      </p:sp>
      <p:pic>
        <p:nvPicPr>
          <p:cNvPr id="189446" name="Picture 6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60350"/>
            <a:ext cx="1690687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46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smtClean="0">
                <a:solidFill>
                  <a:srgbClr val="FF0000"/>
                </a:solidFill>
                <a:ea typeface="ＭＳ Ｐゴシック" pitchFamily="34" charset="-128"/>
              </a:rPr>
              <a:t>Phase IV</a:t>
            </a:r>
          </a:p>
        </p:txBody>
      </p:sp>
      <p:sp>
        <p:nvSpPr>
          <p:cNvPr id="190466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457200" y="1620838"/>
            <a:ext cx="4033838" cy="4475162"/>
          </a:xfrm>
        </p:spPr>
        <p:txBody>
          <a:bodyPr/>
          <a:lstStyle/>
          <a:p>
            <a:pPr lvl="1" eaLnBrk="1" hangingPunct="1"/>
            <a:endParaRPr lang="en-GB" sz="2200" smtClean="0">
              <a:ea typeface="ＭＳ Ｐゴシック" pitchFamily="34" charset="-128"/>
            </a:endParaRPr>
          </a:p>
          <a:p>
            <a:pPr lvl="1" eaLnBrk="1" hangingPunct="1"/>
            <a:r>
              <a:rPr lang="en-GB" sz="2200" smtClean="0">
                <a:ea typeface="ＭＳ Ｐゴシック" pitchFamily="34" charset="-128"/>
              </a:rPr>
              <a:t>Pharmacoeconomic</a:t>
            </a:r>
          </a:p>
          <a:p>
            <a:pPr lvl="1" eaLnBrk="1" hangingPunct="1"/>
            <a:r>
              <a:rPr lang="en-GB" sz="2200" smtClean="0">
                <a:ea typeface="ＭＳ Ｐゴシック" pitchFamily="34" charset="-128"/>
              </a:rPr>
              <a:t>Quality of life</a:t>
            </a:r>
          </a:p>
          <a:p>
            <a:pPr lvl="1" eaLnBrk="1" hangingPunct="1"/>
            <a:r>
              <a:rPr lang="en-GB" sz="2200" smtClean="0">
                <a:ea typeface="ＭＳ Ｐゴシック" pitchFamily="34" charset="-128"/>
              </a:rPr>
              <a:t>Long term safety, efficacy</a:t>
            </a:r>
          </a:p>
          <a:p>
            <a:pPr lvl="1" eaLnBrk="1" hangingPunct="1"/>
            <a:r>
              <a:rPr lang="en-GB" sz="2200" smtClean="0">
                <a:ea typeface="ＭＳ Ｐゴシック" pitchFamily="34" charset="-128"/>
              </a:rPr>
              <a:t>Yellow card system (voluntary reporting of AEs)</a:t>
            </a:r>
          </a:p>
          <a:p>
            <a:pPr lvl="1" eaLnBrk="1" hangingPunct="1"/>
            <a:r>
              <a:rPr lang="en-GB" sz="2200" smtClean="0">
                <a:ea typeface="ＭＳ Ｐゴシック" pitchFamily="34" charset="-128"/>
              </a:rPr>
              <a:t>Comparator studies</a:t>
            </a:r>
          </a:p>
          <a:p>
            <a:pPr lvl="1" eaLnBrk="1" hangingPunct="1"/>
            <a:r>
              <a:rPr lang="en-GB" sz="2200" smtClean="0">
                <a:ea typeface="ＭＳ Ｐゴシック" pitchFamily="34" charset="-128"/>
              </a:rPr>
              <a:t>Special populations</a:t>
            </a:r>
          </a:p>
          <a:p>
            <a:pPr lvl="1" eaLnBrk="1" hangingPunct="1"/>
            <a:r>
              <a:rPr lang="en-GB" sz="2200" smtClean="0">
                <a:ea typeface="ＭＳ Ｐゴシック" pitchFamily="34" charset="-128"/>
              </a:rPr>
              <a:t>New formulations</a:t>
            </a:r>
          </a:p>
          <a:p>
            <a:pPr lvl="1" eaLnBrk="1" hangingPunct="1"/>
            <a:r>
              <a:rPr lang="en-GB" sz="2200" smtClean="0">
                <a:ea typeface="ＭＳ Ｐゴシック" pitchFamily="34" charset="-128"/>
              </a:rPr>
              <a:t>Marketing</a:t>
            </a:r>
          </a:p>
        </p:txBody>
      </p:sp>
      <p:graphicFrame>
        <p:nvGraphicFramePr>
          <p:cNvPr id="190467" name="Object 4"/>
          <p:cNvGraphicFramePr>
            <a:graphicFrameLocks noChangeAspect="1"/>
          </p:cNvGraphicFramePr>
          <p:nvPr>
            <p:ph type="clipArt" sz="half" idx="2"/>
          </p:nvPr>
        </p:nvGraphicFramePr>
        <p:xfrm>
          <a:off x="5145088" y="1620838"/>
          <a:ext cx="3049587" cy="44751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70" name="Clip" r:id="rId3" imgW="729691" imgH="1041502" progId="">
                  <p:embed/>
                </p:oleObj>
              </mc:Choice>
              <mc:Fallback>
                <p:oleObj name="Clip" r:id="rId3" imgW="729691" imgH="1041502" progId="">
                  <p:embed/>
                  <p:pic>
                    <p:nvPicPr>
                      <p:cNvPr id="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145088" y="1620838"/>
                        <a:ext cx="3049587" cy="44751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0468" name="Rectangle 4"/>
          <p:cNvSpPr>
            <a:spLocks noChangeArrowheads="1"/>
          </p:cNvSpPr>
          <p:nvPr/>
        </p:nvSpPr>
        <p:spPr bwMode="auto">
          <a:xfrm>
            <a:off x="7572375" y="0"/>
            <a:ext cx="1571625" cy="64293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190469" name="Picture 6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60350"/>
            <a:ext cx="1690687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89" name="Rectangle 2"/>
          <p:cNvSpPr>
            <a:spLocks noChangeArrowheads="1"/>
          </p:cNvSpPr>
          <p:nvPr/>
        </p:nvSpPr>
        <p:spPr bwMode="auto">
          <a:xfrm>
            <a:off x="323850" y="260350"/>
            <a:ext cx="7874000" cy="604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54864" anchor="b"/>
          <a:lstStyle/>
          <a:p>
            <a:pPr algn="l">
              <a:spcBef>
                <a:spcPct val="0"/>
              </a:spcBef>
              <a:buFontTx/>
              <a:buNone/>
            </a:pPr>
            <a:r>
              <a:rPr lang="en-GB" b="1">
                <a:solidFill>
                  <a:srgbClr val="16165D"/>
                </a:solidFill>
              </a:rPr>
              <a:t>	</a:t>
            </a:r>
            <a:r>
              <a:rPr lang="en-GB" sz="2400" b="1">
                <a:solidFill>
                  <a:srgbClr val="16165D"/>
                </a:solidFill>
              </a:rPr>
              <a:t>The drug development process</a:t>
            </a:r>
          </a:p>
        </p:txBody>
      </p:sp>
      <p:sp>
        <p:nvSpPr>
          <p:cNvPr id="191490" name="Text Box 3"/>
          <p:cNvSpPr txBox="1">
            <a:spLocks noChangeArrowheads="1"/>
          </p:cNvSpPr>
          <p:nvPr/>
        </p:nvSpPr>
        <p:spPr bwMode="auto">
          <a:xfrm>
            <a:off x="3567113" y="5562600"/>
            <a:ext cx="0" cy="176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91491" name="Rectangle 4"/>
          <p:cNvSpPr>
            <a:spLocks noChangeArrowheads="1"/>
          </p:cNvSpPr>
          <p:nvPr/>
        </p:nvSpPr>
        <p:spPr bwMode="auto">
          <a:xfrm>
            <a:off x="900113" y="1196975"/>
            <a:ext cx="7129462" cy="532765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91492" name="Text Box 5"/>
          <p:cNvSpPr txBox="1">
            <a:spLocks noChangeArrowheads="1"/>
          </p:cNvSpPr>
          <p:nvPr/>
        </p:nvSpPr>
        <p:spPr bwMode="auto">
          <a:xfrm>
            <a:off x="1833563" y="6096000"/>
            <a:ext cx="6588125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US" sz="2000">
                <a:solidFill>
                  <a:srgbClr val="000000"/>
                </a:solidFill>
              </a:rPr>
              <a:t>  </a:t>
            </a:r>
            <a:r>
              <a:rPr lang="en-US" sz="2600">
                <a:solidFill>
                  <a:srgbClr val="000000"/>
                </a:solidFill>
              </a:rPr>
              <a:t>  </a:t>
            </a:r>
            <a:r>
              <a:rPr lang="en-US" sz="2000">
                <a:solidFill>
                  <a:srgbClr val="000000"/>
                </a:solidFill>
              </a:rPr>
              <a:t>                          4                8                12   years</a:t>
            </a:r>
          </a:p>
        </p:txBody>
      </p:sp>
      <p:sp>
        <p:nvSpPr>
          <p:cNvPr id="191493" name="Line 6"/>
          <p:cNvSpPr>
            <a:spLocks noChangeShapeType="1"/>
          </p:cNvSpPr>
          <p:nvPr/>
        </p:nvSpPr>
        <p:spPr bwMode="auto">
          <a:xfrm>
            <a:off x="2884488" y="1524000"/>
            <a:ext cx="0" cy="43434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191494" name="Line 7"/>
          <p:cNvSpPr>
            <a:spLocks noChangeShapeType="1"/>
          </p:cNvSpPr>
          <p:nvPr/>
        </p:nvSpPr>
        <p:spPr bwMode="auto">
          <a:xfrm>
            <a:off x="2884488" y="5867400"/>
            <a:ext cx="453866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191495" name="Freeform 8"/>
          <p:cNvSpPr>
            <a:spLocks/>
          </p:cNvSpPr>
          <p:nvPr/>
        </p:nvSpPr>
        <p:spPr bwMode="auto">
          <a:xfrm>
            <a:off x="2884488" y="2286000"/>
            <a:ext cx="3937000" cy="3543300"/>
          </a:xfrm>
          <a:custGeom>
            <a:avLst/>
            <a:gdLst>
              <a:gd name="T0" fmla="*/ 0 w 2790"/>
              <a:gd name="T1" fmla="*/ 2147483647 h 2232"/>
              <a:gd name="T2" fmla="*/ 2147483647 w 2790"/>
              <a:gd name="T3" fmla="*/ 2147483647 h 2232"/>
              <a:gd name="T4" fmla="*/ 2147483647 w 2790"/>
              <a:gd name="T5" fmla="*/ 2147483647 h 2232"/>
              <a:gd name="T6" fmla="*/ 2147483647 w 2790"/>
              <a:gd name="T7" fmla="*/ 2147483647 h 2232"/>
              <a:gd name="T8" fmla="*/ 2147483647 w 2790"/>
              <a:gd name="T9" fmla="*/ 2147483647 h 2232"/>
              <a:gd name="T10" fmla="*/ 2147483647 w 2790"/>
              <a:gd name="T11" fmla="*/ 2147483647 h 2232"/>
              <a:gd name="T12" fmla="*/ 2147483647 w 2790"/>
              <a:gd name="T13" fmla="*/ 2147483647 h 2232"/>
              <a:gd name="T14" fmla="*/ 2147483647 w 2790"/>
              <a:gd name="T15" fmla="*/ 0 h 223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790"/>
              <a:gd name="T25" fmla="*/ 0 h 2232"/>
              <a:gd name="T26" fmla="*/ 2790 w 2790"/>
              <a:gd name="T27" fmla="*/ 2232 h 223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790" h="2232">
                <a:moveTo>
                  <a:pt x="0" y="2232"/>
                </a:moveTo>
                <a:cubicBezTo>
                  <a:pt x="136" y="2220"/>
                  <a:pt x="586" y="2212"/>
                  <a:pt x="818" y="2162"/>
                </a:cubicBezTo>
                <a:cubicBezTo>
                  <a:pt x="1050" y="2112"/>
                  <a:pt x="1226" y="2037"/>
                  <a:pt x="1394" y="1933"/>
                </a:cubicBezTo>
                <a:cubicBezTo>
                  <a:pt x="1562" y="1829"/>
                  <a:pt x="1714" y="1698"/>
                  <a:pt x="1828" y="1539"/>
                </a:cubicBezTo>
                <a:cubicBezTo>
                  <a:pt x="1942" y="1380"/>
                  <a:pt x="2006" y="1153"/>
                  <a:pt x="2080" y="978"/>
                </a:cubicBezTo>
                <a:cubicBezTo>
                  <a:pt x="2154" y="803"/>
                  <a:pt x="2181" y="646"/>
                  <a:pt x="2246" y="513"/>
                </a:cubicBezTo>
                <a:cubicBezTo>
                  <a:pt x="2311" y="380"/>
                  <a:pt x="2376" y="267"/>
                  <a:pt x="2467" y="182"/>
                </a:cubicBezTo>
                <a:cubicBezTo>
                  <a:pt x="2558" y="97"/>
                  <a:pt x="2736" y="30"/>
                  <a:pt x="2790" y="0"/>
                </a:cubicBezTo>
              </a:path>
            </a:pathLst>
          </a:custGeom>
          <a:noFill/>
          <a:ln w="63500">
            <a:solidFill>
              <a:srgbClr val="0033C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191496" name="Line 9"/>
          <p:cNvSpPr>
            <a:spLocks noChangeShapeType="1"/>
          </p:cNvSpPr>
          <p:nvPr/>
        </p:nvSpPr>
        <p:spPr bwMode="auto">
          <a:xfrm>
            <a:off x="6338888" y="5867400"/>
            <a:ext cx="0" cy="1524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191497" name="Line 10"/>
          <p:cNvSpPr>
            <a:spLocks noChangeShapeType="1"/>
          </p:cNvSpPr>
          <p:nvPr/>
        </p:nvSpPr>
        <p:spPr bwMode="auto">
          <a:xfrm>
            <a:off x="7423150" y="5867400"/>
            <a:ext cx="0" cy="1524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191498" name="Line 11"/>
          <p:cNvSpPr>
            <a:spLocks noChangeShapeType="1"/>
          </p:cNvSpPr>
          <p:nvPr/>
        </p:nvSpPr>
        <p:spPr bwMode="auto">
          <a:xfrm flipH="1">
            <a:off x="2681288" y="3733800"/>
            <a:ext cx="2032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191499" name="Line 12"/>
          <p:cNvSpPr>
            <a:spLocks noChangeShapeType="1"/>
          </p:cNvSpPr>
          <p:nvPr/>
        </p:nvSpPr>
        <p:spPr bwMode="auto">
          <a:xfrm flipH="1">
            <a:off x="2681288" y="2590800"/>
            <a:ext cx="2032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191500" name="Line 13"/>
          <p:cNvSpPr>
            <a:spLocks noChangeShapeType="1"/>
          </p:cNvSpPr>
          <p:nvPr/>
        </p:nvSpPr>
        <p:spPr bwMode="auto">
          <a:xfrm flipH="1">
            <a:off x="2681288" y="1524000"/>
            <a:ext cx="2032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191501" name="Text Box 14"/>
          <p:cNvSpPr txBox="1">
            <a:spLocks noChangeArrowheads="1"/>
          </p:cNvSpPr>
          <p:nvPr/>
        </p:nvSpPr>
        <p:spPr bwMode="auto">
          <a:xfrm>
            <a:off x="1597025" y="2438400"/>
            <a:ext cx="101600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US" sz="2000">
                <a:solidFill>
                  <a:srgbClr val="000000"/>
                </a:solidFill>
              </a:rPr>
              <a:t>£1-2 Bn</a:t>
            </a:r>
          </a:p>
        </p:txBody>
      </p:sp>
      <p:sp>
        <p:nvSpPr>
          <p:cNvPr id="191502" name="Line 15"/>
          <p:cNvSpPr>
            <a:spLocks noChangeShapeType="1"/>
          </p:cNvSpPr>
          <p:nvPr/>
        </p:nvSpPr>
        <p:spPr bwMode="auto">
          <a:xfrm>
            <a:off x="2884488" y="2286000"/>
            <a:ext cx="3929062" cy="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191503" name="Line 16"/>
          <p:cNvSpPr>
            <a:spLocks noChangeShapeType="1"/>
          </p:cNvSpPr>
          <p:nvPr/>
        </p:nvSpPr>
        <p:spPr bwMode="auto">
          <a:xfrm>
            <a:off x="4103688" y="2286000"/>
            <a:ext cx="0" cy="358140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191504" name="Line 17"/>
          <p:cNvSpPr>
            <a:spLocks noChangeShapeType="1"/>
          </p:cNvSpPr>
          <p:nvPr/>
        </p:nvSpPr>
        <p:spPr bwMode="auto">
          <a:xfrm>
            <a:off x="4645025" y="2286000"/>
            <a:ext cx="0" cy="358140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191505" name="Rectangle 18"/>
          <p:cNvSpPr>
            <a:spLocks noChangeArrowheads="1"/>
          </p:cNvSpPr>
          <p:nvPr/>
        </p:nvSpPr>
        <p:spPr bwMode="auto">
          <a:xfrm>
            <a:off x="2884488" y="1752600"/>
            <a:ext cx="1219200" cy="2286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endParaRPr lang="en-US" sz="1800">
              <a:solidFill>
                <a:srgbClr val="0099FF"/>
              </a:solidFill>
            </a:endParaRPr>
          </a:p>
        </p:txBody>
      </p:sp>
      <p:sp>
        <p:nvSpPr>
          <p:cNvPr id="191506" name="Rectangle 19"/>
          <p:cNvSpPr>
            <a:spLocks noChangeArrowheads="1"/>
          </p:cNvSpPr>
          <p:nvPr/>
        </p:nvSpPr>
        <p:spPr bwMode="auto">
          <a:xfrm>
            <a:off x="4103688" y="1752600"/>
            <a:ext cx="541337" cy="228600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endParaRPr lang="en-US" sz="1800">
              <a:solidFill>
                <a:srgbClr val="0099FF"/>
              </a:solidFill>
            </a:endParaRPr>
          </a:p>
        </p:txBody>
      </p:sp>
      <p:sp>
        <p:nvSpPr>
          <p:cNvPr id="191507" name="Rectangle 20"/>
          <p:cNvSpPr>
            <a:spLocks noChangeArrowheads="1"/>
          </p:cNvSpPr>
          <p:nvPr/>
        </p:nvSpPr>
        <p:spPr bwMode="auto">
          <a:xfrm>
            <a:off x="5119688" y="1752600"/>
            <a:ext cx="1219200" cy="228600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endParaRPr lang="en-US" sz="1800">
              <a:solidFill>
                <a:srgbClr val="0099FF"/>
              </a:solidFill>
            </a:endParaRPr>
          </a:p>
        </p:txBody>
      </p:sp>
      <p:sp>
        <p:nvSpPr>
          <p:cNvPr id="191508" name="Rectangle 21"/>
          <p:cNvSpPr>
            <a:spLocks noChangeArrowheads="1"/>
          </p:cNvSpPr>
          <p:nvPr/>
        </p:nvSpPr>
        <p:spPr bwMode="auto">
          <a:xfrm>
            <a:off x="4645025" y="1752600"/>
            <a:ext cx="542925" cy="228600"/>
          </a:xfrm>
          <a:prstGeom prst="rect">
            <a:avLst/>
          </a:prstGeom>
          <a:solidFill>
            <a:srgbClr val="FFCC00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endParaRPr lang="en-US" sz="1800">
              <a:solidFill>
                <a:srgbClr val="0099FF"/>
              </a:solidFill>
            </a:endParaRPr>
          </a:p>
        </p:txBody>
      </p:sp>
      <p:sp>
        <p:nvSpPr>
          <p:cNvPr id="191509" name="Rectangle 22"/>
          <p:cNvSpPr>
            <a:spLocks noChangeArrowheads="1"/>
          </p:cNvSpPr>
          <p:nvPr/>
        </p:nvSpPr>
        <p:spPr bwMode="auto">
          <a:xfrm>
            <a:off x="6338888" y="1752600"/>
            <a:ext cx="609600" cy="228600"/>
          </a:xfrm>
          <a:prstGeom prst="rect">
            <a:avLst/>
          </a:prstGeom>
          <a:solidFill>
            <a:srgbClr val="00FF00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endParaRPr lang="en-US" sz="1800">
              <a:solidFill>
                <a:srgbClr val="0099FF"/>
              </a:solidFill>
            </a:endParaRPr>
          </a:p>
        </p:txBody>
      </p:sp>
      <p:sp>
        <p:nvSpPr>
          <p:cNvPr id="191510" name="Line 23"/>
          <p:cNvSpPr>
            <a:spLocks noChangeShapeType="1"/>
          </p:cNvSpPr>
          <p:nvPr/>
        </p:nvSpPr>
        <p:spPr bwMode="auto">
          <a:xfrm>
            <a:off x="5187950" y="2286000"/>
            <a:ext cx="0" cy="358140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191511" name="Line 24"/>
          <p:cNvSpPr>
            <a:spLocks noChangeShapeType="1"/>
          </p:cNvSpPr>
          <p:nvPr/>
        </p:nvSpPr>
        <p:spPr bwMode="auto">
          <a:xfrm>
            <a:off x="6338888" y="2286000"/>
            <a:ext cx="0" cy="358140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191512" name="Rectangle 27"/>
          <p:cNvSpPr>
            <a:spLocks noChangeArrowheads="1"/>
          </p:cNvSpPr>
          <p:nvPr/>
        </p:nvSpPr>
        <p:spPr bwMode="auto">
          <a:xfrm>
            <a:off x="4140200" y="1484313"/>
            <a:ext cx="9874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GB" sz="1800">
                <a:solidFill>
                  <a:srgbClr val="000000"/>
                </a:solidFill>
              </a:rPr>
              <a:t>Phase I-II</a:t>
            </a:r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191513" name="Rectangle 28"/>
          <p:cNvSpPr>
            <a:spLocks noChangeArrowheads="1"/>
          </p:cNvSpPr>
          <p:nvPr/>
        </p:nvSpPr>
        <p:spPr bwMode="auto">
          <a:xfrm>
            <a:off x="5292725" y="1484313"/>
            <a:ext cx="9112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GB" sz="1800">
                <a:solidFill>
                  <a:srgbClr val="000000"/>
                </a:solidFill>
              </a:rPr>
              <a:t>Phase III</a:t>
            </a:r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191514" name="Rectangle 29"/>
          <p:cNvSpPr>
            <a:spLocks noChangeArrowheads="1"/>
          </p:cNvSpPr>
          <p:nvPr/>
        </p:nvSpPr>
        <p:spPr bwMode="auto">
          <a:xfrm>
            <a:off x="6372225" y="1484313"/>
            <a:ext cx="487363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GB" sz="1800">
                <a:solidFill>
                  <a:srgbClr val="000000"/>
                </a:solidFill>
              </a:rPr>
              <a:t>Reg.</a:t>
            </a:r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191515" name="Line 31"/>
          <p:cNvSpPr>
            <a:spLocks noChangeShapeType="1"/>
          </p:cNvSpPr>
          <p:nvPr/>
        </p:nvSpPr>
        <p:spPr bwMode="auto">
          <a:xfrm>
            <a:off x="4103688" y="5867400"/>
            <a:ext cx="0" cy="1524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191516" name="Line 32"/>
          <p:cNvSpPr>
            <a:spLocks noChangeShapeType="1"/>
          </p:cNvSpPr>
          <p:nvPr/>
        </p:nvSpPr>
        <p:spPr bwMode="auto">
          <a:xfrm>
            <a:off x="2884488" y="5867400"/>
            <a:ext cx="0" cy="1524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191517" name="Line 33"/>
          <p:cNvSpPr>
            <a:spLocks noChangeShapeType="1"/>
          </p:cNvSpPr>
          <p:nvPr/>
        </p:nvSpPr>
        <p:spPr bwMode="auto">
          <a:xfrm>
            <a:off x="5187950" y="5867400"/>
            <a:ext cx="0" cy="1524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191518" name="Line 34"/>
          <p:cNvSpPr>
            <a:spLocks noChangeShapeType="1"/>
          </p:cNvSpPr>
          <p:nvPr/>
        </p:nvSpPr>
        <p:spPr bwMode="auto">
          <a:xfrm flipH="1">
            <a:off x="2681288" y="5867400"/>
            <a:ext cx="2032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191519" name="Line 35"/>
          <p:cNvSpPr>
            <a:spLocks noChangeShapeType="1"/>
          </p:cNvSpPr>
          <p:nvPr/>
        </p:nvSpPr>
        <p:spPr bwMode="auto">
          <a:xfrm flipH="1">
            <a:off x="2681288" y="4876800"/>
            <a:ext cx="2032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191520" name="Text Box 46"/>
          <p:cNvSpPr txBox="1">
            <a:spLocks noChangeArrowheads="1"/>
          </p:cNvSpPr>
          <p:nvPr/>
        </p:nvSpPr>
        <p:spPr bwMode="auto">
          <a:xfrm>
            <a:off x="1665288" y="5715000"/>
            <a:ext cx="101600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US" sz="2000">
                <a:solidFill>
                  <a:srgbClr val="000000"/>
                </a:solidFill>
              </a:rPr>
              <a:t>0</a:t>
            </a:r>
          </a:p>
        </p:txBody>
      </p:sp>
      <p:grpSp>
        <p:nvGrpSpPr>
          <p:cNvPr id="2" name="Group 68"/>
          <p:cNvGrpSpPr>
            <a:grpSpLocks/>
          </p:cNvGrpSpPr>
          <p:nvPr/>
        </p:nvGrpSpPr>
        <p:grpSpPr bwMode="auto">
          <a:xfrm>
            <a:off x="2916238" y="2420938"/>
            <a:ext cx="2798762" cy="1584325"/>
            <a:chOff x="2653" y="1661"/>
            <a:chExt cx="862" cy="998"/>
          </a:xfrm>
        </p:grpSpPr>
        <p:sp>
          <p:nvSpPr>
            <p:cNvPr id="191525" name="AutoShape 50"/>
            <p:cNvSpPr>
              <a:spLocks noChangeArrowheads="1"/>
            </p:cNvSpPr>
            <p:nvPr/>
          </p:nvSpPr>
          <p:spPr bwMode="auto">
            <a:xfrm>
              <a:off x="2653" y="1661"/>
              <a:ext cx="862" cy="998"/>
            </a:xfrm>
            <a:prstGeom prst="downArrowCallout">
              <a:avLst>
                <a:gd name="adj1" fmla="val 25000"/>
                <a:gd name="adj2" fmla="val 25000"/>
                <a:gd name="adj3" fmla="val 19296"/>
                <a:gd name="adj4" fmla="val 66667"/>
              </a:avLst>
            </a:prstGeom>
            <a:solidFill>
              <a:srgbClr val="FF7C8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0"/>
                </a:spcBef>
                <a:buFontTx/>
                <a:buNone/>
              </a:pPr>
              <a:endParaRPr lang="en-US" sz="2000">
                <a:solidFill>
                  <a:srgbClr val="0033CC"/>
                </a:solidFill>
              </a:endParaRPr>
            </a:p>
          </p:txBody>
        </p:sp>
        <p:sp>
          <p:nvSpPr>
            <p:cNvPr id="191526" name="Rectangle 26"/>
            <p:cNvSpPr>
              <a:spLocks noChangeArrowheads="1"/>
            </p:cNvSpPr>
            <p:nvPr/>
          </p:nvSpPr>
          <p:spPr bwMode="auto">
            <a:xfrm>
              <a:off x="2653" y="1706"/>
              <a:ext cx="862" cy="5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>
                <a:lnSpc>
                  <a:spcPct val="95000"/>
                </a:lnSpc>
                <a:spcBef>
                  <a:spcPct val="0"/>
                </a:spcBef>
                <a:buFontTx/>
                <a:buNone/>
              </a:pPr>
              <a:r>
                <a:rPr lang="en-GB" sz="1400" b="1">
                  <a:solidFill>
                    <a:srgbClr val="2D2DB9"/>
                  </a:solidFill>
                </a:rPr>
                <a:t>Most DD programs </a:t>
              </a:r>
              <a:r>
                <a:rPr lang="en-GB" altLang="en-US" sz="1400" b="1">
                  <a:solidFill>
                    <a:srgbClr val="2D2DB9"/>
                  </a:solidFill>
                </a:rPr>
                <a:t>‘</a:t>
              </a:r>
              <a:r>
                <a:rPr lang="en-GB" sz="1400" b="1">
                  <a:solidFill>
                    <a:srgbClr val="2D2DB9"/>
                  </a:solidFill>
                </a:rPr>
                <a:t>fail</a:t>
              </a:r>
              <a:r>
                <a:rPr lang="en-GB" altLang="en-US" sz="1400" b="1">
                  <a:solidFill>
                    <a:srgbClr val="2D2DB9"/>
                  </a:solidFill>
                </a:rPr>
                <a:t>’</a:t>
              </a:r>
              <a:r>
                <a:rPr lang="en-GB" sz="1400" b="1">
                  <a:solidFill>
                    <a:srgbClr val="2D2DB9"/>
                  </a:solidFill>
                </a:rPr>
                <a:t> in Phase I-IIa, with an attrition rate of 85-90% due to lack of safety or efficacy</a:t>
              </a:r>
              <a:endParaRPr lang="en-US" sz="1400" b="1">
                <a:solidFill>
                  <a:srgbClr val="2D2DB9"/>
                </a:solidFill>
              </a:endParaRPr>
            </a:p>
          </p:txBody>
        </p:sp>
      </p:grpSp>
      <p:sp>
        <p:nvSpPr>
          <p:cNvPr id="191522" name="Rectangle 70"/>
          <p:cNvSpPr>
            <a:spLocks noChangeArrowheads="1"/>
          </p:cNvSpPr>
          <p:nvPr/>
        </p:nvSpPr>
        <p:spPr bwMode="auto">
          <a:xfrm>
            <a:off x="2987675" y="1484313"/>
            <a:ext cx="10509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GB" sz="1800">
                <a:solidFill>
                  <a:srgbClr val="000000"/>
                </a:solidFill>
              </a:rPr>
              <a:t>Preclinical</a:t>
            </a:r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41" name="Line 51"/>
          <p:cNvSpPr>
            <a:spLocks noChangeShapeType="1"/>
          </p:cNvSpPr>
          <p:nvPr/>
        </p:nvSpPr>
        <p:spPr bwMode="auto">
          <a:xfrm>
            <a:off x="0" y="998538"/>
            <a:ext cx="9144000" cy="0"/>
          </a:xfrm>
          <a:prstGeom prst="line">
            <a:avLst/>
          </a:prstGeom>
          <a:noFill/>
          <a:ln w="38100" cmpd="sng">
            <a:solidFill>
              <a:schemeClr val="accent6">
                <a:lumMod val="50000"/>
              </a:schemeClr>
            </a:solidFill>
            <a:round/>
            <a:headEnd/>
            <a:tailEnd/>
          </a:ln>
        </p:spPr>
        <p:txBody>
          <a:bodyPr/>
          <a:lstStyle/>
          <a:p>
            <a:pPr algn="l">
              <a:spcBef>
                <a:spcPct val="0"/>
              </a:spcBef>
              <a:defRPr/>
            </a:pPr>
            <a:endParaRPr lang="en-GB">
              <a:solidFill>
                <a:srgbClr val="000000"/>
              </a:solidFill>
              <a:ea typeface="ＭＳ Ｐゴシック" charset="0"/>
            </a:endParaRPr>
          </a:p>
        </p:txBody>
      </p:sp>
      <p:pic>
        <p:nvPicPr>
          <p:cNvPr id="191524" name="Picture 6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49238"/>
            <a:ext cx="1690687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>
    <p:cover dir="l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537" name="Content Placeholder 2"/>
          <p:cNvSpPr>
            <a:spLocks noGrp="1"/>
          </p:cNvSpPr>
          <p:nvPr>
            <p:ph idx="1"/>
          </p:nvPr>
        </p:nvSpPr>
        <p:spPr bwMode="auto">
          <a:xfrm>
            <a:off x="571500" y="1714500"/>
            <a:ext cx="8229600" cy="39290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sz="2400" smtClean="0">
                <a:latin typeface="Arial" pitchFamily="34" charset="0"/>
                <a:ea typeface="ＭＳ Ｐゴシック" pitchFamily="34" charset="-128"/>
              </a:rPr>
              <a:t>The pressures associated with productivity and return on investment is a major issue in Pharmas</a:t>
            </a:r>
          </a:p>
          <a:p>
            <a:pPr>
              <a:buFontTx/>
              <a:buNone/>
            </a:pPr>
            <a:endParaRPr lang="en-GB" sz="2400" smtClean="0">
              <a:latin typeface="Arial" pitchFamily="34" charset="0"/>
              <a:ea typeface="ＭＳ Ｐゴシック" pitchFamily="34" charset="-128"/>
            </a:endParaRPr>
          </a:p>
          <a:p>
            <a:r>
              <a:rPr lang="en-GB" sz="2400" smtClean="0">
                <a:latin typeface="Arial" pitchFamily="34" charset="0"/>
                <a:ea typeface="ＭＳ Ｐゴシック" pitchFamily="34" charset="-128"/>
              </a:rPr>
              <a:t>Unless companies continually bring enough new products to market to replace lost revenues, they are at risk of collapse</a:t>
            </a:r>
          </a:p>
          <a:p>
            <a:pPr>
              <a:buFontTx/>
              <a:buNone/>
            </a:pPr>
            <a:endParaRPr lang="en-GB" sz="2400" smtClean="0">
              <a:latin typeface="Arial" pitchFamily="34" charset="0"/>
              <a:ea typeface="ＭＳ Ｐゴシック" pitchFamily="34" charset="-128"/>
            </a:endParaRPr>
          </a:p>
          <a:p>
            <a:r>
              <a:rPr lang="en-GB" sz="2400" smtClean="0">
                <a:latin typeface="Arial" pitchFamily="34" charset="0"/>
                <a:ea typeface="ＭＳ Ｐゴシック" pitchFamily="34" charset="-128"/>
              </a:rPr>
              <a:t>To maintain 10% annual growth and justify R &amp; D spend the top tier companies would need to launch at least 4 £500 million drugs every year</a:t>
            </a:r>
          </a:p>
          <a:p>
            <a:endParaRPr lang="en-GB" smtClean="0">
              <a:ea typeface="ＭＳ Ｐゴシック" pitchFamily="34" charset="-128"/>
            </a:endParaRPr>
          </a:p>
        </p:txBody>
      </p:sp>
      <p:sp>
        <p:nvSpPr>
          <p:cNvPr id="193538" name="Rectangle 3"/>
          <p:cNvSpPr>
            <a:spLocks noChangeArrowheads="1"/>
          </p:cNvSpPr>
          <p:nvPr/>
        </p:nvSpPr>
        <p:spPr bwMode="auto">
          <a:xfrm>
            <a:off x="2571750" y="357188"/>
            <a:ext cx="302418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l">
              <a:spcBef>
                <a:spcPct val="0"/>
              </a:spcBef>
              <a:buFontTx/>
              <a:buNone/>
            </a:pPr>
            <a:r>
              <a:rPr lang="en-GB" sz="2400" b="1">
                <a:solidFill>
                  <a:srgbClr val="16165D"/>
                </a:solidFill>
              </a:rPr>
              <a:t>The Business Need</a:t>
            </a:r>
          </a:p>
        </p:txBody>
      </p:sp>
      <p:sp>
        <p:nvSpPr>
          <p:cNvPr id="5" name="Line 51"/>
          <p:cNvSpPr>
            <a:spLocks noChangeShapeType="1"/>
          </p:cNvSpPr>
          <p:nvPr/>
        </p:nvSpPr>
        <p:spPr bwMode="auto">
          <a:xfrm>
            <a:off x="0" y="1063625"/>
            <a:ext cx="9144000" cy="0"/>
          </a:xfrm>
          <a:prstGeom prst="line">
            <a:avLst/>
          </a:prstGeom>
          <a:noFill/>
          <a:ln w="38100" cmpd="sng">
            <a:solidFill>
              <a:schemeClr val="accent6">
                <a:lumMod val="50000"/>
              </a:schemeClr>
            </a:solidFill>
            <a:round/>
            <a:headEnd/>
            <a:tailEnd/>
          </a:ln>
        </p:spPr>
        <p:txBody>
          <a:bodyPr/>
          <a:lstStyle/>
          <a:p>
            <a:pPr algn="l">
              <a:spcBef>
                <a:spcPct val="0"/>
              </a:spcBef>
              <a:defRPr/>
            </a:pPr>
            <a:endParaRPr lang="en-GB">
              <a:solidFill>
                <a:srgbClr val="16165D"/>
              </a:solidFill>
              <a:ea typeface="ＭＳ Ｐゴシック" charset="0"/>
            </a:endParaRPr>
          </a:p>
        </p:txBody>
      </p:sp>
      <p:pic>
        <p:nvPicPr>
          <p:cNvPr id="193540" name="Picture 6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60350"/>
            <a:ext cx="1690687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61" name="Title 1"/>
          <p:cNvSpPr>
            <a:spLocks noGrp="1"/>
          </p:cNvSpPr>
          <p:nvPr>
            <p:ph type="title"/>
          </p:nvPr>
        </p:nvSpPr>
        <p:spPr>
          <a:xfrm>
            <a:off x="-180975" y="0"/>
            <a:ext cx="8229600" cy="1143000"/>
          </a:xfrm>
        </p:spPr>
        <p:txBody>
          <a:bodyPr/>
          <a:lstStyle/>
          <a:p>
            <a:pPr eaLnBrk="1" hangingPunct="1"/>
            <a:r>
              <a:rPr lang="en-US" sz="2400" b="1" smtClean="0">
                <a:solidFill>
                  <a:srgbClr val="16165D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UK is expensive</a:t>
            </a:r>
          </a:p>
        </p:txBody>
      </p:sp>
      <p:pic>
        <p:nvPicPr>
          <p:cNvPr id="194562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475" y="1517650"/>
            <a:ext cx="8145463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563" name="Picture 6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60350"/>
            <a:ext cx="1690687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564" name="Line 51"/>
          <p:cNvSpPr>
            <a:spLocks noChangeShapeType="1"/>
          </p:cNvSpPr>
          <p:nvPr/>
        </p:nvSpPr>
        <p:spPr bwMode="auto">
          <a:xfrm>
            <a:off x="0" y="1052513"/>
            <a:ext cx="9144000" cy="0"/>
          </a:xfrm>
          <a:prstGeom prst="line">
            <a:avLst/>
          </a:prstGeom>
          <a:noFill/>
          <a:ln w="38100">
            <a:solidFill>
              <a:srgbClr val="16165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105" name="Rectangle 2"/>
          <p:cNvSpPr>
            <a:spLocks noChangeArrowheads="1"/>
          </p:cNvSpPr>
          <p:nvPr/>
        </p:nvSpPr>
        <p:spPr bwMode="auto">
          <a:xfrm>
            <a:off x="0" y="0"/>
            <a:ext cx="7308850" cy="68580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GB" b="1">
              <a:solidFill>
                <a:srgbClr val="C0C0C0"/>
              </a:solidFill>
              <a:cs typeface="Arial" pitchFamily="34" charset="0"/>
            </a:endParaRPr>
          </a:p>
        </p:txBody>
      </p:sp>
      <p:sp>
        <p:nvSpPr>
          <p:cNvPr id="175106" name="Rectangle 3"/>
          <p:cNvSpPr>
            <a:spLocks noChangeArrowheads="1"/>
          </p:cNvSpPr>
          <p:nvPr/>
        </p:nvSpPr>
        <p:spPr bwMode="auto">
          <a:xfrm>
            <a:off x="406400" y="228600"/>
            <a:ext cx="8483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54864" anchor="b"/>
          <a:lstStyle/>
          <a:p>
            <a:pPr algn="l">
              <a:spcBef>
                <a:spcPct val="0"/>
              </a:spcBef>
            </a:pPr>
            <a:endParaRPr lang="en-GB" sz="1600" b="1">
              <a:solidFill>
                <a:srgbClr val="3333CC"/>
              </a:solidFill>
              <a:cs typeface="Arial" pitchFamily="34" charset="0"/>
            </a:endParaRPr>
          </a:p>
        </p:txBody>
      </p:sp>
      <p:sp>
        <p:nvSpPr>
          <p:cNvPr id="175107" name="Rectangle 7"/>
          <p:cNvSpPr>
            <a:spLocks noChangeArrowheads="1"/>
          </p:cNvSpPr>
          <p:nvPr/>
        </p:nvSpPr>
        <p:spPr bwMode="auto">
          <a:xfrm>
            <a:off x="611188" y="1773238"/>
            <a:ext cx="6913562" cy="3127375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/>
          <a:p>
            <a:pPr marL="514350" indent="-514350" algn="l">
              <a:lnSpc>
                <a:spcPct val="150000"/>
              </a:lnSpc>
              <a:buFont typeface="Wingdings" pitchFamily="2" charset="2"/>
              <a:buChar char="Ø"/>
            </a:pPr>
            <a:endParaRPr lang="en-GB" sz="2400">
              <a:solidFill>
                <a:srgbClr val="002060"/>
              </a:solidFill>
              <a:cs typeface="Arial" pitchFamily="34" charset="0"/>
            </a:endParaRPr>
          </a:p>
          <a:p>
            <a:pPr marL="971550" lvl="1" indent="-514350" algn="l">
              <a:lnSpc>
                <a:spcPct val="150000"/>
              </a:lnSpc>
              <a:buFont typeface="Wingdings" pitchFamily="2" charset="2"/>
              <a:buChar char="Ø"/>
            </a:pPr>
            <a:r>
              <a:rPr lang="en-GB" sz="2400">
                <a:solidFill>
                  <a:srgbClr val="002060"/>
                </a:solidFill>
                <a:cs typeface="Arial" pitchFamily="34" charset="0"/>
              </a:rPr>
              <a:t>Phases of Drug Development</a:t>
            </a:r>
          </a:p>
          <a:p>
            <a:pPr marL="971550" lvl="1" indent="-514350" algn="l">
              <a:lnSpc>
                <a:spcPct val="150000"/>
              </a:lnSpc>
              <a:buFont typeface="Wingdings" pitchFamily="2" charset="2"/>
              <a:buChar char="Ø"/>
            </a:pPr>
            <a:r>
              <a:rPr lang="en-GB" sz="2400">
                <a:solidFill>
                  <a:srgbClr val="002060"/>
                </a:solidFill>
                <a:cs typeface="Arial" pitchFamily="34" charset="0"/>
              </a:rPr>
              <a:t>Challenges in Drug Development </a:t>
            </a:r>
          </a:p>
          <a:p>
            <a:pPr marL="971550" lvl="1" indent="-514350" algn="l">
              <a:lnSpc>
                <a:spcPct val="150000"/>
              </a:lnSpc>
              <a:buFont typeface="Wingdings" pitchFamily="2" charset="2"/>
              <a:buChar char="Ø"/>
            </a:pPr>
            <a:r>
              <a:rPr lang="en-GB" sz="2400">
                <a:solidFill>
                  <a:srgbClr val="002060"/>
                </a:solidFill>
                <a:cs typeface="Arial" pitchFamily="34" charset="0"/>
              </a:rPr>
              <a:t>Translational Medicine</a:t>
            </a:r>
          </a:p>
          <a:p>
            <a:pPr marL="971550" lvl="1" indent="-514350" algn="l">
              <a:lnSpc>
                <a:spcPct val="150000"/>
              </a:lnSpc>
              <a:buFont typeface="Wingdings" pitchFamily="2" charset="2"/>
              <a:buChar char="Ø"/>
            </a:pPr>
            <a:endParaRPr lang="en-GB" sz="2400">
              <a:solidFill>
                <a:srgbClr val="002060"/>
              </a:solidFill>
              <a:cs typeface="Arial" pitchFamily="34" charset="0"/>
            </a:endParaRPr>
          </a:p>
        </p:txBody>
      </p:sp>
      <p:grpSp>
        <p:nvGrpSpPr>
          <p:cNvPr id="175108" name="Group 9"/>
          <p:cNvGrpSpPr>
            <a:grpSpLocks/>
          </p:cNvGrpSpPr>
          <p:nvPr/>
        </p:nvGrpSpPr>
        <p:grpSpPr bwMode="auto">
          <a:xfrm>
            <a:off x="7715250" y="214313"/>
            <a:ext cx="1298575" cy="681037"/>
            <a:chOff x="7500938" y="285728"/>
            <a:chExt cx="1298575" cy="681060"/>
          </a:xfrm>
        </p:grpSpPr>
        <p:pic>
          <p:nvPicPr>
            <p:cNvPr id="175109" name="Picture 64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2396" y="285728"/>
              <a:ext cx="1071590" cy="2823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5110" name="Picture 63" descr="C:\Documents and Settings\KMosley\Local Settings\Temporary Internet Files\Content.IE5\8F8TCVUH\SJMC[1].gif"/>
            <p:cNvPicPr>
              <a:picLocks noChangeAspect="1" noChangeArrowheads="1"/>
            </p:cNvPicPr>
            <p:nvPr/>
          </p:nvPicPr>
          <p:blipFill>
            <a:blip r:embed="rId3" r:link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0938" y="668338"/>
              <a:ext cx="1298575" cy="298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585" name="Rectangle 2"/>
          <p:cNvSpPr>
            <a:spLocks noGrp="1" noChangeArrowheads="1"/>
          </p:cNvSpPr>
          <p:nvPr>
            <p:ph type="title"/>
          </p:nvPr>
        </p:nvSpPr>
        <p:spPr>
          <a:xfrm>
            <a:off x="179388" y="0"/>
            <a:ext cx="8229600" cy="1143000"/>
          </a:xfrm>
        </p:spPr>
        <p:txBody>
          <a:bodyPr/>
          <a:lstStyle/>
          <a:p>
            <a:pPr algn="l" eaLnBrk="1" hangingPunct="1"/>
            <a:r>
              <a:rPr lang="en-US" sz="2400" b="1" smtClean="0">
                <a:solidFill>
                  <a:srgbClr val="16165D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Shifting the pendulum of clinical research</a:t>
            </a:r>
            <a:endParaRPr lang="en-US" sz="2400" b="1" smtClean="0">
              <a:solidFill>
                <a:srgbClr val="16165D"/>
              </a:solidFill>
              <a:ea typeface="ＭＳ Ｐゴシック" pitchFamily="34" charset="-128"/>
            </a:endParaRPr>
          </a:p>
        </p:txBody>
      </p:sp>
      <p:sp>
        <p:nvSpPr>
          <p:cNvPr id="195586" name="Rectangle 4"/>
          <p:cNvSpPr>
            <a:spLocks noChangeArrowheads="1"/>
          </p:cNvSpPr>
          <p:nvPr/>
        </p:nvSpPr>
        <p:spPr bwMode="auto">
          <a:xfrm>
            <a:off x="7938" y="6597650"/>
            <a:ext cx="493712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l" defTabSz="457200" eaLnBrk="1" hangingPunct="1">
              <a:spcBef>
                <a:spcPct val="0"/>
              </a:spcBef>
              <a:buFontTx/>
              <a:buNone/>
            </a:pPr>
            <a:r>
              <a:rPr lang="en-GB" sz="100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Source : Centre for Medicines Research. © CMR, a Thomson Reuters business</a:t>
            </a:r>
          </a:p>
        </p:txBody>
      </p:sp>
      <p:sp>
        <p:nvSpPr>
          <p:cNvPr id="195587" name="AutoShape 4"/>
          <p:cNvSpPr>
            <a:spLocks noChangeArrowheads="1"/>
          </p:cNvSpPr>
          <p:nvPr/>
        </p:nvSpPr>
        <p:spPr bwMode="auto">
          <a:xfrm flipV="1">
            <a:off x="5799138" y="2071688"/>
            <a:ext cx="557212" cy="374650"/>
          </a:xfrm>
          <a:prstGeom prst="downArrow">
            <a:avLst>
              <a:gd name="adj1" fmla="val 49750"/>
              <a:gd name="adj2" fmla="val 56037"/>
            </a:avLst>
          </a:prstGeom>
          <a:noFill/>
          <a:ln w="25400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/>
          <a:p>
            <a:pPr algn="l" defTabSz="457200" eaLnBrk="1" hangingPunct="1">
              <a:spcBef>
                <a:spcPct val="0"/>
              </a:spcBef>
              <a:buFontTx/>
              <a:buNone/>
            </a:pPr>
            <a:endParaRPr lang="en-US" sz="18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95588" name="AutoShape 5"/>
          <p:cNvSpPr>
            <a:spLocks noChangeArrowheads="1"/>
          </p:cNvSpPr>
          <p:nvPr/>
        </p:nvSpPr>
        <p:spPr bwMode="auto">
          <a:xfrm flipV="1">
            <a:off x="1779588" y="5845175"/>
            <a:ext cx="557212" cy="376238"/>
          </a:xfrm>
          <a:prstGeom prst="downArrow">
            <a:avLst>
              <a:gd name="adj1" fmla="val 49750"/>
              <a:gd name="adj2" fmla="val 56037"/>
            </a:avLst>
          </a:prstGeom>
          <a:noFill/>
          <a:ln w="25400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/>
          <a:p>
            <a:pPr algn="l" defTabSz="457200" eaLnBrk="1" hangingPunct="1">
              <a:spcBef>
                <a:spcPct val="0"/>
              </a:spcBef>
              <a:buFontTx/>
              <a:buNone/>
            </a:pPr>
            <a:endParaRPr lang="en-US" sz="18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95589" name="AutoShape 6"/>
          <p:cNvSpPr>
            <a:spLocks noChangeArrowheads="1"/>
          </p:cNvSpPr>
          <p:nvPr/>
        </p:nvSpPr>
        <p:spPr bwMode="auto">
          <a:xfrm>
            <a:off x="993775" y="4775200"/>
            <a:ext cx="557213" cy="374650"/>
          </a:xfrm>
          <a:prstGeom prst="downArrow">
            <a:avLst>
              <a:gd name="adj1" fmla="val 49750"/>
              <a:gd name="adj2" fmla="val 56037"/>
            </a:avLst>
          </a:prstGeom>
          <a:noFill/>
          <a:ln w="25400">
            <a:solidFill>
              <a:srgbClr val="E0480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/>
          <a:p>
            <a:pPr algn="l" defTabSz="457200" eaLnBrk="1" hangingPunct="1">
              <a:spcBef>
                <a:spcPct val="0"/>
              </a:spcBef>
              <a:buFontTx/>
              <a:buNone/>
            </a:pPr>
            <a:endParaRPr lang="en-US" sz="18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95590" name="Freeform 3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1897063" y="2911475"/>
            <a:ext cx="369887" cy="319088"/>
          </a:xfrm>
          <a:custGeom>
            <a:avLst/>
            <a:gdLst>
              <a:gd name="T0" fmla="*/ 0 w 237"/>
              <a:gd name="T1" fmla="*/ 2147483647 h 203"/>
              <a:gd name="T2" fmla="*/ 2147483647 w 237"/>
              <a:gd name="T3" fmla="*/ 2147483647 h 203"/>
              <a:gd name="T4" fmla="*/ 2147483647 w 237"/>
              <a:gd name="T5" fmla="*/ 2147483647 h 203"/>
              <a:gd name="T6" fmla="*/ 2147483647 w 237"/>
              <a:gd name="T7" fmla="*/ 2147483647 h 203"/>
              <a:gd name="T8" fmla="*/ 2147483647 w 237"/>
              <a:gd name="T9" fmla="*/ 2147483647 h 203"/>
              <a:gd name="T10" fmla="*/ 2147483647 w 237"/>
              <a:gd name="T11" fmla="*/ 2147483647 h 203"/>
              <a:gd name="T12" fmla="*/ 2147483647 w 237"/>
              <a:gd name="T13" fmla="*/ 2147483647 h 203"/>
              <a:gd name="T14" fmla="*/ 2147483647 w 237"/>
              <a:gd name="T15" fmla="*/ 2147483647 h 203"/>
              <a:gd name="T16" fmla="*/ 2147483647 w 237"/>
              <a:gd name="T17" fmla="*/ 2147483647 h 203"/>
              <a:gd name="T18" fmla="*/ 2147483647 w 237"/>
              <a:gd name="T19" fmla="*/ 2147483647 h 203"/>
              <a:gd name="T20" fmla="*/ 2147483647 w 237"/>
              <a:gd name="T21" fmla="*/ 2147483647 h 203"/>
              <a:gd name="T22" fmla="*/ 2147483647 w 237"/>
              <a:gd name="T23" fmla="*/ 2147483647 h 203"/>
              <a:gd name="T24" fmla="*/ 2147483647 w 237"/>
              <a:gd name="T25" fmla="*/ 2147483647 h 203"/>
              <a:gd name="T26" fmla="*/ 2147483647 w 237"/>
              <a:gd name="T27" fmla="*/ 2147483647 h 203"/>
              <a:gd name="T28" fmla="*/ 2147483647 w 237"/>
              <a:gd name="T29" fmla="*/ 2147483647 h 203"/>
              <a:gd name="T30" fmla="*/ 2147483647 w 237"/>
              <a:gd name="T31" fmla="*/ 2147483647 h 203"/>
              <a:gd name="T32" fmla="*/ 2147483647 w 237"/>
              <a:gd name="T33" fmla="*/ 2147483647 h 203"/>
              <a:gd name="T34" fmla="*/ 2147483647 w 237"/>
              <a:gd name="T35" fmla="*/ 2147483647 h 203"/>
              <a:gd name="T36" fmla="*/ 2147483647 w 237"/>
              <a:gd name="T37" fmla="*/ 2147483647 h 203"/>
              <a:gd name="T38" fmla="*/ 2147483647 w 237"/>
              <a:gd name="T39" fmla="*/ 2147483647 h 203"/>
              <a:gd name="T40" fmla="*/ 2147483647 w 237"/>
              <a:gd name="T41" fmla="*/ 2147483647 h 203"/>
              <a:gd name="T42" fmla="*/ 2147483647 w 237"/>
              <a:gd name="T43" fmla="*/ 2147483647 h 203"/>
              <a:gd name="T44" fmla="*/ 2147483647 w 237"/>
              <a:gd name="T45" fmla="*/ 2147483647 h 203"/>
              <a:gd name="T46" fmla="*/ 2147483647 w 237"/>
              <a:gd name="T47" fmla="*/ 2147483647 h 203"/>
              <a:gd name="T48" fmla="*/ 2147483647 w 237"/>
              <a:gd name="T49" fmla="*/ 2147483647 h 203"/>
              <a:gd name="T50" fmla="*/ 2147483647 w 237"/>
              <a:gd name="T51" fmla="*/ 2147483647 h 203"/>
              <a:gd name="T52" fmla="*/ 2147483647 w 237"/>
              <a:gd name="T53" fmla="*/ 0 h 203"/>
              <a:gd name="T54" fmla="*/ 2147483647 w 237"/>
              <a:gd name="T55" fmla="*/ 0 h 203"/>
              <a:gd name="T56" fmla="*/ 2147483647 w 237"/>
              <a:gd name="T57" fmla="*/ 2147483647 h 203"/>
              <a:gd name="T58" fmla="*/ 2147483647 w 237"/>
              <a:gd name="T59" fmla="*/ 2147483647 h 203"/>
              <a:gd name="T60" fmla="*/ 2147483647 w 237"/>
              <a:gd name="T61" fmla="*/ 2147483647 h 203"/>
              <a:gd name="T62" fmla="*/ 2147483647 w 237"/>
              <a:gd name="T63" fmla="*/ 2147483647 h 203"/>
              <a:gd name="T64" fmla="*/ 2147483647 w 237"/>
              <a:gd name="T65" fmla="*/ 2147483647 h 203"/>
              <a:gd name="T66" fmla="*/ 2147483647 w 237"/>
              <a:gd name="T67" fmla="*/ 2147483647 h 203"/>
              <a:gd name="T68" fmla="*/ 2147483647 w 237"/>
              <a:gd name="T69" fmla="*/ 2147483647 h 203"/>
              <a:gd name="T70" fmla="*/ 2147483647 w 237"/>
              <a:gd name="T71" fmla="*/ 2147483647 h 203"/>
              <a:gd name="T72" fmla="*/ 2147483647 w 237"/>
              <a:gd name="T73" fmla="*/ 2147483647 h 203"/>
              <a:gd name="T74" fmla="*/ 0 w 237"/>
              <a:gd name="T75" fmla="*/ 2147483647 h 203"/>
              <a:gd name="T76" fmla="*/ 0 w 237"/>
              <a:gd name="T77" fmla="*/ 2147483647 h 203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237"/>
              <a:gd name="T118" fmla="*/ 0 h 203"/>
              <a:gd name="T119" fmla="*/ 237 w 237"/>
              <a:gd name="T120" fmla="*/ 203 h 203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237" h="203">
                <a:moveTo>
                  <a:pt x="0" y="89"/>
                </a:moveTo>
                <a:lnTo>
                  <a:pt x="16" y="97"/>
                </a:lnTo>
                <a:lnTo>
                  <a:pt x="9" y="114"/>
                </a:lnTo>
                <a:lnTo>
                  <a:pt x="25" y="121"/>
                </a:lnTo>
                <a:lnTo>
                  <a:pt x="65" y="121"/>
                </a:lnTo>
                <a:lnTo>
                  <a:pt x="81" y="139"/>
                </a:lnTo>
                <a:lnTo>
                  <a:pt x="65" y="146"/>
                </a:lnTo>
                <a:lnTo>
                  <a:pt x="25" y="146"/>
                </a:lnTo>
                <a:lnTo>
                  <a:pt x="34" y="170"/>
                </a:lnTo>
                <a:lnTo>
                  <a:pt x="49" y="177"/>
                </a:lnTo>
                <a:lnTo>
                  <a:pt x="65" y="177"/>
                </a:lnTo>
                <a:lnTo>
                  <a:pt x="74" y="202"/>
                </a:lnTo>
                <a:lnTo>
                  <a:pt x="114" y="195"/>
                </a:lnTo>
                <a:lnTo>
                  <a:pt x="155" y="177"/>
                </a:lnTo>
                <a:lnTo>
                  <a:pt x="162" y="170"/>
                </a:lnTo>
                <a:lnTo>
                  <a:pt x="196" y="195"/>
                </a:lnTo>
                <a:lnTo>
                  <a:pt x="211" y="186"/>
                </a:lnTo>
                <a:lnTo>
                  <a:pt x="220" y="177"/>
                </a:lnTo>
                <a:lnTo>
                  <a:pt x="220" y="162"/>
                </a:lnTo>
                <a:lnTo>
                  <a:pt x="227" y="162"/>
                </a:lnTo>
                <a:lnTo>
                  <a:pt x="236" y="146"/>
                </a:lnTo>
                <a:lnTo>
                  <a:pt x="196" y="121"/>
                </a:lnTo>
                <a:lnTo>
                  <a:pt x="180" y="114"/>
                </a:lnTo>
                <a:lnTo>
                  <a:pt x="180" y="89"/>
                </a:lnTo>
                <a:lnTo>
                  <a:pt x="171" y="49"/>
                </a:lnTo>
                <a:lnTo>
                  <a:pt x="186" y="8"/>
                </a:lnTo>
                <a:lnTo>
                  <a:pt x="180" y="0"/>
                </a:lnTo>
                <a:lnTo>
                  <a:pt x="155" y="0"/>
                </a:lnTo>
                <a:lnTo>
                  <a:pt x="139" y="40"/>
                </a:lnTo>
                <a:lnTo>
                  <a:pt x="121" y="33"/>
                </a:lnTo>
                <a:lnTo>
                  <a:pt x="106" y="33"/>
                </a:lnTo>
                <a:lnTo>
                  <a:pt x="89" y="25"/>
                </a:lnTo>
                <a:lnTo>
                  <a:pt x="74" y="40"/>
                </a:lnTo>
                <a:lnTo>
                  <a:pt x="65" y="15"/>
                </a:lnTo>
                <a:lnTo>
                  <a:pt x="49" y="15"/>
                </a:lnTo>
                <a:lnTo>
                  <a:pt x="9" y="49"/>
                </a:lnTo>
                <a:lnTo>
                  <a:pt x="9" y="56"/>
                </a:lnTo>
                <a:lnTo>
                  <a:pt x="0" y="74"/>
                </a:lnTo>
                <a:lnTo>
                  <a:pt x="0" y="89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591" name="Freeform 4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2482850" y="2897188"/>
            <a:ext cx="576263" cy="650875"/>
          </a:xfrm>
          <a:custGeom>
            <a:avLst/>
            <a:gdLst>
              <a:gd name="T0" fmla="*/ 2147483647 w 367"/>
              <a:gd name="T1" fmla="*/ 2147483647 h 414"/>
              <a:gd name="T2" fmla="*/ 2147483647 w 367"/>
              <a:gd name="T3" fmla="*/ 2147483647 h 414"/>
              <a:gd name="T4" fmla="*/ 2147483647 w 367"/>
              <a:gd name="T5" fmla="*/ 2147483647 h 414"/>
              <a:gd name="T6" fmla="*/ 2147483647 w 367"/>
              <a:gd name="T7" fmla="*/ 2147483647 h 414"/>
              <a:gd name="T8" fmla="*/ 2147483647 w 367"/>
              <a:gd name="T9" fmla="*/ 2147483647 h 414"/>
              <a:gd name="T10" fmla="*/ 2147483647 w 367"/>
              <a:gd name="T11" fmla="*/ 2147483647 h 414"/>
              <a:gd name="T12" fmla="*/ 2147483647 w 367"/>
              <a:gd name="T13" fmla="*/ 2147483647 h 414"/>
              <a:gd name="T14" fmla="*/ 2147483647 w 367"/>
              <a:gd name="T15" fmla="*/ 2147483647 h 414"/>
              <a:gd name="T16" fmla="*/ 2147483647 w 367"/>
              <a:gd name="T17" fmla="*/ 2147483647 h 414"/>
              <a:gd name="T18" fmla="*/ 2147483647 w 367"/>
              <a:gd name="T19" fmla="*/ 2147483647 h 414"/>
              <a:gd name="T20" fmla="*/ 2147483647 w 367"/>
              <a:gd name="T21" fmla="*/ 2147483647 h 414"/>
              <a:gd name="T22" fmla="*/ 2147483647 w 367"/>
              <a:gd name="T23" fmla="*/ 2147483647 h 414"/>
              <a:gd name="T24" fmla="*/ 2147483647 w 367"/>
              <a:gd name="T25" fmla="*/ 2147483647 h 414"/>
              <a:gd name="T26" fmla="*/ 2147483647 w 367"/>
              <a:gd name="T27" fmla="*/ 2147483647 h 414"/>
              <a:gd name="T28" fmla="*/ 2147483647 w 367"/>
              <a:gd name="T29" fmla="*/ 2147483647 h 414"/>
              <a:gd name="T30" fmla="*/ 2147483647 w 367"/>
              <a:gd name="T31" fmla="*/ 2147483647 h 414"/>
              <a:gd name="T32" fmla="*/ 2147483647 w 367"/>
              <a:gd name="T33" fmla="*/ 2147483647 h 414"/>
              <a:gd name="T34" fmla="*/ 2147483647 w 367"/>
              <a:gd name="T35" fmla="*/ 2147483647 h 414"/>
              <a:gd name="T36" fmla="*/ 2147483647 w 367"/>
              <a:gd name="T37" fmla="*/ 2147483647 h 414"/>
              <a:gd name="T38" fmla="*/ 2147483647 w 367"/>
              <a:gd name="T39" fmla="*/ 2147483647 h 414"/>
              <a:gd name="T40" fmla="*/ 2147483647 w 367"/>
              <a:gd name="T41" fmla="*/ 2147483647 h 414"/>
              <a:gd name="T42" fmla="*/ 2147483647 w 367"/>
              <a:gd name="T43" fmla="*/ 2147483647 h 414"/>
              <a:gd name="T44" fmla="*/ 2147483647 w 367"/>
              <a:gd name="T45" fmla="*/ 2147483647 h 414"/>
              <a:gd name="T46" fmla="*/ 2147483647 w 367"/>
              <a:gd name="T47" fmla="*/ 2147483647 h 414"/>
              <a:gd name="T48" fmla="*/ 2147483647 w 367"/>
              <a:gd name="T49" fmla="*/ 2147483647 h 414"/>
              <a:gd name="T50" fmla="*/ 2147483647 w 367"/>
              <a:gd name="T51" fmla="*/ 2147483647 h 414"/>
              <a:gd name="T52" fmla="*/ 2147483647 w 367"/>
              <a:gd name="T53" fmla="*/ 2147483647 h 414"/>
              <a:gd name="T54" fmla="*/ 2147483647 w 367"/>
              <a:gd name="T55" fmla="*/ 2147483647 h 414"/>
              <a:gd name="T56" fmla="*/ 2147483647 w 367"/>
              <a:gd name="T57" fmla="*/ 2147483647 h 414"/>
              <a:gd name="T58" fmla="*/ 2147483647 w 367"/>
              <a:gd name="T59" fmla="*/ 2147483647 h 414"/>
              <a:gd name="T60" fmla="*/ 2147483647 w 367"/>
              <a:gd name="T61" fmla="*/ 2147483647 h 414"/>
              <a:gd name="T62" fmla="*/ 2147483647 w 367"/>
              <a:gd name="T63" fmla="*/ 2147483647 h 414"/>
              <a:gd name="T64" fmla="*/ 2147483647 w 367"/>
              <a:gd name="T65" fmla="*/ 2147483647 h 414"/>
              <a:gd name="T66" fmla="*/ 2147483647 w 367"/>
              <a:gd name="T67" fmla="*/ 2147483647 h 414"/>
              <a:gd name="T68" fmla="*/ 2147483647 w 367"/>
              <a:gd name="T69" fmla="*/ 0 h 414"/>
              <a:gd name="T70" fmla="*/ 2147483647 w 367"/>
              <a:gd name="T71" fmla="*/ 2147483647 h 414"/>
              <a:gd name="T72" fmla="*/ 2147483647 w 367"/>
              <a:gd name="T73" fmla="*/ 2147483647 h 414"/>
              <a:gd name="T74" fmla="*/ 2147483647 w 367"/>
              <a:gd name="T75" fmla="*/ 2147483647 h 414"/>
              <a:gd name="T76" fmla="*/ 2147483647 w 367"/>
              <a:gd name="T77" fmla="*/ 0 h 414"/>
              <a:gd name="T78" fmla="*/ 0 w 367"/>
              <a:gd name="T79" fmla="*/ 2147483647 h 414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367"/>
              <a:gd name="T121" fmla="*/ 0 h 414"/>
              <a:gd name="T122" fmla="*/ 367 w 367"/>
              <a:gd name="T123" fmla="*/ 414 h 414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367" h="414">
                <a:moveTo>
                  <a:pt x="0" y="89"/>
                </a:moveTo>
                <a:lnTo>
                  <a:pt x="34" y="148"/>
                </a:lnTo>
                <a:lnTo>
                  <a:pt x="49" y="155"/>
                </a:lnTo>
                <a:lnTo>
                  <a:pt x="99" y="163"/>
                </a:lnTo>
                <a:lnTo>
                  <a:pt x="106" y="163"/>
                </a:lnTo>
                <a:lnTo>
                  <a:pt x="131" y="171"/>
                </a:lnTo>
                <a:lnTo>
                  <a:pt x="139" y="171"/>
                </a:lnTo>
                <a:lnTo>
                  <a:pt x="146" y="148"/>
                </a:lnTo>
                <a:lnTo>
                  <a:pt x="155" y="163"/>
                </a:lnTo>
                <a:lnTo>
                  <a:pt x="179" y="186"/>
                </a:lnTo>
                <a:lnTo>
                  <a:pt x="171" y="204"/>
                </a:lnTo>
                <a:lnTo>
                  <a:pt x="187" y="195"/>
                </a:lnTo>
                <a:lnTo>
                  <a:pt x="196" y="211"/>
                </a:lnTo>
                <a:lnTo>
                  <a:pt x="211" y="226"/>
                </a:lnTo>
                <a:lnTo>
                  <a:pt x="220" y="251"/>
                </a:lnTo>
                <a:lnTo>
                  <a:pt x="196" y="292"/>
                </a:lnTo>
                <a:lnTo>
                  <a:pt x="202" y="308"/>
                </a:lnTo>
                <a:lnTo>
                  <a:pt x="196" y="317"/>
                </a:lnTo>
                <a:lnTo>
                  <a:pt x="155" y="308"/>
                </a:lnTo>
                <a:lnTo>
                  <a:pt x="155" y="325"/>
                </a:lnTo>
                <a:lnTo>
                  <a:pt x="146" y="325"/>
                </a:lnTo>
                <a:lnTo>
                  <a:pt x="146" y="350"/>
                </a:lnTo>
                <a:lnTo>
                  <a:pt x="171" y="350"/>
                </a:lnTo>
                <a:lnTo>
                  <a:pt x="179" y="341"/>
                </a:lnTo>
                <a:lnTo>
                  <a:pt x="196" y="341"/>
                </a:lnTo>
                <a:lnTo>
                  <a:pt x="227" y="365"/>
                </a:lnTo>
                <a:lnTo>
                  <a:pt x="227" y="373"/>
                </a:lnTo>
                <a:lnTo>
                  <a:pt x="261" y="397"/>
                </a:lnTo>
                <a:lnTo>
                  <a:pt x="276" y="407"/>
                </a:lnTo>
                <a:lnTo>
                  <a:pt x="301" y="413"/>
                </a:lnTo>
                <a:lnTo>
                  <a:pt x="301" y="407"/>
                </a:lnTo>
                <a:lnTo>
                  <a:pt x="268" y="373"/>
                </a:lnTo>
                <a:lnTo>
                  <a:pt x="268" y="357"/>
                </a:lnTo>
                <a:lnTo>
                  <a:pt x="310" y="390"/>
                </a:lnTo>
                <a:lnTo>
                  <a:pt x="326" y="390"/>
                </a:lnTo>
                <a:lnTo>
                  <a:pt x="326" y="365"/>
                </a:lnTo>
                <a:lnTo>
                  <a:pt x="317" y="357"/>
                </a:lnTo>
                <a:lnTo>
                  <a:pt x="317" y="341"/>
                </a:lnTo>
                <a:lnTo>
                  <a:pt x="293" y="317"/>
                </a:lnTo>
                <a:lnTo>
                  <a:pt x="285" y="300"/>
                </a:lnTo>
                <a:lnTo>
                  <a:pt x="293" y="285"/>
                </a:lnTo>
                <a:lnTo>
                  <a:pt x="310" y="300"/>
                </a:lnTo>
                <a:lnTo>
                  <a:pt x="317" y="317"/>
                </a:lnTo>
                <a:lnTo>
                  <a:pt x="333" y="325"/>
                </a:lnTo>
                <a:lnTo>
                  <a:pt x="333" y="308"/>
                </a:lnTo>
                <a:lnTo>
                  <a:pt x="350" y="308"/>
                </a:lnTo>
                <a:lnTo>
                  <a:pt x="366" y="276"/>
                </a:lnTo>
                <a:lnTo>
                  <a:pt x="317" y="226"/>
                </a:lnTo>
                <a:lnTo>
                  <a:pt x="293" y="226"/>
                </a:lnTo>
                <a:lnTo>
                  <a:pt x="276" y="211"/>
                </a:lnTo>
                <a:lnTo>
                  <a:pt x="276" y="195"/>
                </a:lnTo>
                <a:lnTo>
                  <a:pt x="293" y="186"/>
                </a:lnTo>
                <a:lnTo>
                  <a:pt x="276" y="171"/>
                </a:lnTo>
                <a:lnTo>
                  <a:pt x="285" y="163"/>
                </a:lnTo>
                <a:lnTo>
                  <a:pt x="276" y="139"/>
                </a:lnTo>
                <a:lnTo>
                  <a:pt x="251" y="130"/>
                </a:lnTo>
                <a:lnTo>
                  <a:pt x="236" y="106"/>
                </a:lnTo>
                <a:lnTo>
                  <a:pt x="220" y="98"/>
                </a:lnTo>
                <a:lnTo>
                  <a:pt x="202" y="89"/>
                </a:lnTo>
                <a:lnTo>
                  <a:pt x="196" y="58"/>
                </a:lnTo>
                <a:lnTo>
                  <a:pt x="179" y="58"/>
                </a:lnTo>
                <a:lnTo>
                  <a:pt x="155" y="49"/>
                </a:lnTo>
                <a:lnTo>
                  <a:pt x="139" y="58"/>
                </a:lnTo>
                <a:lnTo>
                  <a:pt x="122" y="58"/>
                </a:lnTo>
                <a:lnTo>
                  <a:pt x="106" y="74"/>
                </a:lnTo>
                <a:lnTo>
                  <a:pt x="114" y="49"/>
                </a:lnTo>
                <a:lnTo>
                  <a:pt x="106" y="34"/>
                </a:lnTo>
                <a:lnTo>
                  <a:pt x="106" y="9"/>
                </a:lnTo>
                <a:lnTo>
                  <a:pt x="106" y="0"/>
                </a:lnTo>
                <a:lnTo>
                  <a:pt x="90" y="0"/>
                </a:lnTo>
                <a:lnTo>
                  <a:pt x="59" y="42"/>
                </a:lnTo>
                <a:lnTo>
                  <a:pt x="49" y="74"/>
                </a:lnTo>
                <a:lnTo>
                  <a:pt x="59" y="98"/>
                </a:lnTo>
                <a:lnTo>
                  <a:pt x="40" y="83"/>
                </a:lnTo>
                <a:lnTo>
                  <a:pt x="40" y="42"/>
                </a:lnTo>
                <a:lnTo>
                  <a:pt x="59" y="17"/>
                </a:lnTo>
                <a:lnTo>
                  <a:pt x="74" y="0"/>
                </a:lnTo>
                <a:lnTo>
                  <a:pt x="34" y="0"/>
                </a:lnTo>
                <a:lnTo>
                  <a:pt x="9" y="34"/>
                </a:lnTo>
                <a:lnTo>
                  <a:pt x="0" y="65"/>
                </a:lnTo>
                <a:lnTo>
                  <a:pt x="0" y="89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592" name="Freeform 5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1782763" y="3994150"/>
            <a:ext cx="1158875" cy="620713"/>
          </a:xfrm>
          <a:custGeom>
            <a:avLst/>
            <a:gdLst>
              <a:gd name="T0" fmla="*/ 2147483647 w 738"/>
              <a:gd name="T1" fmla="*/ 0 h 396"/>
              <a:gd name="T2" fmla="*/ 2147483647 w 738"/>
              <a:gd name="T3" fmla="*/ 2147483647 h 396"/>
              <a:gd name="T4" fmla="*/ 2147483647 w 738"/>
              <a:gd name="T5" fmla="*/ 2147483647 h 396"/>
              <a:gd name="T6" fmla="*/ 2147483647 w 738"/>
              <a:gd name="T7" fmla="*/ 2147483647 h 396"/>
              <a:gd name="T8" fmla="*/ 2147483647 w 738"/>
              <a:gd name="T9" fmla="*/ 2147483647 h 396"/>
              <a:gd name="T10" fmla="*/ 2147483647 w 738"/>
              <a:gd name="T11" fmla="*/ 2147483647 h 396"/>
              <a:gd name="T12" fmla="*/ 2147483647 w 738"/>
              <a:gd name="T13" fmla="*/ 2147483647 h 396"/>
              <a:gd name="T14" fmla="*/ 2147483647 w 738"/>
              <a:gd name="T15" fmla="*/ 2147483647 h 396"/>
              <a:gd name="T16" fmla="*/ 2147483647 w 738"/>
              <a:gd name="T17" fmla="*/ 2147483647 h 396"/>
              <a:gd name="T18" fmla="*/ 2147483647 w 738"/>
              <a:gd name="T19" fmla="*/ 2147483647 h 396"/>
              <a:gd name="T20" fmla="*/ 2147483647 w 738"/>
              <a:gd name="T21" fmla="*/ 2147483647 h 396"/>
              <a:gd name="T22" fmla="*/ 2147483647 w 738"/>
              <a:gd name="T23" fmla="*/ 2147483647 h 396"/>
              <a:gd name="T24" fmla="*/ 2147483647 w 738"/>
              <a:gd name="T25" fmla="*/ 2147483647 h 396"/>
              <a:gd name="T26" fmla="*/ 2147483647 w 738"/>
              <a:gd name="T27" fmla="*/ 2147483647 h 396"/>
              <a:gd name="T28" fmla="*/ 2147483647 w 738"/>
              <a:gd name="T29" fmla="*/ 2147483647 h 396"/>
              <a:gd name="T30" fmla="*/ 2147483647 w 738"/>
              <a:gd name="T31" fmla="*/ 2147483647 h 396"/>
              <a:gd name="T32" fmla="*/ 2147483647 w 738"/>
              <a:gd name="T33" fmla="*/ 2147483647 h 396"/>
              <a:gd name="T34" fmla="*/ 2147483647 w 738"/>
              <a:gd name="T35" fmla="*/ 2147483647 h 396"/>
              <a:gd name="T36" fmla="*/ 2147483647 w 738"/>
              <a:gd name="T37" fmla="*/ 2147483647 h 396"/>
              <a:gd name="T38" fmla="*/ 2147483647 w 738"/>
              <a:gd name="T39" fmla="*/ 2147483647 h 396"/>
              <a:gd name="T40" fmla="*/ 2147483647 w 738"/>
              <a:gd name="T41" fmla="*/ 2147483647 h 396"/>
              <a:gd name="T42" fmla="*/ 2147483647 w 738"/>
              <a:gd name="T43" fmla="*/ 2147483647 h 396"/>
              <a:gd name="T44" fmla="*/ 2147483647 w 738"/>
              <a:gd name="T45" fmla="*/ 2147483647 h 396"/>
              <a:gd name="T46" fmla="*/ 2147483647 w 738"/>
              <a:gd name="T47" fmla="*/ 2147483647 h 396"/>
              <a:gd name="T48" fmla="*/ 2147483647 w 738"/>
              <a:gd name="T49" fmla="*/ 2147483647 h 396"/>
              <a:gd name="T50" fmla="*/ 2147483647 w 738"/>
              <a:gd name="T51" fmla="*/ 2147483647 h 396"/>
              <a:gd name="T52" fmla="*/ 2147483647 w 738"/>
              <a:gd name="T53" fmla="*/ 2147483647 h 396"/>
              <a:gd name="T54" fmla="*/ 2147483647 w 738"/>
              <a:gd name="T55" fmla="*/ 2147483647 h 396"/>
              <a:gd name="T56" fmla="*/ 2147483647 w 738"/>
              <a:gd name="T57" fmla="*/ 2147483647 h 396"/>
              <a:gd name="T58" fmla="*/ 2147483647 w 738"/>
              <a:gd name="T59" fmla="*/ 2147483647 h 396"/>
              <a:gd name="T60" fmla="*/ 2147483647 w 738"/>
              <a:gd name="T61" fmla="*/ 2147483647 h 396"/>
              <a:gd name="T62" fmla="*/ 2147483647 w 738"/>
              <a:gd name="T63" fmla="*/ 2147483647 h 396"/>
              <a:gd name="T64" fmla="*/ 2147483647 w 738"/>
              <a:gd name="T65" fmla="*/ 2147483647 h 396"/>
              <a:gd name="T66" fmla="*/ 2147483647 w 738"/>
              <a:gd name="T67" fmla="*/ 2147483647 h 396"/>
              <a:gd name="T68" fmla="*/ 2147483647 w 738"/>
              <a:gd name="T69" fmla="*/ 2147483647 h 396"/>
              <a:gd name="T70" fmla="*/ 2147483647 w 738"/>
              <a:gd name="T71" fmla="*/ 2147483647 h 396"/>
              <a:gd name="T72" fmla="*/ 2147483647 w 738"/>
              <a:gd name="T73" fmla="*/ 2147483647 h 396"/>
              <a:gd name="T74" fmla="*/ 2147483647 w 738"/>
              <a:gd name="T75" fmla="*/ 2147483647 h 396"/>
              <a:gd name="T76" fmla="*/ 2147483647 w 738"/>
              <a:gd name="T77" fmla="*/ 2147483647 h 396"/>
              <a:gd name="T78" fmla="*/ 0 w 738"/>
              <a:gd name="T79" fmla="*/ 2147483647 h 396"/>
              <a:gd name="T80" fmla="*/ 2147483647 w 738"/>
              <a:gd name="T81" fmla="*/ 2147483647 h 396"/>
              <a:gd name="T82" fmla="*/ 2147483647 w 738"/>
              <a:gd name="T83" fmla="*/ 2147483647 h 39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738"/>
              <a:gd name="T127" fmla="*/ 0 h 396"/>
              <a:gd name="T128" fmla="*/ 738 w 738"/>
              <a:gd name="T129" fmla="*/ 396 h 39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738" h="396">
                <a:moveTo>
                  <a:pt x="24" y="8"/>
                </a:moveTo>
                <a:lnTo>
                  <a:pt x="373" y="8"/>
                </a:lnTo>
                <a:lnTo>
                  <a:pt x="380" y="0"/>
                </a:lnTo>
                <a:lnTo>
                  <a:pt x="389" y="16"/>
                </a:lnTo>
                <a:lnTo>
                  <a:pt x="405" y="16"/>
                </a:lnTo>
                <a:lnTo>
                  <a:pt x="420" y="32"/>
                </a:lnTo>
                <a:lnTo>
                  <a:pt x="445" y="32"/>
                </a:lnTo>
                <a:lnTo>
                  <a:pt x="414" y="56"/>
                </a:lnTo>
                <a:lnTo>
                  <a:pt x="429" y="48"/>
                </a:lnTo>
                <a:lnTo>
                  <a:pt x="438" y="56"/>
                </a:lnTo>
                <a:lnTo>
                  <a:pt x="461" y="48"/>
                </a:lnTo>
                <a:lnTo>
                  <a:pt x="461" y="56"/>
                </a:lnTo>
                <a:lnTo>
                  <a:pt x="470" y="48"/>
                </a:lnTo>
                <a:lnTo>
                  <a:pt x="479" y="56"/>
                </a:lnTo>
                <a:lnTo>
                  <a:pt x="504" y="56"/>
                </a:lnTo>
                <a:lnTo>
                  <a:pt x="510" y="56"/>
                </a:lnTo>
                <a:lnTo>
                  <a:pt x="519" y="63"/>
                </a:lnTo>
                <a:lnTo>
                  <a:pt x="519" y="72"/>
                </a:lnTo>
                <a:lnTo>
                  <a:pt x="479" y="72"/>
                </a:lnTo>
                <a:lnTo>
                  <a:pt x="470" y="97"/>
                </a:lnTo>
                <a:lnTo>
                  <a:pt x="479" y="88"/>
                </a:lnTo>
                <a:lnTo>
                  <a:pt x="470" y="122"/>
                </a:lnTo>
                <a:lnTo>
                  <a:pt x="470" y="137"/>
                </a:lnTo>
                <a:lnTo>
                  <a:pt x="470" y="145"/>
                </a:lnTo>
                <a:lnTo>
                  <a:pt x="479" y="145"/>
                </a:lnTo>
                <a:lnTo>
                  <a:pt x="485" y="137"/>
                </a:lnTo>
                <a:lnTo>
                  <a:pt x="485" y="103"/>
                </a:lnTo>
                <a:lnTo>
                  <a:pt x="494" y="88"/>
                </a:lnTo>
                <a:lnTo>
                  <a:pt x="504" y="81"/>
                </a:lnTo>
                <a:lnTo>
                  <a:pt x="504" y="72"/>
                </a:lnTo>
                <a:lnTo>
                  <a:pt x="526" y="81"/>
                </a:lnTo>
                <a:lnTo>
                  <a:pt x="526" y="97"/>
                </a:lnTo>
                <a:lnTo>
                  <a:pt x="519" y="113"/>
                </a:lnTo>
                <a:lnTo>
                  <a:pt x="535" y="103"/>
                </a:lnTo>
                <a:lnTo>
                  <a:pt x="535" y="122"/>
                </a:lnTo>
                <a:lnTo>
                  <a:pt x="544" y="122"/>
                </a:lnTo>
                <a:lnTo>
                  <a:pt x="526" y="145"/>
                </a:lnTo>
                <a:lnTo>
                  <a:pt x="535" y="145"/>
                </a:lnTo>
                <a:lnTo>
                  <a:pt x="551" y="145"/>
                </a:lnTo>
                <a:lnTo>
                  <a:pt x="584" y="122"/>
                </a:lnTo>
                <a:lnTo>
                  <a:pt x="584" y="113"/>
                </a:lnTo>
                <a:lnTo>
                  <a:pt x="616" y="113"/>
                </a:lnTo>
                <a:lnTo>
                  <a:pt x="616" y="97"/>
                </a:lnTo>
                <a:lnTo>
                  <a:pt x="632" y="88"/>
                </a:lnTo>
                <a:lnTo>
                  <a:pt x="672" y="88"/>
                </a:lnTo>
                <a:lnTo>
                  <a:pt x="690" y="81"/>
                </a:lnTo>
                <a:lnTo>
                  <a:pt x="706" y="40"/>
                </a:lnTo>
                <a:lnTo>
                  <a:pt x="713" y="48"/>
                </a:lnTo>
                <a:lnTo>
                  <a:pt x="721" y="40"/>
                </a:lnTo>
                <a:lnTo>
                  <a:pt x="721" y="48"/>
                </a:lnTo>
                <a:lnTo>
                  <a:pt x="730" y="72"/>
                </a:lnTo>
                <a:lnTo>
                  <a:pt x="738" y="81"/>
                </a:lnTo>
                <a:lnTo>
                  <a:pt x="738" y="88"/>
                </a:lnTo>
                <a:lnTo>
                  <a:pt x="730" y="97"/>
                </a:lnTo>
                <a:lnTo>
                  <a:pt x="713" y="97"/>
                </a:lnTo>
                <a:lnTo>
                  <a:pt x="681" y="128"/>
                </a:lnTo>
                <a:lnTo>
                  <a:pt x="690" y="145"/>
                </a:lnTo>
                <a:lnTo>
                  <a:pt x="696" y="137"/>
                </a:lnTo>
                <a:lnTo>
                  <a:pt x="696" y="153"/>
                </a:lnTo>
                <a:lnTo>
                  <a:pt x="672" y="145"/>
                </a:lnTo>
                <a:lnTo>
                  <a:pt x="656" y="153"/>
                </a:lnTo>
                <a:lnTo>
                  <a:pt x="647" y="162"/>
                </a:lnTo>
                <a:lnTo>
                  <a:pt x="641" y="194"/>
                </a:lnTo>
                <a:lnTo>
                  <a:pt x="632" y="185"/>
                </a:lnTo>
                <a:lnTo>
                  <a:pt x="632" y="194"/>
                </a:lnTo>
                <a:lnTo>
                  <a:pt x="624" y="218"/>
                </a:lnTo>
                <a:lnTo>
                  <a:pt x="624" y="202"/>
                </a:lnTo>
                <a:lnTo>
                  <a:pt x="616" y="194"/>
                </a:lnTo>
                <a:lnTo>
                  <a:pt x="616" y="178"/>
                </a:lnTo>
                <a:lnTo>
                  <a:pt x="607" y="194"/>
                </a:lnTo>
                <a:lnTo>
                  <a:pt x="616" y="218"/>
                </a:lnTo>
                <a:lnTo>
                  <a:pt x="624" y="242"/>
                </a:lnTo>
                <a:lnTo>
                  <a:pt x="616" y="259"/>
                </a:lnTo>
                <a:lnTo>
                  <a:pt x="584" y="274"/>
                </a:lnTo>
                <a:lnTo>
                  <a:pt x="559" y="299"/>
                </a:lnTo>
                <a:lnTo>
                  <a:pt x="551" y="315"/>
                </a:lnTo>
                <a:lnTo>
                  <a:pt x="567" y="371"/>
                </a:lnTo>
                <a:lnTo>
                  <a:pt x="567" y="396"/>
                </a:lnTo>
                <a:lnTo>
                  <a:pt x="559" y="396"/>
                </a:lnTo>
                <a:lnTo>
                  <a:pt x="551" y="387"/>
                </a:lnTo>
                <a:lnTo>
                  <a:pt x="535" y="371"/>
                </a:lnTo>
                <a:lnTo>
                  <a:pt x="535" y="339"/>
                </a:lnTo>
                <a:lnTo>
                  <a:pt x="519" y="324"/>
                </a:lnTo>
                <a:lnTo>
                  <a:pt x="504" y="331"/>
                </a:lnTo>
                <a:lnTo>
                  <a:pt x="504" y="324"/>
                </a:lnTo>
                <a:lnTo>
                  <a:pt x="454" y="324"/>
                </a:lnTo>
                <a:lnTo>
                  <a:pt x="445" y="331"/>
                </a:lnTo>
                <a:lnTo>
                  <a:pt x="454" y="339"/>
                </a:lnTo>
                <a:lnTo>
                  <a:pt x="429" y="339"/>
                </a:lnTo>
                <a:lnTo>
                  <a:pt x="420" y="331"/>
                </a:lnTo>
                <a:lnTo>
                  <a:pt x="397" y="331"/>
                </a:lnTo>
                <a:lnTo>
                  <a:pt x="380" y="339"/>
                </a:lnTo>
                <a:lnTo>
                  <a:pt x="348" y="364"/>
                </a:lnTo>
                <a:lnTo>
                  <a:pt x="348" y="387"/>
                </a:lnTo>
                <a:lnTo>
                  <a:pt x="323" y="380"/>
                </a:lnTo>
                <a:lnTo>
                  <a:pt x="292" y="331"/>
                </a:lnTo>
                <a:lnTo>
                  <a:pt x="283" y="331"/>
                </a:lnTo>
                <a:lnTo>
                  <a:pt x="276" y="339"/>
                </a:lnTo>
                <a:lnTo>
                  <a:pt x="268" y="339"/>
                </a:lnTo>
                <a:lnTo>
                  <a:pt x="252" y="331"/>
                </a:lnTo>
                <a:lnTo>
                  <a:pt x="252" y="315"/>
                </a:lnTo>
                <a:lnTo>
                  <a:pt x="234" y="299"/>
                </a:lnTo>
                <a:lnTo>
                  <a:pt x="169" y="308"/>
                </a:lnTo>
                <a:lnTo>
                  <a:pt x="121" y="290"/>
                </a:lnTo>
                <a:lnTo>
                  <a:pt x="97" y="290"/>
                </a:lnTo>
                <a:lnTo>
                  <a:pt x="88" y="274"/>
                </a:lnTo>
                <a:lnTo>
                  <a:pt x="81" y="274"/>
                </a:lnTo>
                <a:lnTo>
                  <a:pt x="81" y="267"/>
                </a:lnTo>
                <a:lnTo>
                  <a:pt x="47" y="259"/>
                </a:lnTo>
                <a:lnTo>
                  <a:pt x="47" y="250"/>
                </a:lnTo>
                <a:lnTo>
                  <a:pt x="32" y="234"/>
                </a:lnTo>
                <a:lnTo>
                  <a:pt x="32" y="218"/>
                </a:lnTo>
                <a:lnTo>
                  <a:pt x="24" y="218"/>
                </a:lnTo>
                <a:lnTo>
                  <a:pt x="24" y="210"/>
                </a:lnTo>
                <a:lnTo>
                  <a:pt x="32" y="210"/>
                </a:lnTo>
                <a:lnTo>
                  <a:pt x="32" y="202"/>
                </a:lnTo>
                <a:lnTo>
                  <a:pt x="24" y="202"/>
                </a:lnTo>
                <a:lnTo>
                  <a:pt x="7" y="185"/>
                </a:lnTo>
                <a:lnTo>
                  <a:pt x="7" y="178"/>
                </a:lnTo>
                <a:lnTo>
                  <a:pt x="0" y="169"/>
                </a:lnTo>
                <a:lnTo>
                  <a:pt x="7" y="145"/>
                </a:lnTo>
                <a:lnTo>
                  <a:pt x="0" y="122"/>
                </a:lnTo>
                <a:lnTo>
                  <a:pt x="7" y="63"/>
                </a:lnTo>
                <a:lnTo>
                  <a:pt x="0" y="23"/>
                </a:lnTo>
                <a:lnTo>
                  <a:pt x="16" y="23"/>
                </a:lnTo>
                <a:lnTo>
                  <a:pt x="16" y="40"/>
                </a:lnTo>
                <a:lnTo>
                  <a:pt x="24" y="40"/>
                </a:lnTo>
                <a:lnTo>
                  <a:pt x="24" y="8"/>
                </a:lnTo>
              </a:path>
            </a:pathLst>
          </a:custGeom>
          <a:solidFill>
            <a:srgbClr val="E04804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593" name="Freeform 6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914400" y="3063875"/>
            <a:ext cx="755650" cy="776288"/>
          </a:xfrm>
          <a:custGeom>
            <a:avLst/>
            <a:gdLst>
              <a:gd name="T0" fmla="*/ 2147483647 w 480"/>
              <a:gd name="T1" fmla="*/ 2147483647 h 494"/>
              <a:gd name="T2" fmla="*/ 2147483647 w 480"/>
              <a:gd name="T3" fmla="*/ 2147483647 h 494"/>
              <a:gd name="T4" fmla="*/ 2147483647 w 480"/>
              <a:gd name="T5" fmla="*/ 2147483647 h 494"/>
              <a:gd name="T6" fmla="*/ 2147483647 w 480"/>
              <a:gd name="T7" fmla="*/ 2147483647 h 494"/>
              <a:gd name="T8" fmla="*/ 2147483647 w 480"/>
              <a:gd name="T9" fmla="*/ 2147483647 h 494"/>
              <a:gd name="T10" fmla="*/ 2147483647 w 480"/>
              <a:gd name="T11" fmla="*/ 2147483647 h 494"/>
              <a:gd name="T12" fmla="*/ 2147483647 w 480"/>
              <a:gd name="T13" fmla="*/ 2147483647 h 494"/>
              <a:gd name="T14" fmla="*/ 2147483647 w 480"/>
              <a:gd name="T15" fmla="*/ 2147483647 h 494"/>
              <a:gd name="T16" fmla="*/ 2147483647 w 480"/>
              <a:gd name="T17" fmla="*/ 2147483647 h 494"/>
              <a:gd name="T18" fmla="*/ 2147483647 w 480"/>
              <a:gd name="T19" fmla="*/ 2147483647 h 494"/>
              <a:gd name="T20" fmla="*/ 2147483647 w 480"/>
              <a:gd name="T21" fmla="*/ 2147483647 h 494"/>
              <a:gd name="T22" fmla="*/ 2147483647 w 480"/>
              <a:gd name="T23" fmla="*/ 2147483647 h 494"/>
              <a:gd name="T24" fmla="*/ 2147483647 w 480"/>
              <a:gd name="T25" fmla="*/ 2147483647 h 494"/>
              <a:gd name="T26" fmla="*/ 2147483647 w 480"/>
              <a:gd name="T27" fmla="*/ 2147483647 h 494"/>
              <a:gd name="T28" fmla="*/ 2147483647 w 480"/>
              <a:gd name="T29" fmla="*/ 2147483647 h 494"/>
              <a:gd name="T30" fmla="*/ 2147483647 w 480"/>
              <a:gd name="T31" fmla="*/ 2147483647 h 494"/>
              <a:gd name="T32" fmla="*/ 2147483647 w 480"/>
              <a:gd name="T33" fmla="*/ 2147483647 h 494"/>
              <a:gd name="T34" fmla="*/ 2147483647 w 480"/>
              <a:gd name="T35" fmla="*/ 2147483647 h 494"/>
              <a:gd name="T36" fmla="*/ 2147483647 w 480"/>
              <a:gd name="T37" fmla="*/ 2147483647 h 494"/>
              <a:gd name="T38" fmla="*/ 0 w 480"/>
              <a:gd name="T39" fmla="*/ 2147483647 h 494"/>
              <a:gd name="T40" fmla="*/ 2147483647 w 480"/>
              <a:gd name="T41" fmla="*/ 2147483647 h 494"/>
              <a:gd name="T42" fmla="*/ 2147483647 w 480"/>
              <a:gd name="T43" fmla="*/ 2147483647 h 494"/>
              <a:gd name="T44" fmla="*/ 2147483647 w 480"/>
              <a:gd name="T45" fmla="*/ 2147483647 h 494"/>
              <a:gd name="T46" fmla="*/ 2147483647 w 480"/>
              <a:gd name="T47" fmla="*/ 2147483647 h 494"/>
              <a:gd name="T48" fmla="*/ 2147483647 w 480"/>
              <a:gd name="T49" fmla="*/ 2147483647 h 494"/>
              <a:gd name="T50" fmla="*/ 2147483647 w 480"/>
              <a:gd name="T51" fmla="*/ 2147483647 h 494"/>
              <a:gd name="T52" fmla="*/ 2147483647 w 480"/>
              <a:gd name="T53" fmla="*/ 2147483647 h 494"/>
              <a:gd name="T54" fmla="*/ 2147483647 w 480"/>
              <a:gd name="T55" fmla="*/ 2147483647 h 494"/>
              <a:gd name="T56" fmla="*/ 2147483647 w 480"/>
              <a:gd name="T57" fmla="*/ 2147483647 h 494"/>
              <a:gd name="T58" fmla="*/ 2147483647 w 480"/>
              <a:gd name="T59" fmla="*/ 2147483647 h 494"/>
              <a:gd name="T60" fmla="*/ 2147483647 w 480"/>
              <a:gd name="T61" fmla="*/ 2147483647 h 494"/>
              <a:gd name="T62" fmla="*/ 2147483647 w 480"/>
              <a:gd name="T63" fmla="*/ 2147483647 h 494"/>
              <a:gd name="T64" fmla="*/ 2147483647 w 480"/>
              <a:gd name="T65" fmla="*/ 2147483647 h 494"/>
              <a:gd name="T66" fmla="*/ 2147483647 w 480"/>
              <a:gd name="T67" fmla="*/ 2147483647 h 494"/>
              <a:gd name="T68" fmla="*/ 2147483647 w 480"/>
              <a:gd name="T69" fmla="*/ 2147483647 h 494"/>
              <a:gd name="T70" fmla="*/ 2147483647 w 480"/>
              <a:gd name="T71" fmla="*/ 2147483647 h 494"/>
              <a:gd name="T72" fmla="*/ 2147483647 w 480"/>
              <a:gd name="T73" fmla="*/ 2147483647 h 494"/>
              <a:gd name="T74" fmla="*/ 2147483647 w 480"/>
              <a:gd name="T75" fmla="*/ 2147483647 h 494"/>
              <a:gd name="T76" fmla="*/ 2147483647 w 480"/>
              <a:gd name="T77" fmla="*/ 2147483647 h 494"/>
              <a:gd name="T78" fmla="*/ 2147483647 w 480"/>
              <a:gd name="T79" fmla="*/ 2147483647 h 494"/>
              <a:gd name="T80" fmla="*/ 2147483647 w 480"/>
              <a:gd name="T81" fmla="*/ 2147483647 h 494"/>
              <a:gd name="T82" fmla="*/ 2147483647 w 480"/>
              <a:gd name="T83" fmla="*/ 2147483647 h 494"/>
              <a:gd name="T84" fmla="*/ 2147483647 w 480"/>
              <a:gd name="T85" fmla="*/ 2147483647 h 494"/>
              <a:gd name="T86" fmla="*/ 2147483647 w 480"/>
              <a:gd name="T87" fmla="*/ 2147483647 h 494"/>
              <a:gd name="T88" fmla="*/ 2147483647 w 480"/>
              <a:gd name="T89" fmla="*/ 2147483647 h 494"/>
              <a:gd name="T90" fmla="*/ 2147483647 w 480"/>
              <a:gd name="T91" fmla="*/ 2147483647 h 494"/>
              <a:gd name="T92" fmla="*/ 2147483647 w 480"/>
              <a:gd name="T93" fmla="*/ 2147483647 h 494"/>
              <a:gd name="T94" fmla="*/ 2147483647 w 480"/>
              <a:gd name="T95" fmla="*/ 2147483647 h 494"/>
              <a:gd name="T96" fmla="*/ 2147483647 w 480"/>
              <a:gd name="T97" fmla="*/ 2147483647 h 494"/>
              <a:gd name="T98" fmla="*/ 2147483647 w 480"/>
              <a:gd name="T99" fmla="*/ 2147483647 h 494"/>
              <a:gd name="T100" fmla="*/ 2147483647 w 480"/>
              <a:gd name="T101" fmla="*/ 2147483647 h 494"/>
              <a:gd name="T102" fmla="*/ 2147483647 w 480"/>
              <a:gd name="T103" fmla="*/ 2147483647 h 494"/>
              <a:gd name="T104" fmla="*/ 2147483647 w 480"/>
              <a:gd name="T105" fmla="*/ 2147483647 h 494"/>
              <a:gd name="T106" fmla="*/ 2147483647 w 480"/>
              <a:gd name="T107" fmla="*/ 2147483647 h 494"/>
              <a:gd name="T108" fmla="*/ 2147483647 w 480"/>
              <a:gd name="T109" fmla="*/ 2147483647 h 494"/>
              <a:gd name="T110" fmla="*/ 2147483647 w 480"/>
              <a:gd name="T111" fmla="*/ 2147483647 h 494"/>
              <a:gd name="T112" fmla="*/ 2147483647 w 480"/>
              <a:gd name="T113" fmla="*/ 2147483647 h 494"/>
              <a:gd name="T114" fmla="*/ 2147483647 w 480"/>
              <a:gd name="T115" fmla="*/ 2147483647 h 494"/>
              <a:gd name="T116" fmla="*/ 2147483647 w 480"/>
              <a:gd name="T117" fmla="*/ 2147483647 h 494"/>
              <a:gd name="T118" fmla="*/ 2147483647 w 480"/>
              <a:gd name="T119" fmla="*/ 2147483647 h 494"/>
              <a:gd name="T120" fmla="*/ 2147483647 w 480"/>
              <a:gd name="T121" fmla="*/ 2147483647 h 494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80"/>
              <a:gd name="T184" fmla="*/ 0 h 494"/>
              <a:gd name="T185" fmla="*/ 480 w 480"/>
              <a:gd name="T186" fmla="*/ 494 h 494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80" h="494">
                <a:moveTo>
                  <a:pt x="479" y="478"/>
                </a:moveTo>
                <a:lnTo>
                  <a:pt x="479" y="453"/>
                </a:lnTo>
                <a:lnTo>
                  <a:pt x="455" y="438"/>
                </a:lnTo>
                <a:lnTo>
                  <a:pt x="432" y="388"/>
                </a:lnTo>
                <a:lnTo>
                  <a:pt x="423" y="388"/>
                </a:lnTo>
                <a:lnTo>
                  <a:pt x="414" y="365"/>
                </a:lnTo>
                <a:lnTo>
                  <a:pt x="398" y="372"/>
                </a:lnTo>
                <a:lnTo>
                  <a:pt x="389" y="381"/>
                </a:lnTo>
                <a:lnTo>
                  <a:pt x="366" y="356"/>
                </a:lnTo>
                <a:lnTo>
                  <a:pt x="366" y="348"/>
                </a:lnTo>
                <a:lnTo>
                  <a:pt x="341" y="356"/>
                </a:lnTo>
                <a:lnTo>
                  <a:pt x="341" y="348"/>
                </a:lnTo>
                <a:lnTo>
                  <a:pt x="341" y="65"/>
                </a:lnTo>
                <a:lnTo>
                  <a:pt x="317" y="49"/>
                </a:lnTo>
                <a:lnTo>
                  <a:pt x="293" y="57"/>
                </a:lnTo>
                <a:lnTo>
                  <a:pt x="276" y="49"/>
                </a:lnTo>
                <a:lnTo>
                  <a:pt x="261" y="49"/>
                </a:lnTo>
                <a:lnTo>
                  <a:pt x="236" y="33"/>
                </a:lnTo>
                <a:lnTo>
                  <a:pt x="202" y="33"/>
                </a:lnTo>
                <a:lnTo>
                  <a:pt x="196" y="17"/>
                </a:lnTo>
                <a:lnTo>
                  <a:pt x="171" y="17"/>
                </a:lnTo>
                <a:lnTo>
                  <a:pt x="162" y="8"/>
                </a:lnTo>
                <a:lnTo>
                  <a:pt x="147" y="0"/>
                </a:lnTo>
                <a:lnTo>
                  <a:pt x="131" y="17"/>
                </a:lnTo>
                <a:lnTo>
                  <a:pt x="114" y="24"/>
                </a:lnTo>
                <a:lnTo>
                  <a:pt x="90" y="42"/>
                </a:lnTo>
                <a:lnTo>
                  <a:pt x="82" y="42"/>
                </a:lnTo>
                <a:lnTo>
                  <a:pt x="65" y="57"/>
                </a:lnTo>
                <a:lnTo>
                  <a:pt x="59" y="89"/>
                </a:lnTo>
                <a:lnTo>
                  <a:pt x="25" y="98"/>
                </a:lnTo>
                <a:lnTo>
                  <a:pt x="18" y="114"/>
                </a:lnTo>
                <a:lnTo>
                  <a:pt x="50" y="139"/>
                </a:lnTo>
                <a:lnTo>
                  <a:pt x="59" y="154"/>
                </a:lnTo>
                <a:lnTo>
                  <a:pt x="74" y="179"/>
                </a:lnTo>
                <a:lnTo>
                  <a:pt x="74" y="186"/>
                </a:lnTo>
                <a:lnTo>
                  <a:pt x="50" y="186"/>
                </a:lnTo>
                <a:lnTo>
                  <a:pt x="50" y="170"/>
                </a:lnTo>
                <a:lnTo>
                  <a:pt x="40" y="170"/>
                </a:lnTo>
                <a:lnTo>
                  <a:pt x="9" y="186"/>
                </a:lnTo>
                <a:lnTo>
                  <a:pt x="0" y="202"/>
                </a:lnTo>
                <a:lnTo>
                  <a:pt x="18" y="211"/>
                </a:lnTo>
                <a:lnTo>
                  <a:pt x="18" y="219"/>
                </a:lnTo>
                <a:lnTo>
                  <a:pt x="18" y="226"/>
                </a:lnTo>
                <a:lnTo>
                  <a:pt x="34" y="235"/>
                </a:lnTo>
                <a:lnTo>
                  <a:pt x="50" y="235"/>
                </a:lnTo>
                <a:lnTo>
                  <a:pt x="65" y="235"/>
                </a:lnTo>
                <a:lnTo>
                  <a:pt x="82" y="226"/>
                </a:lnTo>
                <a:lnTo>
                  <a:pt x="82" y="235"/>
                </a:lnTo>
                <a:lnTo>
                  <a:pt x="90" y="251"/>
                </a:lnTo>
                <a:lnTo>
                  <a:pt x="82" y="267"/>
                </a:lnTo>
                <a:lnTo>
                  <a:pt x="65" y="267"/>
                </a:lnTo>
                <a:lnTo>
                  <a:pt x="59" y="276"/>
                </a:lnTo>
                <a:lnTo>
                  <a:pt x="50" y="276"/>
                </a:lnTo>
                <a:lnTo>
                  <a:pt x="40" y="276"/>
                </a:lnTo>
                <a:lnTo>
                  <a:pt x="25" y="316"/>
                </a:lnTo>
                <a:lnTo>
                  <a:pt x="50" y="365"/>
                </a:lnTo>
                <a:lnTo>
                  <a:pt x="59" y="365"/>
                </a:lnTo>
                <a:lnTo>
                  <a:pt x="74" y="356"/>
                </a:lnTo>
                <a:lnTo>
                  <a:pt x="74" y="372"/>
                </a:lnTo>
                <a:lnTo>
                  <a:pt x="74" y="381"/>
                </a:lnTo>
                <a:lnTo>
                  <a:pt x="82" y="388"/>
                </a:lnTo>
                <a:lnTo>
                  <a:pt x="106" y="388"/>
                </a:lnTo>
                <a:lnTo>
                  <a:pt x="114" y="396"/>
                </a:lnTo>
                <a:lnTo>
                  <a:pt x="114" y="388"/>
                </a:lnTo>
                <a:lnTo>
                  <a:pt x="131" y="388"/>
                </a:lnTo>
                <a:lnTo>
                  <a:pt x="131" y="406"/>
                </a:lnTo>
                <a:lnTo>
                  <a:pt x="131" y="421"/>
                </a:lnTo>
                <a:lnTo>
                  <a:pt x="90" y="453"/>
                </a:lnTo>
                <a:lnTo>
                  <a:pt x="65" y="462"/>
                </a:lnTo>
                <a:lnTo>
                  <a:pt x="59" y="471"/>
                </a:lnTo>
                <a:lnTo>
                  <a:pt x="34" y="487"/>
                </a:lnTo>
                <a:lnTo>
                  <a:pt x="40" y="493"/>
                </a:lnTo>
                <a:lnTo>
                  <a:pt x="82" y="471"/>
                </a:lnTo>
                <a:lnTo>
                  <a:pt x="114" y="453"/>
                </a:lnTo>
                <a:lnTo>
                  <a:pt x="122" y="446"/>
                </a:lnTo>
                <a:lnTo>
                  <a:pt x="139" y="429"/>
                </a:lnTo>
                <a:lnTo>
                  <a:pt x="179" y="396"/>
                </a:lnTo>
                <a:lnTo>
                  <a:pt x="187" y="388"/>
                </a:lnTo>
                <a:lnTo>
                  <a:pt x="171" y="381"/>
                </a:lnTo>
                <a:lnTo>
                  <a:pt x="179" y="372"/>
                </a:lnTo>
                <a:lnTo>
                  <a:pt x="196" y="356"/>
                </a:lnTo>
                <a:lnTo>
                  <a:pt x="196" y="341"/>
                </a:lnTo>
                <a:lnTo>
                  <a:pt x="221" y="325"/>
                </a:lnTo>
                <a:lnTo>
                  <a:pt x="227" y="325"/>
                </a:lnTo>
                <a:lnTo>
                  <a:pt x="221" y="332"/>
                </a:lnTo>
                <a:lnTo>
                  <a:pt x="211" y="341"/>
                </a:lnTo>
                <a:lnTo>
                  <a:pt x="202" y="365"/>
                </a:lnTo>
                <a:lnTo>
                  <a:pt x="211" y="372"/>
                </a:lnTo>
                <a:lnTo>
                  <a:pt x="202" y="381"/>
                </a:lnTo>
                <a:lnTo>
                  <a:pt x="211" y="381"/>
                </a:lnTo>
                <a:lnTo>
                  <a:pt x="236" y="365"/>
                </a:lnTo>
                <a:lnTo>
                  <a:pt x="243" y="365"/>
                </a:lnTo>
                <a:lnTo>
                  <a:pt x="252" y="348"/>
                </a:lnTo>
                <a:lnTo>
                  <a:pt x="243" y="332"/>
                </a:lnTo>
                <a:lnTo>
                  <a:pt x="268" y="341"/>
                </a:lnTo>
                <a:lnTo>
                  <a:pt x="301" y="356"/>
                </a:lnTo>
                <a:lnTo>
                  <a:pt x="324" y="356"/>
                </a:lnTo>
                <a:lnTo>
                  <a:pt x="349" y="365"/>
                </a:lnTo>
                <a:lnTo>
                  <a:pt x="358" y="365"/>
                </a:lnTo>
                <a:lnTo>
                  <a:pt x="358" y="372"/>
                </a:lnTo>
                <a:lnTo>
                  <a:pt x="398" y="406"/>
                </a:lnTo>
                <a:lnTo>
                  <a:pt x="423" y="453"/>
                </a:lnTo>
                <a:lnTo>
                  <a:pt x="414" y="413"/>
                </a:lnTo>
                <a:lnTo>
                  <a:pt x="407" y="406"/>
                </a:lnTo>
                <a:lnTo>
                  <a:pt x="414" y="406"/>
                </a:lnTo>
                <a:lnTo>
                  <a:pt x="414" y="388"/>
                </a:lnTo>
                <a:lnTo>
                  <a:pt x="423" y="429"/>
                </a:lnTo>
                <a:lnTo>
                  <a:pt x="432" y="421"/>
                </a:lnTo>
                <a:lnTo>
                  <a:pt x="447" y="438"/>
                </a:lnTo>
                <a:lnTo>
                  <a:pt x="432" y="429"/>
                </a:lnTo>
                <a:lnTo>
                  <a:pt x="432" y="438"/>
                </a:lnTo>
                <a:lnTo>
                  <a:pt x="432" y="453"/>
                </a:lnTo>
                <a:lnTo>
                  <a:pt x="438" y="446"/>
                </a:lnTo>
                <a:lnTo>
                  <a:pt x="438" y="462"/>
                </a:lnTo>
                <a:lnTo>
                  <a:pt x="455" y="487"/>
                </a:lnTo>
                <a:lnTo>
                  <a:pt x="455" y="471"/>
                </a:lnTo>
                <a:lnTo>
                  <a:pt x="447" y="453"/>
                </a:lnTo>
                <a:lnTo>
                  <a:pt x="455" y="453"/>
                </a:lnTo>
                <a:lnTo>
                  <a:pt x="455" y="462"/>
                </a:lnTo>
                <a:lnTo>
                  <a:pt x="463" y="478"/>
                </a:lnTo>
                <a:lnTo>
                  <a:pt x="472" y="487"/>
                </a:lnTo>
                <a:lnTo>
                  <a:pt x="479" y="478"/>
                </a:lnTo>
              </a:path>
            </a:pathLst>
          </a:custGeom>
          <a:solidFill>
            <a:srgbClr val="E04804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594" name="Freeform 7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1450975" y="2871788"/>
            <a:ext cx="1720850" cy="1350962"/>
          </a:xfrm>
          <a:custGeom>
            <a:avLst/>
            <a:gdLst>
              <a:gd name="T0" fmla="*/ 2147483647 w 1096"/>
              <a:gd name="T1" fmla="*/ 2147483647 h 860"/>
              <a:gd name="T2" fmla="*/ 2147483647 w 1096"/>
              <a:gd name="T3" fmla="*/ 2147483647 h 860"/>
              <a:gd name="T4" fmla="*/ 2147483647 w 1096"/>
              <a:gd name="T5" fmla="*/ 2147483647 h 860"/>
              <a:gd name="T6" fmla="*/ 2147483647 w 1096"/>
              <a:gd name="T7" fmla="*/ 2147483647 h 860"/>
              <a:gd name="T8" fmla="*/ 2147483647 w 1096"/>
              <a:gd name="T9" fmla="*/ 2147483647 h 860"/>
              <a:gd name="T10" fmla="*/ 2147483647 w 1096"/>
              <a:gd name="T11" fmla="*/ 2147483647 h 860"/>
              <a:gd name="T12" fmla="*/ 2147483647 w 1096"/>
              <a:gd name="T13" fmla="*/ 2147483647 h 860"/>
              <a:gd name="T14" fmla="*/ 2147483647 w 1096"/>
              <a:gd name="T15" fmla="*/ 2147483647 h 860"/>
              <a:gd name="T16" fmla="*/ 2147483647 w 1096"/>
              <a:gd name="T17" fmla="*/ 2147483647 h 860"/>
              <a:gd name="T18" fmla="*/ 2147483647 w 1096"/>
              <a:gd name="T19" fmla="*/ 2147483647 h 860"/>
              <a:gd name="T20" fmla="*/ 0 w 1096"/>
              <a:gd name="T21" fmla="*/ 2147483647 h 860"/>
              <a:gd name="T22" fmla="*/ 2147483647 w 1096"/>
              <a:gd name="T23" fmla="*/ 2147483647 h 860"/>
              <a:gd name="T24" fmla="*/ 2147483647 w 1096"/>
              <a:gd name="T25" fmla="*/ 2147483647 h 860"/>
              <a:gd name="T26" fmla="*/ 2147483647 w 1096"/>
              <a:gd name="T27" fmla="*/ 2147483647 h 860"/>
              <a:gd name="T28" fmla="*/ 2147483647 w 1096"/>
              <a:gd name="T29" fmla="*/ 2147483647 h 860"/>
              <a:gd name="T30" fmla="*/ 2147483647 w 1096"/>
              <a:gd name="T31" fmla="*/ 2147483647 h 860"/>
              <a:gd name="T32" fmla="*/ 2147483647 w 1096"/>
              <a:gd name="T33" fmla="*/ 2147483647 h 860"/>
              <a:gd name="T34" fmla="*/ 2147483647 w 1096"/>
              <a:gd name="T35" fmla="*/ 2147483647 h 860"/>
              <a:gd name="T36" fmla="*/ 2147483647 w 1096"/>
              <a:gd name="T37" fmla="*/ 2147483647 h 860"/>
              <a:gd name="T38" fmla="*/ 2147483647 w 1096"/>
              <a:gd name="T39" fmla="*/ 2147483647 h 860"/>
              <a:gd name="T40" fmla="*/ 2147483647 w 1096"/>
              <a:gd name="T41" fmla="*/ 2147483647 h 860"/>
              <a:gd name="T42" fmla="*/ 2147483647 w 1096"/>
              <a:gd name="T43" fmla="*/ 2147483647 h 860"/>
              <a:gd name="T44" fmla="*/ 2147483647 w 1096"/>
              <a:gd name="T45" fmla="*/ 2147483647 h 860"/>
              <a:gd name="T46" fmla="*/ 2147483647 w 1096"/>
              <a:gd name="T47" fmla="*/ 2147483647 h 860"/>
              <a:gd name="T48" fmla="*/ 2147483647 w 1096"/>
              <a:gd name="T49" fmla="*/ 2147483647 h 860"/>
              <a:gd name="T50" fmla="*/ 2147483647 w 1096"/>
              <a:gd name="T51" fmla="*/ 0 h 860"/>
              <a:gd name="T52" fmla="*/ 2147483647 w 1096"/>
              <a:gd name="T53" fmla="*/ 2147483647 h 860"/>
              <a:gd name="T54" fmla="*/ 2147483647 w 1096"/>
              <a:gd name="T55" fmla="*/ 2147483647 h 860"/>
              <a:gd name="T56" fmla="*/ 2147483647 w 1096"/>
              <a:gd name="T57" fmla="*/ 2147483647 h 860"/>
              <a:gd name="T58" fmla="*/ 2147483647 w 1096"/>
              <a:gd name="T59" fmla="*/ 2147483647 h 860"/>
              <a:gd name="T60" fmla="*/ 2147483647 w 1096"/>
              <a:gd name="T61" fmla="*/ 2147483647 h 860"/>
              <a:gd name="T62" fmla="*/ 2147483647 w 1096"/>
              <a:gd name="T63" fmla="*/ 2147483647 h 860"/>
              <a:gd name="T64" fmla="*/ 2147483647 w 1096"/>
              <a:gd name="T65" fmla="*/ 2147483647 h 860"/>
              <a:gd name="T66" fmla="*/ 2147483647 w 1096"/>
              <a:gd name="T67" fmla="*/ 2147483647 h 860"/>
              <a:gd name="T68" fmla="*/ 2147483647 w 1096"/>
              <a:gd name="T69" fmla="*/ 2147483647 h 860"/>
              <a:gd name="T70" fmla="*/ 2147483647 w 1096"/>
              <a:gd name="T71" fmla="*/ 2147483647 h 860"/>
              <a:gd name="T72" fmla="*/ 2147483647 w 1096"/>
              <a:gd name="T73" fmla="*/ 2147483647 h 860"/>
              <a:gd name="T74" fmla="*/ 2147483647 w 1096"/>
              <a:gd name="T75" fmla="*/ 2147483647 h 860"/>
              <a:gd name="T76" fmla="*/ 2147483647 w 1096"/>
              <a:gd name="T77" fmla="*/ 2147483647 h 860"/>
              <a:gd name="T78" fmla="*/ 2147483647 w 1096"/>
              <a:gd name="T79" fmla="*/ 2147483647 h 860"/>
              <a:gd name="T80" fmla="*/ 2147483647 w 1096"/>
              <a:gd name="T81" fmla="*/ 2147483647 h 860"/>
              <a:gd name="T82" fmla="*/ 2147483647 w 1096"/>
              <a:gd name="T83" fmla="*/ 2147483647 h 860"/>
              <a:gd name="T84" fmla="*/ 2147483647 w 1096"/>
              <a:gd name="T85" fmla="*/ 2147483647 h 860"/>
              <a:gd name="T86" fmla="*/ 2147483647 w 1096"/>
              <a:gd name="T87" fmla="*/ 2147483647 h 860"/>
              <a:gd name="T88" fmla="*/ 2147483647 w 1096"/>
              <a:gd name="T89" fmla="*/ 2147483647 h 860"/>
              <a:gd name="T90" fmla="*/ 2147483647 w 1096"/>
              <a:gd name="T91" fmla="*/ 2147483647 h 860"/>
              <a:gd name="T92" fmla="*/ 2147483647 w 1096"/>
              <a:gd name="T93" fmla="*/ 2147483647 h 860"/>
              <a:gd name="T94" fmla="*/ 2147483647 w 1096"/>
              <a:gd name="T95" fmla="*/ 2147483647 h 860"/>
              <a:gd name="T96" fmla="*/ 2147483647 w 1096"/>
              <a:gd name="T97" fmla="*/ 2147483647 h 860"/>
              <a:gd name="T98" fmla="*/ 2147483647 w 1096"/>
              <a:gd name="T99" fmla="*/ 2147483647 h 860"/>
              <a:gd name="T100" fmla="*/ 2147483647 w 1096"/>
              <a:gd name="T101" fmla="*/ 2147483647 h 860"/>
              <a:gd name="T102" fmla="*/ 2147483647 w 1096"/>
              <a:gd name="T103" fmla="*/ 2147483647 h 860"/>
              <a:gd name="T104" fmla="*/ 2147483647 w 1096"/>
              <a:gd name="T105" fmla="*/ 2147483647 h 860"/>
              <a:gd name="T106" fmla="*/ 2147483647 w 1096"/>
              <a:gd name="T107" fmla="*/ 2147483647 h 860"/>
              <a:gd name="T108" fmla="*/ 2147483647 w 1096"/>
              <a:gd name="T109" fmla="*/ 2147483647 h 860"/>
              <a:gd name="T110" fmla="*/ 2147483647 w 1096"/>
              <a:gd name="T111" fmla="*/ 2147483647 h 860"/>
              <a:gd name="T112" fmla="*/ 2147483647 w 1096"/>
              <a:gd name="T113" fmla="*/ 2147483647 h 860"/>
              <a:gd name="T114" fmla="*/ 2147483647 w 1096"/>
              <a:gd name="T115" fmla="*/ 2147483647 h 860"/>
              <a:gd name="T116" fmla="*/ 2147483647 w 1096"/>
              <a:gd name="T117" fmla="*/ 2147483647 h 860"/>
              <a:gd name="T118" fmla="*/ 2147483647 w 1096"/>
              <a:gd name="T119" fmla="*/ 2147483647 h 860"/>
              <a:gd name="T120" fmla="*/ 2147483647 w 1096"/>
              <a:gd name="T121" fmla="*/ 2147483647 h 860"/>
              <a:gd name="T122" fmla="*/ 2147483647 w 1096"/>
              <a:gd name="T123" fmla="*/ 2147483647 h 86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096"/>
              <a:gd name="T187" fmla="*/ 0 h 860"/>
              <a:gd name="T188" fmla="*/ 1096 w 1096"/>
              <a:gd name="T189" fmla="*/ 860 h 86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096" h="860">
                <a:moveTo>
                  <a:pt x="796" y="817"/>
                </a:moveTo>
                <a:lnTo>
                  <a:pt x="796" y="836"/>
                </a:lnTo>
                <a:lnTo>
                  <a:pt x="763" y="842"/>
                </a:lnTo>
                <a:lnTo>
                  <a:pt x="756" y="851"/>
                </a:lnTo>
                <a:lnTo>
                  <a:pt x="738" y="859"/>
                </a:lnTo>
                <a:lnTo>
                  <a:pt x="756" y="836"/>
                </a:lnTo>
                <a:lnTo>
                  <a:pt x="747" y="836"/>
                </a:lnTo>
                <a:lnTo>
                  <a:pt x="763" y="827"/>
                </a:lnTo>
                <a:lnTo>
                  <a:pt x="763" y="795"/>
                </a:lnTo>
                <a:lnTo>
                  <a:pt x="779" y="811"/>
                </a:lnTo>
                <a:lnTo>
                  <a:pt x="788" y="802"/>
                </a:lnTo>
                <a:lnTo>
                  <a:pt x="771" y="786"/>
                </a:lnTo>
                <a:lnTo>
                  <a:pt x="731" y="777"/>
                </a:lnTo>
                <a:lnTo>
                  <a:pt x="722" y="770"/>
                </a:lnTo>
                <a:lnTo>
                  <a:pt x="716" y="746"/>
                </a:lnTo>
                <a:lnTo>
                  <a:pt x="706" y="746"/>
                </a:lnTo>
                <a:lnTo>
                  <a:pt x="697" y="730"/>
                </a:lnTo>
                <a:lnTo>
                  <a:pt x="682" y="722"/>
                </a:lnTo>
                <a:lnTo>
                  <a:pt x="657" y="746"/>
                </a:lnTo>
                <a:lnTo>
                  <a:pt x="632" y="746"/>
                </a:lnTo>
                <a:lnTo>
                  <a:pt x="617" y="730"/>
                </a:lnTo>
                <a:lnTo>
                  <a:pt x="601" y="730"/>
                </a:lnTo>
                <a:lnTo>
                  <a:pt x="592" y="714"/>
                </a:lnTo>
                <a:lnTo>
                  <a:pt x="585" y="722"/>
                </a:lnTo>
                <a:lnTo>
                  <a:pt x="236" y="722"/>
                </a:lnTo>
                <a:lnTo>
                  <a:pt x="228" y="722"/>
                </a:lnTo>
                <a:lnTo>
                  <a:pt x="219" y="714"/>
                </a:lnTo>
                <a:lnTo>
                  <a:pt x="171" y="680"/>
                </a:lnTo>
                <a:lnTo>
                  <a:pt x="162" y="656"/>
                </a:lnTo>
                <a:lnTo>
                  <a:pt x="154" y="649"/>
                </a:lnTo>
                <a:lnTo>
                  <a:pt x="131" y="625"/>
                </a:lnTo>
                <a:lnTo>
                  <a:pt x="138" y="615"/>
                </a:lnTo>
                <a:lnTo>
                  <a:pt x="138" y="600"/>
                </a:lnTo>
                <a:lnTo>
                  <a:pt x="138" y="575"/>
                </a:lnTo>
                <a:lnTo>
                  <a:pt x="114" y="560"/>
                </a:lnTo>
                <a:lnTo>
                  <a:pt x="91" y="510"/>
                </a:lnTo>
                <a:lnTo>
                  <a:pt x="82" y="510"/>
                </a:lnTo>
                <a:lnTo>
                  <a:pt x="73" y="487"/>
                </a:lnTo>
                <a:lnTo>
                  <a:pt x="57" y="494"/>
                </a:lnTo>
                <a:lnTo>
                  <a:pt x="48" y="503"/>
                </a:lnTo>
                <a:lnTo>
                  <a:pt x="25" y="478"/>
                </a:lnTo>
                <a:lnTo>
                  <a:pt x="25" y="470"/>
                </a:lnTo>
                <a:lnTo>
                  <a:pt x="0" y="478"/>
                </a:lnTo>
                <a:lnTo>
                  <a:pt x="0" y="470"/>
                </a:lnTo>
                <a:lnTo>
                  <a:pt x="0" y="187"/>
                </a:lnTo>
                <a:lnTo>
                  <a:pt x="17" y="187"/>
                </a:lnTo>
                <a:lnTo>
                  <a:pt x="66" y="220"/>
                </a:lnTo>
                <a:lnTo>
                  <a:pt x="66" y="202"/>
                </a:lnTo>
                <a:lnTo>
                  <a:pt x="73" y="195"/>
                </a:lnTo>
                <a:lnTo>
                  <a:pt x="91" y="187"/>
                </a:lnTo>
                <a:lnTo>
                  <a:pt x="97" y="195"/>
                </a:lnTo>
                <a:lnTo>
                  <a:pt x="147" y="164"/>
                </a:lnTo>
                <a:lnTo>
                  <a:pt x="147" y="179"/>
                </a:lnTo>
                <a:lnTo>
                  <a:pt x="162" y="179"/>
                </a:lnTo>
                <a:lnTo>
                  <a:pt x="171" y="155"/>
                </a:lnTo>
                <a:lnTo>
                  <a:pt x="187" y="171"/>
                </a:lnTo>
                <a:lnTo>
                  <a:pt x="187" y="187"/>
                </a:lnTo>
                <a:lnTo>
                  <a:pt x="203" y="195"/>
                </a:lnTo>
                <a:lnTo>
                  <a:pt x="212" y="179"/>
                </a:lnTo>
                <a:lnTo>
                  <a:pt x="212" y="195"/>
                </a:lnTo>
                <a:lnTo>
                  <a:pt x="228" y="195"/>
                </a:lnTo>
                <a:lnTo>
                  <a:pt x="228" y="179"/>
                </a:lnTo>
                <a:lnTo>
                  <a:pt x="253" y="179"/>
                </a:lnTo>
                <a:lnTo>
                  <a:pt x="268" y="195"/>
                </a:lnTo>
                <a:lnTo>
                  <a:pt x="284" y="202"/>
                </a:lnTo>
                <a:lnTo>
                  <a:pt x="300" y="211"/>
                </a:lnTo>
                <a:lnTo>
                  <a:pt x="318" y="211"/>
                </a:lnTo>
                <a:lnTo>
                  <a:pt x="341" y="220"/>
                </a:lnTo>
                <a:lnTo>
                  <a:pt x="341" y="236"/>
                </a:lnTo>
                <a:lnTo>
                  <a:pt x="333" y="242"/>
                </a:lnTo>
                <a:lnTo>
                  <a:pt x="333" y="252"/>
                </a:lnTo>
                <a:lnTo>
                  <a:pt x="358" y="261"/>
                </a:lnTo>
                <a:lnTo>
                  <a:pt x="398" y="242"/>
                </a:lnTo>
                <a:lnTo>
                  <a:pt x="423" y="261"/>
                </a:lnTo>
                <a:lnTo>
                  <a:pt x="423" y="242"/>
                </a:lnTo>
                <a:lnTo>
                  <a:pt x="415" y="236"/>
                </a:lnTo>
                <a:lnTo>
                  <a:pt x="423" y="227"/>
                </a:lnTo>
                <a:lnTo>
                  <a:pt x="455" y="211"/>
                </a:lnTo>
                <a:lnTo>
                  <a:pt x="464" y="236"/>
                </a:lnTo>
                <a:lnTo>
                  <a:pt x="504" y="252"/>
                </a:lnTo>
                <a:lnTo>
                  <a:pt x="529" y="261"/>
                </a:lnTo>
                <a:lnTo>
                  <a:pt x="544" y="261"/>
                </a:lnTo>
                <a:lnTo>
                  <a:pt x="544" y="236"/>
                </a:lnTo>
                <a:lnTo>
                  <a:pt x="552" y="227"/>
                </a:lnTo>
                <a:lnTo>
                  <a:pt x="529" y="211"/>
                </a:lnTo>
                <a:lnTo>
                  <a:pt x="544" y="202"/>
                </a:lnTo>
                <a:lnTo>
                  <a:pt x="552" y="179"/>
                </a:lnTo>
                <a:lnTo>
                  <a:pt x="569" y="202"/>
                </a:lnTo>
                <a:lnTo>
                  <a:pt x="585" y="220"/>
                </a:lnTo>
                <a:lnTo>
                  <a:pt x="569" y="236"/>
                </a:lnTo>
                <a:lnTo>
                  <a:pt x="569" y="252"/>
                </a:lnTo>
                <a:lnTo>
                  <a:pt x="577" y="261"/>
                </a:lnTo>
                <a:lnTo>
                  <a:pt x="585" y="242"/>
                </a:lnTo>
                <a:lnTo>
                  <a:pt x="601" y="227"/>
                </a:lnTo>
                <a:lnTo>
                  <a:pt x="592" y="211"/>
                </a:lnTo>
                <a:lnTo>
                  <a:pt x="601" y="195"/>
                </a:lnTo>
                <a:lnTo>
                  <a:pt x="585" y="179"/>
                </a:lnTo>
                <a:lnTo>
                  <a:pt x="569" y="164"/>
                </a:lnTo>
                <a:lnTo>
                  <a:pt x="577" y="114"/>
                </a:lnTo>
                <a:lnTo>
                  <a:pt x="592" y="105"/>
                </a:lnTo>
                <a:lnTo>
                  <a:pt x="592" y="65"/>
                </a:lnTo>
                <a:lnTo>
                  <a:pt x="585" y="25"/>
                </a:lnTo>
                <a:lnTo>
                  <a:pt x="585" y="9"/>
                </a:lnTo>
                <a:lnTo>
                  <a:pt x="617" y="0"/>
                </a:lnTo>
                <a:lnTo>
                  <a:pt x="641" y="9"/>
                </a:lnTo>
                <a:lnTo>
                  <a:pt x="650" y="16"/>
                </a:lnTo>
                <a:lnTo>
                  <a:pt x="626" y="65"/>
                </a:lnTo>
                <a:lnTo>
                  <a:pt x="617" y="65"/>
                </a:lnTo>
                <a:lnTo>
                  <a:pt x="601" y="74"/>
                </a:lnTo>
                <a:lnTo>
                  <a:pt x="609" y="90"/>
                </a:lnTo>
                <a:lnTo>
                  <a:pt x="601" y="99"/>
                </a:lnTo>
                <a:lnTo>
                  <a:pt x="632" y="171"/>
                </a:lnTo>
                <a:lnTo>
                  <a:pt x="626" y="187"/>
                </a:lnTo>
                <a:lnTo>
                  <a:pt x="632" y="195"/>
                </a:lnTo>
                <a:lnTo>
                  <a:pt x="657" y="227"/>
                </a:lnTo>
                <a:lnTo>
                  <a:pt x="666" y="202"/>
                </a:lnTo>
                <a:lnTo>
                  <a:pt x="682" y="220"/>
                </a:lnTo>
                <a:lnTo>
                  <a:pt x="673" y="252"/>
                </a:lnTo>
                <a:lnTo>
                  <a:pt x="691" y="267"/>
                </a:lnTo>
                <a:lnTo>
                  <a:pt x="697" y="267"/>
                </a:lnTo>
                <a:lnTo>
                  <a:pt x="697" y="252"/>
                </a:lnTo>
                <a:lnTo>
                  <a:pt x="716" y="242"/>
                </a:lnTo>
                <a:lnTo>
                  <a:pt x="716" y="179"/>
                </a:lnTo>
                <a:lnTo>
                  <a:pt x="731" y="179"/>
                </a:lnTo>
                <a:lnTo>
                  <a:pt x="747" y="187"/>
                </a:lnTo>
                <a:lnTo>
                  <a:pt x="747" y="202"/>
                </a:lnTo>
                <a:lnTo>
                  <a:pt x="763" y="202"/>
                </a:lnTo>
                <a:lnTo>
                  <a:pt x="763" y="227"/>
                </a:lnTo>
                <a:lnTo>
                  <a:pt x="747" y="236"/>
                </a:lnTo>
                <a:lnTo>
                  <a:pt x="747" y="252"/>
                </a:lnTo>
                <a:lnTo>
                  <a:pt x="763" y="261"/>
                </a:lnTo>
                <a:lnTo>
                  <a:pt x="763" y="276"/>
                </a:lnTo>
                <a:lnTo>
                  <a:pt x="731" y="308"/>
                </a:lnTo>
                <a:lnTo>
                  <a:pt x="716" y="301"/>
                </a:lnTo>
                <a:lnTo>
                  <a:pt x="716" y="292"/>
                </a:lnTo>
                <a:lnTo>
                  <a:pt x="697" y="292"/>
                </a:lnTo>
                <a:lnTo>
                  <a:pt x="706" y="308"/>
                </a:lnTo>
                <a:lnTo>
                  <a:pt x="691" y="324"/>
                </a:lnTo>
                <a:lnTo>
                  <a:pt x="691" y="341"/>
                </a:lnTo>
                <a:lnTo>
                  <a:pt x="673" y="373"/>
                </a:lnTo>
                <a:lnTo>
                  <a:pt x="657" y="373"/>
                </a:lnTo>
                <a:lnTo>
                  <a:pt x="641" y="389"/>
                </a:lnTo>
                <a:lnTo>
                  <a:pt x="650" y="406"/>
                </a:lnTo>
                <a:lnTo>
                  <a:pt x="626" y="413"/>
                </a:lnTo>
                <a:lnTo>
                  <a:pt x="626" y="429"/>
                </a:lnTo>
                <a:lnTo>
                  <a:pt x="617" y="429"/>
                </a:lnTo>
                <a:lnTo>
                  <a:pt x="609" y="438"/>
                </a:lnTo>
                <a:lnTo>
                  <a:pt x="592" y="478"/>
                </a:lnTo>
                <a:lnTo>
                  <a:pt x="592" y="503"/>
                </a:lnTo>
                <a:lnTo>
                  <a:pt x="601" y="510"/>
                </a:lnTo>
                <a:lnTo>
                  <a:pt x="617" y="510"/>
                </a:lnTo>
                <a:lnTo>
                  <a:pt x="626" y="560"/>
                </a:lnTo>
                <a:lnTo>
                  <a:pt x="641" y="551"/>
                </a:lnTo>
                <a:lnTo>
                  <a:pt x="666" y="560"/>
                </a:lnTo>
                <a:lnTo>
                  <a:pt x="682" y="575"/>
                </a:lnTo>
                <a:lnTo>
                  <a:pt x="716" y="593"/>
                </a:lnTo>
                <a:lnTo>
                  <a:pt x="747" y="593"/>
                </a:lnTo>
                <a:lnTo>
                  <a:pt x="756" y="600"/>
                </a:lnTo>
                <a:lnTo>
                  <a:pt x="756" y="649"/>
                </a:lnTo>
                <a:lnTo>
                  <a:pt x="788" y="680"/>
                </a:lnTo>
                <a:lnTo>
                  <a:pt x="803" y="665"/>
                </a:lnTo>
                <a:lnTo>
                  <a:pt x="788" y="609"/>
                </a:lnTo>
                <a:lnTo>
                  <a:pt x="803" y="600"/>
                </a:lnTo>
                <a:lnTo>
                  <a:pt x="819" y="575"/>
                </a:lnTo>
                <a:lnTo>
                  <a:pt x="812" y="528"/>
                </a:lnTo>
                <a:lnTo>
                  <a:pt x="796" y="510"/>
                </a:lnTo>
                <a:lnTo>
                  <a:pt x="803" y="503"/>
                </a:lnTo>
                <a:lnTo>
                  <a:pt x="812" y="503"/>
                </a:lnTo>
                <a:lnTo>
                  <a:pt x="812" y="470"/>
                </a:lnTo>
                <a:lnTo>
                  <a:pt x="803" y="463"/>
                </a:lnTo>
                <a:lnTo>
                  <a:pt x="812" y="438"/>
                </a:lnTo>
                <a:lnTo>
                  <a:pt x="803" y="429"/>
                </a:lnTo>
                <a:lnTo>
                  <a:pt x="803" y="423"/>
                </a:lnTo>
                <a:lnTo>
                  <a:pt x="812" y="413"/>
                </a:lnTo>
                <a:lnTo>
                  <a:pt x="836" y="423"/>
                </a:lnTo>
                <a:lnTo>
                  <a:pt x="859" y="413"/>
                </a:lnTo>
                <a:lnTo>
                  <a:pt x="893" y="438"/>
                </a:lnTo>
                <a:lnTo>
                  <a:pt x="884" y="447"/>
                </a:lnTo>
                <a:lnTo>
                  <a:pt x="893" y="454"/>
                </a:lnTo>
                <a:lnTo>
                  <a:pt x="918" y="454"/>
                </a:lnTo>
                <a:lnTo>
                  <a:pt x="918" y="503"/>
                </a:lnTo>
                <a:lnTo>
                  <a:pt x="942" y="528"/>
                </a:lnTo>
                <a:lnTo>
                  <a:pt x="974" y="494"/>
                </a:lnTo>
                <a:lnTo>
                  <a:pt x="967" y="487"/>
                </a:lnTo>
                <a:lnTo>
                  <a:pt x="974" y="470"/>
                </a:lnTo>
                <a:lnTo>
                  <a:pt x="1023" y="551"/>
                </a:lnTo>
                <a:lnTo>
                  <a:pt x="1015" y="560"/>
                </a:lnTo>
                <a:lnTo>
                  <a:pt x="1015" y="575"/>
                </a:lnTo>
                <a:lnTo>
                  <a:pt x="1030" y="584"/>
                </a:lnTo>
                <a:lnTo>
                  <a:pt x="1030" y="593"/>
                </a:lnTo>
                <a:lnTo>
                  <a:pt x="1047" y="600"/>
                </a:lnTo>
                <a:lnTo>
                  <a:pt x="1055" y="600"/>
                </a:lnTo>
                <a:lnTo>
                  <a:pt x="1070" y="609"/>
                </a:lnTo>
                <a:lnTo>
                  <a:pt x="1055" y="615"/>
                </a:lnTo>
                <a:lnTo>
                  <a:pt x="1070" y="615"/>
                </a:lnTo>
                <a:lnTo>
                  <a:pt x="1070" y="633"/>
                </a:lnTo>
                <a:lnTo>
                  <a:pt x="1079" y="633"/>
                </a:lnTo>
                <a:lnTo>
                  <a:pt x="1089" y="640"/>
                </a:lnTo>
                <a:lnTo>
                  <a:pt x="1089" y="649"/>
                </a:lnTo>
                <a:lnTo>
                  <a:pt x="1095" y="665"/>
                </a:lnTo>
                <a:lnTo>
                  <a:pt x="1079" y="674"/>
                </a:lnTo>
                <a:lnTo>
                  <a:pt x="1055" y="680"/>
                </a:lnTo>
                <a:lnTo>
                  <a:pt x="1039" y="705"/>
                </a:lnTo>
                <a:lnTo>
                  <a:pt x="1015" y="705"/>
                </a:lnTo>
                <a:lnTo>
                  <a:pt x="990" y="697"/>
                </a:lnTo>
                <a:lnTo>
                  <a:pt x="950" y="705"/>
                </a:lnTo>
                <a:lnTo>
                  <a:pt x="942" y="722"/>
                </a:lnTo>
                <a:lnTo>
                  <a:pt x="933" y="722"/>
                </a:lnTo>
                <a:lnTo>
                  <a:pt x="918" y="730"/>
                </a:lnTo>
                <a:lnTo>
                  <a:pt x="893" y="762"/>
                </a:lnTo>
                <a:lnTo>
                  <a:pt x="902" y="762"/>
                </a:lnTo>
                <a:lnTo>
                  <a:pt x="925" y="737"/>
                </a:lnTo>
                <a:lnTo>
                  <a:pt x="950" y="722"/>
                </a:lnTo>
                <a:lnTo>
                  <a:pt x="974" y="722"/>
                </a:lnTo>
                <a:lnTo>
                  <a:pt x="983" y="722"/>
                </a:lnTo>
                <a:lnTo>
                  <a:pt x="983" y="737"/>
                </a:lnTo>
                <a:lnTo>
                  <a:pt x="967" y="746"/>
                </a:lnTo>
                <a:lnTo>
                  <a:pt x="958" y="746"/>
                </a:lnTo>
                <a:lnTo>
                  <a:pt x="967" y="754"/>
                </a:lnTo>
                <a:lnTo>
                  <a:pt x="974" y="746"/>
                </a:lnTo>
                <a:lnTo>
                  <a:pt x="974" y="770"/>
                </a:lnTo>
                <a:lnTo>
                  <a:pt x="983" y="777"/>
                </a:lnTo>
                <a:lnTo>
                  <a:pt x="999" y="786"/>
                </a:lnTo>
                <a:lnTo>
                  <a:pt x="1015" y="786"/>
                </a:lnTo>
                <a:lnTo>
                  <a:pt x="1015" y="777"/>
                </a:lnTo>
                <a:lnTo>
                  <a:pt x="1030" y="762"/>
                </a:lnTo>
                <a:lnTo>
                  <a:pt x="1030" y="777"/>
                </a:lnTo>
                <a:lnTo>
                  <a:pt x="1039" y="777"/>
                </a:lnTo>
                <a:lnTo>
                  <a:pt x="1030" y="786"/>
                </a:lnTo>
                <a:lnTo>
                  <a:pt x="1023" y="795"/>
                </a:lnTo>
                <a:lnTo>
                  <a:pt x="983" y="811"/>
                </a:lnTo>
                <a:lnTo>
                  <a:pt x="967" y="827"/>
                </a:lnTo>
                <a:lnTo>
                  <a:pt x="958" y="811"/>
                </a:lnTo>
                <a:lnTo>
                  <a:pt x="983" y="795"/>
                </a:lnTo>
                <a:lnTo>
                  <a:pt x="974" y="795"/>
                </a:lnTo>
                <a:lnTo>
                  <a:pt x="974" y="786"/>
                </a:lnTo>
                <a:lnTo>
                  <a:pt x="958" y="795"/>
                </a:lnTo>
                <a:lnTo>
                  <a:pt x="950" y="795"/>
                </a:lnTo>
                <a:lnTo>
                  <a:pt x="942" y="786"/>
                </a:lnTo>
                <a:lnTo>
                  <a:pt x="933" y="762"/>
                </a:lnTo>
                <a:lnTo>
                  <a:pt x="933" y="754"/>
                </a:lnTo>
                <a:lnTo>
                  <a:pt x="925" y="762"/>
                </a:lnTo>
                <a:lnTo>
                  <a:pt x="918" y="754"/>
                </a:lnTo>
                <a:lnTo>
                  <a:pt x="902" y="795"/>
                </a:lnTo>
                <a:lnTo>
                  <a:pt x="884" y="802"/>
                </a:lnTo>
                <a:lnTo>
                  <a:pt x="844" y="802"/>
                </a:lnTo>
                <a:lnTo>
                  <a:pt x="828" y="811"/>
                </a:lnTo>
                <a:lnTo>
                  <a:pt x="819" y="817"/>
                </a:lnTo>
                <a:lnTo>
                  <a:pt x="796" y="817"/>
                </a:lnTo>
              </a:path>
            </a:pathLst>
          </a:custGeom>
          <a:solidFill>
            <a:srgbClr val="E04804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595" name="Freeform 8"/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5772150" y="3867150"/>
            <a:ext cx="1225550" cy="850900"/>
          </a:xfrm>
          <a:custGeom>
            <a:avLst/>
            <a:gdLst>
              <a:gd name="T0" fmla="*/ 2147483647 w 780"/>
              <a:gd name="T1" fmla="*/ 2147483647 h 543"/>
              <a:gd name="T2" fmla="*/ 2147483647 w 780"/>
              <a:gd name="T3" fmla="*/ 2147483647 h 543"/>
              <a:gd name="T4" fmla="*/ 2147483647 w 780"/>
              <a:gd name="T5" fmla="*/ 2147483647 h 543"/>
              <a:gd name="T6" fmla="*/ 2147483647 w 780"/>
              <a:gd name="T7" fmla="*/ 2147483647 h 543"/>
              <a:gd name="T8" fmla="*/ 2147483647 w 780"/>
              <a:gd name="T9" fmla="*/ 2147483647 h 543"/>
              <a:gd name="T10" fmla="*/ 2147483647 w 780"/>
              <a:gd name="T11" fmla="*/ 2147483647 h 543"/>
              <a:gd name="T12" fmla="*/ 2147483647 w 780"/>
              <a:gd name="T13" fmla="*/ 2147483647 h 543"/>
              <a:gd name="T14" fmla="*/ 2147483647 w 780"/>
              <a:gd name="T15" fmla="*/ 2147483647 h 543"/>
              <a:gd name="T16" fmla="*/ 2147483647 w 780"/>
              <a:gd name="T17" fmla="*/ 2147483647 h 543"/>
              <a:gd name="T18" fmla="*/ 2147483647 w 780"/>
              <a:gd name="T19" fmla="*/ 2147483647 h 543"/>
              <a:gd name="T20" fmla="*/ 2147483647 w 780"/>
              <a:gd name="T21" fmla="*/ 2147483647 h 543"/>
              <a:gd name="T22" fmla="*/ 2147483647 w 780"/>
              <a:gd name="T23" fmla="*/ 2147483647 h 543"/>
              <a:gd name="T24" fmla="*/ 2147483647 w 780"/>
              <a:gd name="T25" fmla="*/ 2147483647 h 543"/>
              <a:gd name="T26" fmla="*/ 2147483647 w 780"/>
              <a:gd name="T27" fmla="*/ 2147483647 h 543"/>
              <a:gd name="T28" fmla="*/ 2147483647 w 780"/>
              <a:gd name="T29" fmla="*/ 2147483647 h 543"/>
              <a:gd name="T30" fmla="*/ 2147483647 w 780"/>
              <a:gd name="T31" fmla="*/ 2147483647 h 543"/>
              <a:gd name="T32" fmla="*/ 2147483647 w 780"/>
              <a:gd name="T33" fmla="*/ 2147483647 h 543"/>
              <a:gd name="T34" fmla="*/ 2147483647 w 780"/>
              <a:gd name="T35" fmla="*/ 2147483647 h 543"/>
              <a:gd name="T36" fmla="*/ 2147483647 w 780"/>
              <a:gd name="T37" fmla="*/ 2147483647 h 543"/>
              <a:gd name="T38" fmla="*/ 2147483647 w 780"/>
              <a:gd name="T39" fmla="*/ 2147483647 h 543"/>
              <a:gd name="T40" fmla="*/ 2147483647 w 780"/>
              <a:gd name="T41" fmla="*/ 2147483647 h 543"/>
              <a:gd name="T42" fmla="*/ 2147483647 w 780"/>
              <a:gd name="T43" fmla="*/ 2147483647 h 543"/>
              <a:gd name="T44" fmla="*/ 2147483647 w 780"/>
              <a:gd name="T45" fmla="*/ 2147483647 h 543"/>
              <a:gd name="T46" fmla="*/ 2147483647 w 780"/>
              <a:gd name="T47" fmla="*/ 2147483647 h 543"/>
              <a:gd name="T48" fmla="*/ 2147483647 w 780"/>
              <a:gd name="T49" fmla="*/ 2147483647 h 543"/>
              <a:gd name="T50" fmla="*/ 2147483647 w 780"/>
              <a:gd name="T51" fmla="*/ 2147483647 h 543"/>
              <a:gd name="T52" fmla="*/ 2147483647 w 780"/>
              <a:gd name="T53" fmla="*/ 2147483647 h 543"/>
              <a:gd name="T54" fmla="*/ 2147483647 w 780"/>
              <a:gd name="T55" fmla="*/ 2147483647 h 543"/>
              <a:gd name="T56" fmla="*/ 2147483647 w 780"/>
              <a:gd name="T57" fmla="*/ 2147483647 h 543"/>
              <a:gd name="T58" fmla="*/ 2147483647 w 780"/>
              <a:gd name="T59" fmla="*/ 2147483647 h 543"/>
              <a:gd name="T60" fmla="*/ 2147483647 w 780"/>
              <a:gd name="T61" fmla="*/ 2147483647 h 543"/>
              <a:gd name="T62" fmla="*/ 2147483647 w 780"/>
              <a:gd name="T63" fmla="*/ 2147483647 h 543"/>
              <a:gd name="T64" fmla="*/ 2147483647 w 780"/>
              <a:gd name="T65" fmla="*/ 2147483647 h 543"/>
              <a:gd name="T66" fmla="*/ 2147483647 w 780"/>
              <a:gd name="T67" fmla="*/ 2147483647 h 543"/>
              <a:gd name="T68" fmla="*/ 2147483647 w 780"/>
              <a:gd name="T69" fmla="*/ 2147483647 h 543"/>
              <a:gd name="T70" fmla="*/ 2147483647 w 780"/>
              <a:gd name="T71" fmla="*/ 2147483647 h 543"/>
              <a:gd name="T72" fmla="*/ 2147483647 w 780"/>
              <a:gd name="T73" fmla="*/ 2147483647 h 543"/>
              <a:gd name="T74" fmla="*/ 2147483647 w 780"/>
              <a:gd name="T75" fmla="*/ 2147483647 h 543"/>
              <a:gd name="T76" fmla="*/ 2147483647 w 780"/>
              <a:gd name="T77" fmla="*/ 2147483647 h 543"/>
              <a:gd name="T78" fmla="*/ 2147483647 w 780"/>
              <a:gd name="T79" fmla="*/ 2147483647 h 543"/>
              <a:gd name="T80" fmla="*/ 2147483647 w 780"/>
              <a:gd name="T81" fmla="*/ 2147483647 h 543"/>
              <a:gd name="T82" fmla="*/ 2147483647 w 780"/>
              <a:gd name="T83" fmla="*/ 2147483647 h 543"/>
              <a:gd name="T84" fmla="*/ 2147483647 w 780"/>
              <a:gd name="T85" fmla="*/ 2147483647 h 543"/>
              <a:gd name="T86" fmla="*/ 2147483647 w 780"/>
              <a:gd name="T87" fmla="*/ 2147483647 h 543"/>
              <a:gd name="T88" fmla="*/ 2147483647 w 780"/>
              <a:gd name="T89" fmla="*/ 2147483647 h 543"/>
              <a:gd name="T90" fmla="*/ 2147483647 w 780"/>
              <a:gd name="T91" fmla="*/ 2147483647 h 543"/>
              <a:gd name="T92" fmla="*/ 2147483647 w 780"/>
              <a:gd name="T93" fmla="*/ 2147483647 h 543"/>
              <a:gd name="T94" fmla="*/ 0 w 780"/>
              <a:gd name="T95" fmla="*/ 2147483647 h 543"/>
              <a:gd name="T96" fmla="*/ 2147483647 w 780"/>
              <a:gd name="T97" fmla="*/ 2147483647 h 543"/>
              <a:gd name="T98" fmla="*/ 2147483647 w 780"/>
              <a:gd name="T99" fmla="*/ 2147483647 h 543"/>
              <a:gd name="T100" fmla="*/ 2147483647 w 780"/>
              <a:gd name="T101" fmla="*/ 2147483647 h 543"/>
              <a:gd name="T102" fmla="*/ 2147483647 w 780"/>
              <a:gd name="T103" fmla="*/ 2147483647 h 54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780"/>
              <a:gd name="T157" fmla="*/ 0 h 543"/>
              <a:gd name="T158" fmla="*/ 780 w 780"/>
              <a:gd name="T159" fmla="*/ 543 h 543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780" h="543">
                <a:moveTo>
                  <a:pt x="162" y="97"/>
                </a:moveTo>
                <a:lnTo>
                  <a:pt x="178" y="89"/>
                </a:lnTo>
                <a:lnTo>
                  <a:pt x="194" y="113"/>
                </a:lnTo>
                <a:lnTo>
                  <a:pt x="212" y="113"/>
                </a:lnTo>
                <a:lnTo>
                  <a:pt x="219" y="129"/>
                </a:lnTo>
                <a:lnTo>
                  <a:pt x="219" y="162"/>
                </a:lnTo>
                <a:lnTo>
                  <a:pt x="268" y="178"/>
                </a:lnTo>
                <a:lnTo>
                  <a:pt x="293" y="203"/>
                </a:lnTo>
                <a:lnTo>
                  <a:pt x="340" y="203"/>
                </a:lnTo>
                <a:lnTo>
                  <a:pt x="364" y="218"/>
                </a:lnTo>
                <a:lnTo>
                  <a:pt x="398" y="226"/>
                </a:lnTo>
                <a:lnTo>
                  <a:pt x="430" y="209"/>
                </a:lnTo>
                <a:lnTo>
                  <a:pt x="463" y="209"/>
                </a:lnTo>
                <a:lnTo>
                  <a:pt x="486" y="184"/>
                </a:lnTo>
                <a:lnTo>
                  <a:pt x="480" y="178"/>
                </a:lnTo>
                <a:lnTo>
                  <a:pt x="495" y="162"/>
                </a:lnTo>
                <a:lnTo>
                  <a:pt x="511" y="169"/>
                </a:lnTo>
                <a:lnTo>
                  <a:pt x="535" y="153"/>
                </a:lnTo>
                <a:lnTo>
                  <a:pt x="551" y="137"/>
                </a:lnTo>
                <a:lnTo>
                  <a:pt x="585" y="137"/>
                </a:lnTo>
                <a:lnTo>
                  <a:pt x="575" y="121"/>
                </a:lnTo>
                <a:lnTo>
                  <a:pt x="567" y="113"/>
                </a:lnTo>
                <a:lnTo>
                  <a:pt x="551" y="121"/>
                </a:lnTo>
                <a:lnTo>
                  <a:pt x="535" y="121"/>
                </a:lnTo>
                <a:lnTo>
                  <a:pt x="535" y="89"/>
                </a:lnTo>
                <a:lnTo>
                  <a:pt x="544" y="72"/>
                </a:lnTo>
                <a:lnTo>
                  <a:pt x="560" y="81"/>
                </a:lnTo>
                <a:lnTo>
                  <a:pt x="585" y="72"/>
                </a:lnTo>
                <a:lnTo>
                  <a:pt x="592" y="41"/>
                </a:lnTo>
                <a:lnTo>
                  <a:pt x="600" y="32"/>
                </a:lnTo>
                <a:lnTo>
                  <a:pt x="600" y="23"/>
                </a:lnTo>
                <a:lnTo>
                  <a:pt x="592" y="23"/>
                </a:lnTo>
                <a:lnTo>
                  <a:pt x="600" y="7"/>
                </a:lnTo>
                <a:lnTo>
                  <a:pt x="632" y="0"/>
                </a:lnTo>
                <a:lnTo>
                  <a:pt x="657" y="7"/>
                </a:lnTo>
                <a:lnTo>
                  <a:pt x="672" y="23"/>
                </a:lnTo>
                <a:lnTo>
                  <a:pt x="690" y="81"/>
                </a:lnTo>
                <a:lnTo>
                  <a:pt x="706" y="81"/>
                </a:lnTo>
                <a:lnTo>
                  <a:pt x="731" y="97"/>
                </a:lnTo>
                <a:lnTo>
                  <a:pt x="731" y="113"/>
                </a:lnTo>
                <a:lnTo>
                  <a:pt x="747" y="113"/>
                </a:lnTo>
                <a:lnTo>
                  <a:pt x="779" y="104"/>
                </a:lnTo>
                <a:lnTo>
                  <a:pt x="779" y="121"/>
                </a:lnTo>
                <a:lnTo>
                  <a:pt x="756" y="169"/>
                </a:lnTo>
                <a:lnTo>
                  <a:pt x="747" y="162"/>
                </a:lnTo>
                <a:lnTo>
                  <a:pt x="731" y="169"/>
                </a:lnTo>
                <a:lnTo>
                  <a:pt x="737" y="194"/>
                </a:lnTo>
                <a:lnTo>
                  <a:pt x="731" y="209"/>
                </a:lnTo>
                <a:lnTo>
                  <a:pt x="722" y="209"/>
                </a:lnTo>
                <a:lnTo>
                  <a:pt x="706" y="218"/>
                </a:lnTo>
                <a:lnTo>
                  <a:pt x="697" y="218"/>
                </a:lnTo>
                <a:lnTo>
                  <a:pt x="690" y="226"/>
                </a:lnTo>
                <a:lnTo>
                  <a:pt x="682" y="226"/>
                </a:lnTo>
                <a:lnTo>
                  <a:pt x="650" y="250"/>
                </a:lnTo>
                <a:lnTo>
                  <a:pt x="650" y="259"/>
                </a:lnTo>
                <a:lnTo>
                  <a:pt x="632" y="259"/>
                </a:lnTo>
                <a:lnTo>
                  <a:pt x="609" y="275"/>
                </a:lnTo>
                <a:lnTo>
                  <a:pt x="609" y="266"/>
                </a:lnTo>
                <a:lnTo>
                  <a:pt x="609" y="259"/>
                </a:lnTo>
                <a:lnTo>
                  <a:pt x="617" y="243"/>
                </a:lnTo>
                <a:lnTo>
                  <a:pt x="609" y="234"/>
                </a:lnTo>
                <a:lnTo>
                  <a:pt x="585" y="259"/>
                </a:lnTo>
                <a:lnTo>
                  <a:pt x="575" y="266"/>
                </a:lnTo>
                <a:lnTo>
                  <a:pt x="567" y="266"/>
                </a:lnTo>
                <a:lnTo>
                  <a:pt x="560" y="275"/>
                </a:lnTo>
                <a:lnTo>
                  <a:pt x="585" y="299"/>
                </a:lnTo>
                <a:lnTo>
                  <a:pt x="600" y="291"/>
                </a:lnTo>
                <a:lnTo>
                  <a:pt x="625" y="299"/>
                </a:lnTo>
                <a:lnTo>
                  <a:pt x="625" y="308"/>
                </a:lnTo>
                <a:lnTo>
                  <a:pt x="617" y="299"/>
                </a:lnTo>
                <a:lnTo>
                  <a:pt x="600" y="308"/>
                </a:lnTo>
                <a:lnTo>
                  <a:pt x="585" y="331"/>
                </a:lnTo>
                <a:lnTo>
                  <a:pt x="592" y="340"/>
                </a:lnTo>
                <a:lnTo>
                  <a:pt x="600" y="371"/>
                </a:lnTo>
                <a:lnTo>
                  <a:pt x="617" y="380"/>
                </a:lnTo>
                <a:lnTo>
                  <a:pt x="609" y="380"/>
                </a:lnTo>
                <a:lnTo>
                  <a:pt x="617" y="396"/>
                </a:lnTo>
                <a:lnTo>
                  <a:pt x="592" y="405"/>
                </a:lnTo>
                <a:lnTo>
                  <a:pt x="617" y="405"/>
                </a:lnTo>
                <a:lnTo>
                  <a:pt x="609" y="436"/>
                </a:lnTo>
                <a:lnTo>
                  <a:pt x="592" y="452"/>
                </a:lnTo>
                <a:lnTo>
                  <a:pt x="585" y="452"/>
                </a:lnTo>
                <a:lnTo>
                  <a:pt x="585" y="468"/>
                </a:lnTo>
                <a:lnTo>
                  <a:pt x="575" y="485"/>
                </a:lnTo>
                <a:lnTo>
                  <a:pt x="567" y="485"/>
                </a:lnTo>
                <a:lnTo>
                  <a:pt x="567" y="493"/>
                </a:lnTo>
                <a:lnTo>
                  <a:pt x="544" y="510"/>
                </a:lnTo>
                <a:lnTo>
                  <a:pt x="520" y="510"/>
                </a:lnTo>
                <a:lnTo>
                  <a:pt x="520" y="517"/>
                </a:lnTo>
                <a:lnTo>
                  <a:pt x="511" y="510"/>
                </a:lnTo>
                <a:lnTo>
                  <a:pt x="511" y="517"/>
                </a:lnTo>
                <a:lnTo>
                  <a:pt x="503" y="517"/>
                </a:lnTo>
                <a:lnTo>
                  <a:pt x="470" y="533"/>
                </a:lnTo>
                <a:lnTo>
                  <a:pt x="463" y="542"/>
                </a:lnTo>
                <a:lnTo>
                  <a:pt x="463" y="526"/>
                </a:lnTo>
                <a:lnTo>
                  <a:pt x="446" y="526"/>
                </a:lnTo>
                <a:lnTo>
                  <a:pt x="438" y="526"/>
                </a:lnTo>
                <a:lnTo>
                  <a:pt x="423" y="526"/>
                </a:lnTo>
                <a:lnTo>
                  <a:pt x="423" y="510"/>
                </a:lnTo>
                <a:lnTo>
                  <a:pt x="405" y="510"/>
                </a:lnTo>
                <a:lnTo>
                  <a:pt x="373" y="517"/>
                </a:lnTo>
                <a:lnTo>
                  <a:pt x="364" y="510"/>
                </a:lnTo>
                <a:lnTo>
                  <a:pt x="364" y="517"/>
                </a:lnTo>
                <a:lnTo>
                  <a:pt x="358" y="517"/>
                </a:lnTo>
                <a:lnTo>
                  <a:pt x="358" y="533"/>
                </a:lnTo>
                <a:lnTo>
                  <a:pt x="349" y="533"/>
                </a:lnTo>
                <a:lnTo>
                  <a:pt x="349" y="526"/>
                </a:lnTo>
                <a:lnTo>
                  <a:pt x="340" y="526"/>
                </a:lnTo>
                <a:lnTo>
                  <a:pt x="324" y="517"/>
                </a:lnTo>
                <a:lnTo>
                  <a:pt x="324" y="510"/>
                </a:lnTo>
                <a:lnTo>
                  <a:pt x="324" y="502"/>
                </a:lnTo>
                <a:lnTo>
                  <a:pt x="317" y="493"/>
                </a:lnTo>
                <a:lnTo>
                  <a:pt x="308" y="493"/>
                </a:lnTo>
                <a:lnTo>
                  <a:pt x="317" y="452"/>
                </a:lnTo>
                <a:lnTo>
                  <a:pt x="308" y="436"/>
                </a:lnTo>
                <a:lnTo>
                  <a:pt x="299" y="436"/>
                </a:lnTo>
                <a:lnTo>
                  <a:pt x="284" y="420"/>
                </a:lnTo>
                <a:lnTo>
                  <a:pt x="268" y="420"/>
                </a:lnTo>
                <a:lnTo>
                  <a:pt x="227" y="436"/>
                </a:lnTo>
                <a:lnTo>
                  <a:pt x="202" y="436"/>
                </a:lnTo>
                <a:lnTo>
                  <a:pt x="194" y="445"/>
                </a:lnTo>
                <a:lnTo>
                  <a:pt x="187" y="436"/>
                </a:lnTo>
                <a:lnTo>
                  <a:pt x="178" y="436"/>
                </a:lnTo>
                <a:lnTo>
                  <a:pt x="154" y="436"/>
                </a:lnTo>
                <a:lnTo>
                  <a:pt x="137" y="428"/>
                </a:lnTo>
                <a:lnTo>
                  <a:pt x="129" y="420"/>
                </a:lnTo>
                <a:lnTo>
                  <a:pt x="122" y="420"/>
                </a:lnTo>
                <a:lnTo>
                  <a:pt x="106" y="405"/>
                </a:lnTo>
                <a:lnTo>
                  <a:pt x="88" y="405"/>
                </a:lnTo>
                <a:lnTo>
                  <a:pt x="65" y="396"/>
                </a:lnTo>
                <a:lnTo>
                  <a:pt x="57" y="371"/>
                </a:lnTo>
                <a:lnTo>
                  <a:pt x="73" y="371"/>
                </a:lnTo>
                <a:lnTo>
                  <a:pt x="65" y="355"/>
                </a:lnTo>
                <a:lnTo>
                  <a:pt x="82" y="340"/>
                </a:lnTo>
                <a:lnTo>
                  <a:pt x="82" y="323"/>
                </a:lnTo>
                <a:lnTo>
                  <a:pt x="73" y="315"/>
                </a:lnTo>
                <a:lnTo>
                  <a:pt x="48" y="323"/>
                </a:lnTo>
                <a:lnTo>
                  <a:pt x="32" y="315"/>
                </a:lnTo>
                <a:lnTo>
                  <a:pt x="25" y="308"/>
                </a:lnTo>
                <a:lnTo>
                  <a:pt x="8" y="299"/>
                </a:lnTo>
                <a:lnTo>
                  <a:pt x="16" y="299"/>
                </a:lnTo>
                <a:lnTo>
                  <a:pt x="16" y="275"/>
                </a:lnTo>
                <a:lnTo>
                  <a:pt x="0" y="275"/>
                </a:lnTo>
                <a:lnTo>
                  <a:pt x="0" y="250"/>
                </a:lnTo>
                <a:lnTo>
                  <a:pt x="16" y="243"/>
                </a:lnTo>
                <a:lnTo>
                  <a:pt x="32" y="243"/>
                </a:lnTo>
                <a:lnTo>
                  <a:pt x="40" y="234"/>
                </a:lnTo>
                <a:lnTo>
                  <a:pt x="57" y="234"/>
                </a:lnTo>
                <a:lnTo>
                  <a:pt x="82" y="218"/>
                </a:lnTo>
                <a:lnTo>
                  <a:pt x="88" y="203"/>
                </a:lnTo>
                <a:lnTo>
                  <a:pt x="82" y="169"/>
                </a:lnTo>
                <a:lnTo>
                  <a:pt x="82" y="162"/>
                </a:lnTo>
                <a:lnTo>
                  <a:pt x="106" y="162"/>
                </a:lnTo>
                <a:lnTo>
                  <a:pt x="113" y="129"/>
                </a:lnTo>
                <a:lnTo>
                  <a:pt x="137" y="129"/>
                </a:lnTo>
                <a:lnTo>
                  <a:pt x="147" y="129"/>
                </a:lnTo>
                <a:lnTo>
                  <a:pt x="154" y="104"/>
                </a:lnTo>
                <a:lnTo>
                  <a:pt x="162" y="97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596" name="Freeform 9"/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5516563" y="4333875"/>
            <a:ext cx="331787" cy="322263"/>
          </a:xfrm>
          <a:custGeom>
            <a:avLst/>
            <a:gdLst>
              <a:gd name="T0" fmla="*/ 2147483647 w 211"/>
              <a:gd name="T1" fmla="*/ 2147483647 h 204"/>
              <a:gd name="T2" fmla="*/ 2147483647 w 211"/>
              <a:gd name="T3" fmla="*/ 2147483647 h 204"/>
              <a:gd name="T4" fmla="*/ 2147483647 w 211"/>
              <a:gd name="T5" fmla="*/ 2147483647 h 204"/>
              <a:gd name="T6" fmla="*/ 2147483647 w 211"/>
              <a:gd name="T7" fmla="*/ 2147483647 h 204"/>
              <a:gd name="T8" fmla="*/ 2147483647 w 211"/>
              <a:gd name="T9" fmla="*/ 2147483647 h 204"/>
              <a:gd name="T10" fmla="*/ 0 w 211"/>
              <a:gd name="T11" fmla="*/ 2147483647 h 204"/>
              <a:gd name="T12" fmla="*/ 2147483647 w 211"/>
              <a:gd name="T13" fmla="*/ 2147483647 h 204"/>
              <a:gd name="T14" fmla="*/ 2147483647 w 211"/>
              <a:gd name="T15" fmla="*/ 2147483647 h 204"/>
              <a:gd name="T16" fmla="*/ 2147483647 w 211"/>
              <a:gd name="T17" fmla="*/ 2147483647 h 204"/>
              <a:gd name="T18" fmla="*/ 2147483647 w 211"/>
              <a:gd name="T19" fmla="*/ 2147483647 h 204"/>
              <a:gd name="T20" fmla="*/ 2147483647 w 211"/>
              <a:gd name="T21" fmla="*/ 2147483647 h 204"/>
              <a:gd name="T22" fmla="*/ 2147483647 w 211"/>
              <a:gd name="T23" fmla="*/ 2147483647 h 204"/>
              <a:gd name="T24" fmla="*/ 2147483647 w 211"/>
              <a:gd name="T25" fmla="*/ 2147483647 h 204"/>
              <a:gd name="T26" fmla="*/ 2147483647 w 211"/>
              <a:gd name="T27" fmla="*/ 2147483647 h 204"/>
              <a:gd name="T28" fmla="*/ 2147483647 w 211"/>
              <a:gd name="T29" fmla="*/ 2147483647 h 204"/>
              <a:gd name="T30" fmla="*/ 2147483647 w 211"/>
              <a:gd name="T31" fmla="*/ 2147483647 h 204"/>
              <a:gd name="T32" fmla="*/ 2147483647 w 211"/>
              <a:gd name="T33" fmla="*/ 2147483647 h 204"/>
              <a:gd name="T34" fmla="*/ 2147483647 w 211"/>
              <a:gd name="T35" fmla="*/ 2147483647 h 204"/>
              <a:gd name="T36" fmla="*/ 2147483647 w 211"/>
              <a:gd name="T37" fmla="*/ 0 h 204"/>
              <a:gd name="T38" fmla="*/ 2147483647 w 211"/>
              <a:gd name="T39" fmla="*/ 0 h 204"/>
              <a:gd name="T40" fmla="*/ 2147483647 w 211"/>
              <a:gd name="T41" fmla="*/ 2147483647 h 204"/>
              <a:gd name="T42" fmla="*/ 2147483647 w 211"/>
              <a:gd name="T43" fmla="*/ 2147483647 h 204"/>
              <a:gd name="T44" fmla="*/ 2147483647 w 211"/>
              <a:gd name="T45" fmla="*/ 2147483647 h 204"/>
              <a:gd name="T46" fmla="*/ 2147483647 w 211"/>
              <a:gd name="T47" fmla="*/ 2147483647 h 204"/>
              <a:gd name="T48" fmla="*/ 2147483647 w 211"/>
              <a:gd name="T49" fmla="*/ 2147483647 h 204"/>
              <a:gd name="T50" fmla="*/ 2147483647 w 211"/>
              <a:gd name="T51" fmla="*/ 2147483647 h 204"/>
              <a:gd name="T52" fmla="*/ 2147483647 w 211"/>
              <a:gd name="T53" fmla="*/ 2147483647 h 204"/>
              <a:gd name="T54" fmla="*/ 2147483647 w 211"/>
              <a:gd name="T55" fmla="*/ 2147483647 h 204"/>
              <a:gd name="T56" fmla="*/ 2147483647 w 211"/>
              <a:gd name="T57" fmla="*/ 2147483647 h 204"/>
              <a:gd name="T58" fmla="*/ 2147483647 w 211"/>
              <a:gd name="T59" fmla="*/ 2147483647 h 204"/>
              <a:gd name="T60" fmla="*/ 2147483647 w 211"/>
              <a:gd name="T61" fmla="*/ 2147483647 h 204"/>
              <a:gd name="T62" fmla="*/ 2147483647 w 211"/>
              <a:gd name="T63" fmla="*/ 2147483647 h 204"/>
              <a:gd name="T64" fmla="*/ 2147483647 w 211"/>
              <a:gd name="T65" fmla="*/ 2147483647 h 204"/>
              <a:gd name="T66" fmla="*/ 2147483647 w 211"/>
              <a:gd name="T67" fmla="*/ 2147483647 h 204"/>
              <a:gd name="T68" fmla="*/ 2147483647 w 211"/>
              <a:gd name="T69" fmla="*/ 2147483647 h 204"/>
              <a:gd name="T70" fmla="*/ 2147483647 w 211"/>
              <a:gd name="T71" fmla="*/ 2147483647 h 204"/>
              <a:gd name="T72" fmla="*/ 2147483647 w 211"/>
              <a:gd name="T73" fmla="*/ 2147483647 h 204"/>
              <a:gd name="T74" fmla="*/ 2147483647 w 211"/>
              <a:gd name="T75" fmla="*/ 2147483647 h 204"/>
              <a:gd name="T76" fmla="*/ 2147483647 w 211"/>
              <a:gd name="T77" fmla="*/ 2147483647 h 204"/>
              <a:gd name="T78" fmla="*/ 2147483647 w 211"/>
              <a:gd name="T79" fmla="*/ 2147483647 h 204"/>
              <a:gd name="T80" fmla="*/ 2147483647 w 211"/>
              <a:gd name="T81" fmla="*/ 2147483647 h 204"/>
              <a:gd name="T82" fmla="*/ 2147483647 w 211"/>
              <a:gd name="T83" fmla="*/ 2147483647 h 204"/>
              <a:gd name="T84" fmla="*/ 2147483647 w 211"/>
              <a:gd name="T85" fmla="*/ 2147483647 h 204"/>
              <a:gd name="T86" fmla="*/ 2147483647 w 211"/>
              <a:gd name="T87" fmla="*/ 2147483647 h 204"/>
              <a:gd name="T88" fmla="*/ 2147483647 w 211"/>
              <a:gd name="T89" fmla="*/ 2147483647 h 204"/>
              <a:gd name="T90" fmla="*/ 2147483647 w 211"/>
              <a:gd name="T91" fmla="*/ 2147483647 h 204"/>
              <a:gd name="T92" fmla="*/ 2147483647 w 211"/>
              <a:gd name="T93" fmla="*/ 2147483647 h 204"/>
              <a:gd name="T94" fmla="*/ 2147483647 w 211"/>
              <a:gd name="T95" fmla="*/ 2147483647 h 204"/>
              <a:gd name="T96" fmla="*/ 2147483647 w 211"/>
              <a:gd name="T97" fmla="*/ 2147483647 h 204"/>
              <a:gd name="T98" fmla="*/ 2147483647 w 211"/>
              <a:gd name="T99" fmla="*/ 2147483647 h 204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211"/>
              <a:gd name="T151" fmla="*/ 0 h 204"/>
              <a:gd name="T152" fmla="*/ 211 w 211"/>
              <a:gd name="T153" fmla="*/ 204 h 204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211" h="204">
                <a:moveTo>
                  <a:pt x="8" y="178"/>
                </a:moveTo>
                <a:lnTo>
                  <a:pt x="8" y="162"/>
                </a:lnTo>
                <a:lnTo>
                  <a:pt x="23" y="153"/>
                </a:lnTo>
                <a:lnTo>
                  <a:pt x="16" y="137"/>
                </a:lnTo>
                <a:lnTo>
                  <a:pt x="8" y="129"/>
                </a:lnTo>
                <a:lnTo>
                  <a:pt x="0" y="113"/>
                </a:lnTo>
                <a:lnTo>
                  <a:pt x="16" y="121"/>
                </a:lnTo>
                <a:lnTo>
                  <a:pt x="65" y="113"/>
                </a:lnTo>
                <a:lnTo>
                  <a:pt x="65" y="97"/>
                </a:lnTo>
                <a:lnTo>
                  <a:pt x="73" y="90"/>
                </a:lnTo>
                <a:lnTo>
                  <a:pt x="107" y="81"/>
                </a:lnTo>
                <a:lnTo>
                  <a:pt x="107" y="66"/>
                </a:lnTo>
                <a:lnTo>
                  <a:pt x="113" y="56"/>
                </a:lnTo>
                <a:lnTo>
                  <a:pt x="113" y="49"/>
                </a:lnTo>
                <a:lnTo>
                  <a:pt x="122" y="49"/>
                </a:lnTo>
                <a:lnTo>
                  <a:pt x="129" y="32"/>
                </a:lnTo>
                <a:lnTo>
                  <a:pt x="129" y="16"/>
                </a:lnTo>
                <a:lnTo>
                  <a:pt x="147" y="9"/>
                </a:lnTo>
                <a:lnTo>
                  <a:pt x="162" y="0"/>
                </a:lnTo>
                <a:lnTo>
                  <a:pt x="170" y="0"/>
                </a:lnTo>
                <a:lnTo>
                  <a:pt x="187" y="9"/>
                </a:lnTo>
                <a:lnTo>
                  <a:pt x="194" y="16"/>
                </a:lnTo>
                <a:lnTo>
                  <a:pt x="210" y="24"/>
                </a:lnTo>
                <a:lnTo>
                  <a:pt x="202" y="32"/>
                </a:lnTo>
                <a:lnTo>
                  <a:pt x="187" y="41"/>
                </a:lnTo>
                <a:lnTo>
                  <a:pt x="170" y="32"/>
                </a:lnTo>
                <a:lnTo>
                  <a:pt x="162" y="41"/>
                </a:lnTo>
                <a:lnTo>
                  <a:pt x="170" y="49"/>
                </a:lnTo>
                <a:lnTo>
                  <a:pt x="162" y="66"/>
                </a:lnTo>
                <a:lnTo>
                  <a:pt x="178" y="72"/>
                </a:lnTo>
                <a:lnTo>
                  <a:pt x="178" y="81"/>
                </a:lnTo>
                <a:lnTo>
                  <a:pt x="170" y="81"/>
                </a:lnTo>
                <a:lnTo>
                  <a:pt x="178" y="90"/>
                </a:lnTo>
                <a:lnTo>
                  <a:pt x="138" y="137"/>
                </a:lnTo>
                <a:lnTo>
                  <a:pt x="122" y="146"/>
                </a:lnTo>
                <a:lnTo>
                  <a:pt x="113" y="137"/>
                </a:lnTo>
                <a:lnTo>
                  <a:pt x="107" y="146"/>
                </a:lnTo>
                <a:lnTo>
                  <a:pt x="107" y="162"/>
                </a:lnTo>
                <a:lnTo>
                  <a:pt x="113" y="162"/>
                </a:lnTo>
                <a:lnTo>
                  <a:pt x="113" y="169"/>
                </a:lnTo>
                <a:lnTo>
                  <a:pt x="122" y="169"/>
                </a:lnTo>
                <a:lnTo>
                  <a:pt x="122" y="186"/>
                </a:lnTo>
                <a:lnTo>
                  <a:pt x="122" y="194"/>
                </a:lnTo>
                <a:lnTo>
                  <a:pt x="97" y="194"/>
                </a:lnTo>
                <a:lnTo>
                  <a:pt x="88" y="203"/>
                </a:lnTo>
                <a:lnTo>
                  <a:pt x="82" y="194"/>
                </a:lnTo>
                <a:lnTo>
                  <a:pt x="73" y="178"/>
                </a:lnTo>
                <a:lnTo>
                  <a:pt x="48" y="178"/>
                </a:lnTo>
                <a:lnTo>
                  <a:pt x="32" y="178"/>
                </a:lnTo>
                <a:lnTo>
                  <a:pt x="8" y="178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597" name="Freeform 10"/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5503863" y="4298950"/>
            <a:ext cx="293687" cy="228600"/>
          </a:xfrm>
          <a:custGeom>
            <a:avLst/>
            <a:gdLst>
              <a:gd name="T0" fmla="*/ 2147483647 w 188"/>
              <a:gd name="T1" fmla="*/ 2147483647 h 146"/>
              <a:gd name="T2" fmla="*/ 2147483647 w 188"/>
              <a:gd name="T3" fmla="*/ 2147483647 h 146"/>
              <a:gd name="T4" fmla="*/ 2147483647 w 188"/>
              <a:gd name="T5" fmla="*/ 2147483647 h 146"/>
              <a:gd name="T6" fmla="*/ 2147483647 w 188"/>
              <a:gd name="T7" fmla="*/ 2147483647 h 146"/>
              <a:gd name="T8" fmla="*/ 2147483647 w 188"/>
              <a:gd name="T9" fmla="*/ 2147483647 h 146"/>
              <a:gd name="T10" fmla="*/ 2147483647 w 188"/>
              <a:gd name="T11" fmla="*/ 2147483647 h 146"/>
              <a:gd name="T12" fmla="*/ 2147483647 w 188"/>
              <a:gd name="T13" fmla="*/ 2147483647 h 146"/>
              <a:gd name="T14" fmla="*/ 2147483647 w 188"/>
              <a:gd name="T15" fmla="*/ 2147483647 h 146"/>
              <a:gd name="T16" fmla="*/ 2147483647 w 188"/>
              <a:gd name="T17" fmla="*/ 2147483647 h 146"/>
              <a:gd name="T18" fmla="*/ 2147483647 w 188"/>
              <a:gd name="T19" fmla="*/ 2147483647 h 146"/>
              <a:gd name="T20" fmla="*/ 2147483647 w 188"/>
              <a:gd name="T21" fmla="*/ 2147483647 h 146"/>
              <a:gd name="T22" fmla="*/ 2147483647 w 188"/>
              <a:gd name="T23" fmla="*/ 2147483647 h 146"/>
              <a:gd name="T24" fmla="*/ 2147483647 w 188"/>
              <a:gd name="T25" fmla="*/ 2147483647 h 146"/>
              <a:gd name="T26" fmla="*/ 2147483647 w 188"/>
              <a:gd name="T27" fmla="*/ 2147483647 h 146"/>
              <a:gd name="T28" fmla="*/ 2147483647 w 188"/>
              <a:gd name="T29" fmla="*/ 2147483647 h 146"/>
              <a:gd name="T30" fmla="*/ 2147483647 w 188"/>
              <a:gd name="T31" fmla="*/ 2147483647 h 146"/>
              <a:gd name="T32" fmla="*/ 2147483647 w 188"/>
              <a:gd name="T33" fmla="*/ 2147483647 h 146"/>
              <a:gd name="T34" fmla="*/ 0 w 188"/>
              <a:gd name="T35" fmla="*/ 2147483647 h 146"/>
              <a:gd name="T36" fmla="*/ 0 w 188"/>
              <a:gd name="T37" fmla="*/ 2147483647 h 146"/>
              <a:gd name="T38" fmla="*/ 2147483647 w 188"/>
              <a:gd name="T39" fmla="*/ 2147483647 h 146"/>
              <a:gd name="T40" fmla="*/ 2147483647 w 188"/>
              <a:gd name="T41" fmla="*/ 2147483647 h 146"/>
              <a:gd name="T42" fmla="*/ 2147483647 w 188"/>
              <a:gd name="T43" fmla="*/ 2147483647 h 146"/>
              <a:gd name="T44" fmla="*/ 2147483647 w 188"/>
              <a:gd name="T45" fmla="*/ 2147483647 h 146"/>
              <a:gd name="T46" fmla="*/ 2147483647 w 188"/>
              <a:gd name="T47" fmla="*/ 2147483647 h 146"/>
              <a:gd name="T48" fmla="*/ 2147483647 w 188"/>
              <a:gd name="T49" fmla="*/ 2147483647 h 146"/>
              <a:gd name="T50" fmla="*/ 2147483647 w 188"/>
              <a:gd name="T51" fmla="*/ 2147483647 h 146"/>
              <a:gd name="T52" fmla="*/ 2147483647 w 188"/>
              <a:gd name="T53" fmla="*/ 2147483647 h 146"/>
              <a:gd name="T54" fmla="*/ 2147483647 w 188"/>
              <a:gd name="T55" fmla="*/ 2147483647 h 146"/>
              <a:gd name="T56" fmla="*/ 2147483647 w 188"/>
              <a:gd name="T57" fmla="*/ 2147483647 h 146"/>
              <a:gd name="T58" fmla="*/ 2147483647 w 188"/>
              <a:gd name="T59" fmla="*/ 2147483647 h 146"/>
              <a:gd name="T60" fmla="*/ 2147483647 w 188"/>
              <a:gd name="T61" fmla="*/ 2147483647 h 146"/>
              <a:gd name="T62" fmla="*/ 2147483647 w 188"/>
              <a:gd name="T63" fmla="*/ 0 h 146"/>
              <a:gd name="T64" fmla="*/ 2147483647 w 188"/>
              <a:gd name="T65" fmla="*/ 2147483647 h 146"/>
              <a:gd name="T66" fmla="*/ 2147483647 w 188"/>
              <a:gd name="T67" fmla="*/ 2147483647 h 146"/>
              <a:gd name="T68" fmla="*/ 2147483647 w 188"/>
              <a:gd name="T69" fmla="*/ 2147483647 h 146"/>
              <a:gd name="T70" fmla="*/ 2147483647 w 188"/>
              <a:gd name="T71" fmla="*/ 2147483647 h 146"/>
              <a:gd name="T72" fmla="*/ 2147483647 w 188"/>
              <a:gd name="T73" fmla="*/ 2147483647 h 14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88"/>
              <a:gd name="T112" fmla="*/ 0 h 146"/>
              <a:gd name="T113" fmla="*/ 188 w 188"/>
              <a:gd name="T114" fmla="*/ 146 h 14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88" h="146">
                <a:moveTo>
                  <a:pt x="179" y="24"/>
                </a:moveTo>
                <a:lnTo>
                  <a:pt x="171" y="24"/>
                </a:lnTo>
                <a:lnTo>
                  <a:pt x="156" y="33"/>
                </a:lnTo>
                <a:lnTo>
                  <a:pt x="138" y="40"/>
                </a:lnTo>
                <a:lnTo>
                  <a:pt x="138" y="56"/>
                </a:lnTo>
                <a:lnTo>
                  <a:pt x="131" y="73"/>
                </a:lnTo>
                <a:lnTo>
                  <a:pt x="122" y="73"/>
                </a:lnTo>
                <a:lnTo>
                  <a:pt x="122" y="80"/>
                </a:lnTo>
                <a:lnTo>
                  <a:pt x="116" y="90"/>
                </a:lnTo>
                <a:lnTo>
                  <a:pt x="116" y="105"/>
                </a:lnTo>
                <a:lnTo>
                  <a:pt x="82" y="114"/>
                </a:lnTo>
                <a:lnTo>
                  <a:pt x="74" y="121"/>
                </a:lnTo>
                <a:lnTo>
                  <a:pt x="74" y="137"/>
                </a:lnTo>
                <a:lnTo>
                  <a:pt x="25" y="145"/>
                </a:lnTo>
                <a:lnTo>
                  <a:pt x="9" y="137"/>
                </a:lnTo>
                <a:lnTo>
                  <a:pt x="17" y="121"/>
                </a:lnTo>
                <a:lnTo>
                  <a:pt x="17" y="114"/>
                </a:lnTo>
                <a:lnTo>
                  <a:pt x="0" y="105"/>
                </a:lnTo>
                <a:lnTo>
                  <a:pt x="0" y="73"/>
                </a:lnTo>
                <a:lnTo>
                  <a:pt x="9" y="56"/>
                </a:lnTo>
                <a:lnTo>
                  <a:pt x="9" y="48"/>
                </a:lnTo>
                <a:lnTo>
                  <a:pt x="32" y="48"/>
                </a:lnTo>
                <a:lnTo>
                  <a:pt x="32" y="40"/>
                </a:lnTo>
                <a:lnTo>
                  <a:pt x="50" y="40"/>
                </a:lnTo>
                <a:lnTo>
                  <a:pt x="57" y="24"/>
                </a:lnTo>
                <a:lnTo>
                  <a:pt x="66" y="24"/>
                </a:lnTo>
                <a:lnTo>
                  <a:pt x="66" y="16"/>
                </a:lnTo>
                <a:lnTo>
                  <a:pt x="97" y="24"/>
                </a:lnTo>
                <a:lnTo>
                  <a:pt x="116" y="24"/>
                </a:lnTo>
                <a:lnTo>
                  <a:pt x="116" y="16"/>
                </a:lnTo>
                <a:lnTo>
                  <a:pt x="122" y="16"/>
                </a:lnTo>
                <a:lnTo>
                  <a:pt x="131" y="0"/>
                </a:lnTo>
                <a:lnTo>
                  <a:pt x="138" y="8"/>
                </a:lnTo>
                <a:lnTo>
                  <a:pt x="147" y="33"/>
                </a:lnTo>
                <a:lnTo>
                  <a:pt x="162" y="16"/>
                </a:lnTo>
                <a:lnTo>
                  <a:pt x="187" y="24"/>
                </a:lnTo>
                <a:lnTo>
                  <a:pt x="179" y="24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598" name="Freeform 11"/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5173663" y="4259263"/>
            <a:ext cx="381000" cy="355600"/>
          </a:xfrm>
          <a:custGeom>
            <a:avLst/>
            <a:gdLst>
              <a:gd name="T0" fmla="*/ 2147483647 w 243"/>
              <a:gd name="T1" fmla="*/ 2147483647 h 228"/>
              <a:gd name="T2" fmla="*/ 2147483647 w 243"/>
              <a:gd name="T3" fmla="*/ 2147483647 h 228"/>
              <a:gd name="T4" fmla="*/ 2147483647 w 243"/>
              <a:gd name="T5" fmla="*/ 2147483647 h 228"/>
              <a:gd name="T6" fmla="*/ 2147483647 w 243"/>
              <a:gd name="T7" fmla="*/ 2147483647 h 228"/>
              <a:gd name="T8" fmla="*/ 2147483647 w 243"/>
              <a:gd name="T9" fmla="*/ 2147483647 h 228"/>
              <a:gd name="T10" fmla="*/ 2147483647 w 243"/>
              <a:gd name="T11" fmla="*/ 2147483647 h 228"/>
              <a:gd name="T12" fmla="*/ 2147483647 w 243"/>
              <a:gd name="T13" fmla="*/ 2147483647 h 228"/>
              <a:gd name="T14" fmla="*/ 2147483647 w 243"/>
              <a:gd name="T15" fmla="*/ 2147483647 h 228"/>
              <a:gd name="T16" fmla="*/ 2147483647 w 243"/>
              <a:gd name="T17" fmla="*/ 2147483647 h 228"/>
              <a:gd name="T18" fmla="*/ 2147483647 w 243"/>
              <a:gd name="T19" fmla="*/ 2147483647 h 228"/>
              <a:gd name="T20" fmla="*/ 2147483647 w 243"/>
              <a:gd name="T21" fmla="*/ 2147483647 h 228"/>
              <a:gd name="T22" fmla="*/ 2147483647 w 243"/>
              <a:gd name="T23" fmla="*/ 2147483647 h 228"/>
              <a:gd name="T24" fmla="*/ 2147483647 w 243"/>
              <a:gd name="T25" fmla="*/ 2147483647 h 228"/>
              <a:gd name="T26" fmla="*/ 2147483647 w 243"/>
              <a:gd name="T27" fmla="*/ 2147483647 h 228"/>
              <a:gd name="T28" fmla="*/ 2147483647 w 243"/>
              <a:gd name="T29" fmla="*/ 2147483647 h 228"/>
              <a:gd name="T30" fmla="*/ 2147483647 w 243"/>
              <a:gd name="T31" fmla="*/ 2147483647 h 228"/>
              <a:gd name="T32" fmla="*/ 2147483647 w 243"/>
              <a:gd name="T33" fmla="*/ 2147483647 h 228"/>
              <a:gd name="T34" fmla="*/ 0 w 243"/>
              <a:gd name="T35" fmla="*/ 2147483647 h 228"/>
              <a:gd name="T36" fmla="*/ 2147483647 w 243"/>
              <a:gd name="T37" fmla="*/ 0 h 228"/>
              <a:gd name="T38" fmla="*/ 2147483647 w 243"/>
              <a:gd name="T39" fmla="*/ 2147483647 h 228"/>
              <a:gd name="T40" fmla="*/ 2147483647 w 243"/>
              <a:gd name="T41" fmla="*/ 2147483647 h 228"/>
              <a:gd name="T42" fmla="*/ 2147483647 w 243"/>
              <a:gd name="T43" fmla="*/ 2147483647 h 228"/>
              <a:gd name="T44" fmla="*/ 2147483647 w 243"/>
              <a:gd name="T45" fmla="*/ 2147483647 h 228"/>
              <a:gd name="T46" fmla="*/ 2147483647 w 243"/>
              <a:gd name="T47" fmla="*/ 2147483647 h 228"/>
              <a:gd name="T48" fmla="*/ 2147483647 w 243"/>
              <a:gd name="T49" fmla="*/ 2147483647 h 228"/>
              <a:gd name="T50" fmla="*/ 2147483647 w 243"/>
              <a:gd name="T51" fmla="*/ 2147483647 h 228"/>
              <a:gd name="T52" fmla="*/ 2147483647 w 243"/>
              <a:gd name="T53" fmla="*/ 2147483647 h 228"/>
              <a:gd name="T54" fmla="*/ 2147483647 w 243"/>
              <a:gd name="T55" fmla="*/ 2147483647 h 228"/>
              <a:gd name="T56" fmla="*/ 2147483647 w 243"/>
              <a:gd name="T57" fmla="*/ 2147483647 h 228"/>
              <a:gd name="T58" fmla="*/ 2147483647 w 243"/>
              <a:gd name="T59" fmla="*/ 2147483647 h 228"/>
              <a:gd name="T60" fmla="*/ 2147483647 w 243"/>
              <a:gd name="T61" fmla="*/ 2147483647 h 228"/>
              <a:gd name="T62" fmla="*/ 2147483647 w 243"/>
              <a:gd name="T63" fmla="*/ 2147483647 h 228"/>
              <a:gd name="T64" fmla="*/ 2147483647 w 243"/>
              <a:gd name="T65" fmla="*/ 2147483647 h 228"/>
              <a:gd name="T66" fmla="*/ 2147483647 w 243"/>
              <a:gd name="T67" fmla="*/ 2147483647 h 228"/>
              <a:gd name="T68" fmla="*/ 2147483647 w 243"/>
              <a:gd name="T69" fmla="*/ 2147483647 h 228"/>
              <a:gd name="T70" fmla="*/ 2147483647 w 243"/>
              <a:gd name="T71" fmla="*/ 2147483647 h 228"/>
              <a:gd name="T72" fmla="*/ 2147483647 w 243"/>
              <a:gd name="T73" fmla="*/ 2147483647 h 228"/>
              <a:gd name="T74" fmla="*/ 2147483647 w 243"/>
              <a:gd name="T75" fmla="*/ 2147483647 h 228"/>
              <a:gd name="T76" fmla="*/ 2147483647 w 243"/>
              <a:gd name="T77" fmla="*/ 2147483647 h 228"/>
              <a:gd name="T78" fmla="*/ 2147483647 w 243"/>
              <a:gd name="T79" fmla="*/ 2147483647 h 228"/>
              <a:gd name="T80" fmla="*/ 2147483647 w 243"/>
              <a:gd name="T81" fmla="*/ 2147483647 h 228"/>
              <a:gd name="T82" fmla="*/ 2147483647 w 243"/>
              <a:gd name="T83" fmla="*/ 2147483647 h 228"/>
              <a:gd name="T84" fmla="*/ 2147483647 w 243"/>
              <a:gd name="T85" fmla="*/ 2147483647 h 228"/>
              <a:gd name="T86" fmla="*/ 2147483647 w 243"/>
              <a:gd name="T87" fmla="*/ 2147483647 h 228"/>
              <a:gd name="T88" fmla="*/ 2147483647 w 243"/>
              <a:gd name="T89" fmla="*/ 2147483647 h 228"/>
              <a:gd name="T90" fmla="*/ 2147483647 w 243"/>
              <a:gd name="T91" fmla="*/ 2147483647 h 228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243"/>
              <a:gd name="T139" fmla="*/ 0 h 228"/>
              <a:gd name="T140" fmla="*/ 243 w 243"/>
              <a:gd name="T141" fmla="*/ 228 h 228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243" h="228">
                <a:moveTo>
                  <a:pt x="227" y="227"/>
                </a:moveTo>
                <a:lnTo>
                  <a:pt x="170" y="218"/>
                </a:lnTo>
                <a:lnTo>
                  <a:pt x="162" y="202"/>
                </a:lnTo>
                <a:lnTo>
                  <a:pt x="137" y="211"/>
                </a:lnTo>
                <a:lnTo>
                  <a:pt x="121" y="211"/>
                </a:lnTo>
                <a:lnTo>
                  <a:pt x="96" y="186"/>
                </a:lnTo>
                <a:lnTo>
                  <a:pt x="80" y="162"/>
                </a:lnTo>
                <a:lnTo>
                  <a:pt x="65" y="155"/>
                </a:lnTo>
                <a:lnTo>
                  <a:pt x="56" y="155"/>
                </a:lnTo>
                <a:lnTo>
                  <a:pt x="48" y="146"/>
                </a:lnTo>
                <a:lnTo>
                  <a:pt x="40" y="121"/>
                </a:lnTo>
                <a:lnTo>
                  <a:pt x="24" y="115"/>
                </a:lnTo>
                <a:lnTo>
                  <a:pt x="15" y="98"/>
                </a:lnTo>
                <a:lnTo>
                  <a:pt x="24" y="81"/>
                </a:lnTo>
                <a:lnTo>
                  <a:pt x="24" y="65"/>
                </a:lnTo>
                <a:lnTo>
                  <a:pt x="15" y="65"/>
                </a:lnTo>
                <a:lnTo>
                  <a:pt x="8" y="49"/>
                </a:lnTo>
                <a:lnTo>
                  <a:pt x="0" y="9"/>
                </a:lnTo>
                <a:lnTo>
                  <a:pt x="8" y="0"/>
                </a:lnTo>
                <a:lnTo>
                  <a:pt x="15" y="16"/>
                </a:lnTo>
                <a:lnTo>
                  <a:pt x="24" y="16"/>
                </a:lnTo>
                <a:lnTo>
                  <a:pt x="31" y="16"/>
                </a:lnTo>
                <a:lnTo>
                  <a:pt x="48" y="9"/>
                </a:lnTo>
                <a:lnTo>
                  <a:pt x="56" y="9"/>
                </a:lnTo>
                <a:lnTo>
                  <a:pt x="48" y="16"/>
                </a:lnTo>
                <a:lnTo>
                  <a:pt x="65" y="25"/>
                </a:lnTo>
                <a:lnTo>
                  <a:pt x="65" y="41"/>
                </a:lnTo>
                <a:lnTo>
                  <a:pt x="96" y="58"/>
                </a:lnTo>
                <a:lnTo>
                  <a:pt x="130" y="58"/>
                </a:lnTo>
                <a:lnTo>
                  <a:pt x="130" y="41"/>
                </a:lnTo>
                <a:lnTo>
                  <a:pt x="145" y="33"/>
                </a:lnTo>
                <a:lnTo>
                  <a:pt x="170" y="33"/>
                </a:lnTo>
                <a:lnTo>
                  <a:pt x="219" y="58"/>
                </a:lnTo>
                <a:lnTo>
                  <a:pt x="219" y="65"/>
                </a:lnTo>
                <a:lnTo>
                  <a:pt x="219" y="73"/>
                </a:lnTo>
                <a:lnTo>
                  <a:pt x="219" y="81"/>
                </a:lnTo>
                <a:lnTo>
                  <a:pt x="210" y="98"/>
                </a:lnTo>
                <a:lnTo>
                  <a:pt x="210" y="130"/>
                </a:lnTo>
                <a:lnTo>
                  <a:pt x="227" y="139"/>
                </a:lnTo>
                <a:lnTo>
                  <a:pt x="227" y="146"/>
                </a:lnTo>
                <a:lnTo>
                  <a:pt x="219" y="162"/>
                </a:lnTo>
                <a:lnTo>
                  <a:pt x="227" y="178"/>
                </a:lnTo>
                <a:lnTo>
                  <a:pt x="235" y="186"/>
                </a:lnTo>
                <a:lnTo>
                  <a:pt x="242" y="202"/>
                </a:lnTo>
                <a:lnTo>
                  <a:pt x="227" y="211"/>
                </a:lnTo>
                <a:lnTo>
                  <a:pt x="227" y="227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599" name="Freeform 12"/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5684838" y="4171950"/>
            <a:ext cx="217487" cy="103188"/>
          </a:xfrm>
          <a:custGeom>
            <a:avLst/>
            <a:gdLst>
              <a:gd name="T0" fmla="*/ 2147483647 w 138"/>
              <a:gd name="T1" fmla="*/ 2147483647 h 66"/>
              <a:gd name="T2" fmla="*/ 2147483647 w 138"/>
              <a:gd name="T3" fmla="*/ 2147483647 h 66"/>
              <a:gd name="T4" fmla="*/ 2147483647 w 138"/>
              <a:gd name="T5" fmla="*/ 2147483647 h 66"/>
              <a:gd name="T6" fmla="*/ 2147483647 w 138"/>
              <a:gd name="T7" fmla="*/ 2147483647 h 66"/>
              <a:gd name="T8" fmla="*/ 2147483647 w 138"/>
              <a:gd name="T9" fmla="*/ 2147483647 h 66"/>
              <a:gd name="T10" fmla="*/ 2147483647 w 138"/>
              <a:gd name="T11" fmla="*/ 2147483647 h 66"/>
              <a:gd name="T12" fmla="*/ 2147483647 w 138"/>
              <a:gd name="T13" fmla="*/ 2147483647 h 66"/>
              <a:gd name="T14" fmla="*/ 2147483647 w 138"/>
              <a:gd name="T15" fmla="*/ 2147483647 h 66"/>
              <a:gd name="T16" fmla="*/ 2147483647 w 138"/>
              <a:gd name="T17" fmla="*/ 2147483647 h 66"/>
              <a:gd name="T18" fmla="*/ 2147483647 w 138"/>
              <a:gd name="T19" fmla="*/ 2147483647 h 66"/>
              <a:gd name="T20" fmla="*/ 0 w 138"/>
              <a:gd name="T21" fmla="*/ 2147483647 h 66"/>
              <a:gd name="T22" fmla="*/ 0 w 138"/>
              <a:gd name="T23" fmla="*/ 2147483647 h 66"/>
              <a:gd name="T24" fmla="*/ 2147483647 w 138"/>
              <a:gd name="T25" fmla="*/ 2147483647 h 66"/>
              <a:gd name="T26" fmla="*/ 2147483647 w 138"/>
              <a:gd name="T27" fmla="*/ 2147483647 h 66"/>
              <a:gd name="T28" fmla="*/ 2147483647 w 138"/>
              <a:gd name="T29" fmla="*/ 2147483647 h 66"/>
              <a:gd name="T30" fmla="*/ 2147483647 w 138"/>
              <a:gd name="T31" fmla="*/ 2147483647 h 66"/>
              <a:gd name="T32" fmla="*/ 2147483647 w 138"/>
              <a:gd name="T33" fmla="*/ 2147483647 h 66"/>
              <a:gd name="T34" fmla="*/ 2147483647 w 138"/>
              <a:gd name="T35" fmla="*/ 2147483647 h 66"/>
              <a:gd name="T36" fmla="*/ 2147483647 w 138"/>
              <a:gd name="T37" fmla="*/ 2147483647 h 66"/>
              <a:gd name="T38" fmla="*/ 2147483647 w 138"/>
              <a:gd name="T39" fmla="*/ 2147483647 h 66"/>
              <a:gd name="T40" fmla="*/ 2147483647 w 138"/>
              <a:gd name="T41" fmla="*/ 2147483647 h 66"/>
              <a:gd name="T42" fmla="*/ 2147483647 w 138"/>
              <a:gd name="T43" fmla="*/ 2147483647 h 66"/>
              <a:gd name="T44" fmla="*/ 2147483647 w 138"/>
              <a:gd name="T45" fmla="*/ 2147483647 h 66"/>
              <a:gd name="T46" fmla="*/ 2147483647 w 138"/>
              <a:gd name="T47" fmla="*/ 2147483647 h 66"/>
              <a:gd name="T48" fmla="*/ 2147483647 w 138"/>
              <a:gd name="T49" fmla="*/ 0 h 66"/>
              <a:gd name="T50" fmla="*/ 2147483647 w 138"/>
              <a:gd name="T51" fmla="*/ 2147483647 h 66"/>
              <a:gd name="T52" fmla="*/ 2147483647 w 138"/>
              <a:gd name="T53" fmla="*/ 2147483647 h 66"/>
              <a:gd name="T54" fmla="*/ 2147483647 w 138"/>
              <a:gd name="T55" fmla="*/ 2147483647 h 6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138"/>
              <a:gd name="T85" fmla="*/ 0 h 66"/>
              <a:gd name="T86" fmla="*/ 138 w 138"/>
              <a:gd name="T87" fmla="*/ 66 h 6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138" h="66">
                <a:moveTo>
                  <a:pt x="137" y="15"/>
                </a:moveTo>
                <a:lnTo>
                  <a:pt x="137" y="24"/>
                </a:lnTo>
                <a:lnTo>
                  <a:pt x="112" y="40"/>
                </a:lnTo>
                <a:lnTo>
                  <a:pt x="95" y="40"/>
                </a:lnTo>
                <a:lnTo>
                  <a:pt x="87" y="49"/>
                </a:lnTo>
                <a:lnTo>
                  <a:pt x="71" y="49"/>
                </a:lnTo>
                <a:lnTo>
                  <a:pt x="55" y="56"/>
                </a:lnTo>
                <a:lnTo>
                  <a:pt x="55" y="65"/>
                </a:lnTo>
                <a:lnTo>
                  <a:pt x="31" y="65"/>
                </a:lnTo>
                <a:lnTo>
                  <a:pt x="22" y="65"/>
                </a:lnTo>
                <a:lnTo>
                  <a:pt x="0" y="65"/>
                </a:lnTo>
                <a:lnTo>
                  <a:pt x="0" y="56"/>
                </a:lnTo>
                <a:lnTo>
                  <a:pt x="15" y="56"/>
                </a:lnTo>
                <a:lnTo>
                  <a:pt x="15" y="49"/>
                </a:lnTo>
                <a:lnTo>
                  <a:pt x="31" y="49"/>
                </a:lnTo>
                <a:lnTo>
                  <a:pt x="46" y="40"/>
                </a:lnTo>
                <a:lnTo>
                  <a:pt x="31" y="32"/>
                </a:lnTo>
                <a:lnTo>
                  <a:pt x="22" y="32"/>
                </a:lnTo>
                <a:lnTo>
                  <a:pt x="6" y="32"/>
                </a:lnTo>
                <a:lnTo>
                  <a:pt x="22" y="15"/>
                </a:lnTo>
                <a:lnTo>
                  <a:pt x="15" y="15"/>
                </a:lnTo>
                <a:lnTo>
                  <a:pt x="22" y="9"/>
                </a:lnTo>
                <a:lnTo>
                  <a:pt x="46" y="15"/>
                </a:lnTo>
                <a:lnTo>
                  <a:pt x="46" y="9"/>
                </a:lnTo>
                <a:lnTo>
                  <a:pt x="55" y="0"/>
                </a:lnTo>
                <a:lnTo>
                  <a:pt x="71" y="9"/>
                </a:lnTo>
                <a:lnTo>
                  <a:pt x="120" y="9"/>
                </a:lnTo>
                <a:lnTo>
                  <a:pt x="137" y="15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00" name="Freeform 13"/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5337175" y="4184650"/>
            <a:ext cx="296863" cy="190500"/>
          </a:xfrm>
          <a:custGeom>
            <a:avLst/>
            <a:gdLst>
              <a:gd name="T0" fmla="*/ 2147483647 w 188"/>
              <a:gd name="T1" fmla="*/ 2147483647 h 121"/>
              <a:gd name="T2" fmla="*/ 2147483647 w 188"/>
              <a:gd name="T3" fmla="*/ 2147483647 h 121"/>
              <a:gd name="T4" fmla="*/ 2147483647 w 188"/>
              <a:gd name="T5" fmla="*/ 2147483647 h 121"/>
              <a:gd name="T6" fmla="*/ 2147483647 w 188"/>
              <a:gd name="T7" fmla="*/ 2147483647 h 121"/>
              <a:gd name="T8" fmla="*/ 2147483647 w 188"/>
              <a:gd name="T9" fmla="*/ 2147483647 h 121"/>
              <a:gd name="T10" fmla="*/ 2147483647 w 188"/>
              <a:gd name="T11" fmla="*/ 2147483647 h 121"/>
              <a:gd name="T12" fmla="*/ 2147483647 w 188"/>
              <a:gd name="T13" fmla="*/ 2147483647 h 121"/>
              <a:gd name="T14" fmla="*/ 2147483647 w 188"/>
              <a:gd name="T15" fmla="*/ 2147483647 h 121"/>
              <a:gd name="T16" fmla="*/ 2147483647 w 188"/>
              <a:gd name="T17" fmla="*/ 2147483647 h 121"/>
              <a:gd name="T18" fmla="*/ 2147483647 w 188"/>
              <a:gd name="T19" fmla="*/ 2147483647 h 121"/>
              <a:gd name="T20" fmla="*/ 2147483647 w 188"/>
              <a:gd name="T21" fmla="*/ 2147483647 h 121"/>
              <a:gd name="T22" fmla="*/ 2147483647 w 188"/>
              <a:gd name="T23" fmla="*/ 2147483647 h 121"/>
              <a:gd name="T24" fmla="*/ 2147483647 w 188"/>
              <a:gd name="T25" fmla="*/ 2147483647 h 121"/>
              <a:gd name="T26" fmla="*/ 2147483647 w 188"/>
              <a:gd name="T27" fmla="*/ 2147483647 h 121"/>
              <a:gd name="T28" fmla="*/ 2147483647 w 188"/>
              <a:gd name="T29" fmla="*/ 2147483647 h 121"/>
              <a:gd name="T30" fmla="*/ 2147483647 w 188"/>
              <a:gd name="T31" fmla="*/ 2147483647 h 121"/>
              <a:gd name="T32" fmla="*/ 2147483647 w 188"/>
              <a:gd name="T33" fmla="*/ 2147483647 h 121"/>
              <a:gd name="T34" fmla="*/ 2147483647 w 188"/>
              <a:gd name="T35" fmla="*/ 2147483647 h 121"/>
              <a:gd name="T36" fmla="*/ 2147483647 w 188"/>
              <a:gd name="T37" fmla="*/ 2147483647 h 121"/>
              <a:gd name="T38" fmla="*/ 2147483647 w 188"/>
              <a:gd name="T39" fmla="*/ 2147483647 h 121"/>
              <a:gd name="T40" fmla="*/ 2147483647 w 188"/>
              <a:gd name="T41" fmla="*/ 2147483647 h 121"/>
              <a:gd name="T42" fmla="*/ 2147483647 w 188"/>
              <a:gd name="T43" fmla="*/ 2147483647 h 121"/>
              <a:gd name="T44" fmla="*/ 2147483647 w 188"/>
              <a:gd name="T45" fmla="*/ 2147483647 h 121"/>
              <a:gd name="T46" fmla="*/ 0 w 188"/>
              <a:gd name="T47" fmla="*/ 2147483647 h 121"/>
              <a:gd name="T48" fmla="*/ 2147483647 w 188"/>
              <a:gd name="T49" fmla="*/ 2147483647 h 121"/>
              <a:gd name="T50" fmla="*/ 2147483647 w 188"/>
              <a:gd name="T51" fmla="*/ 2147483647 h 121"/>
              <a:gd name="T52" fmla="*/ 2147483647 w 188"/>
              <a:gd name="T53" fmla="*/ 2147483647 h 121"/>
              <a:gd name="T54" fmla="*/ 2147483647 w 188"/>
              <a:gd name="T55" fmla="*/ 2147483647 h 121"/>
              <a:gd name="T56" fmla="*/ 2147483647 w 188"/>
              <a:gd name="T57" fmla="*/ 2147483647 h 121"/>
              <a:gd name="T58" fmla="*/ 2147483647 w 188"/>
              <a:gd name="T59" fmla="*/ 2147483647 h 121"/>
              <a:gd name="T60" fmla="*/ 2147483647 w 188"/>
              <a:gd name="T61" fmla="*/ 2147483647 h 121"/>
              <a:gd name="T62" fmla="*/ 2147483647 w 188"/>
              <a:gd name="T63" fmla="*/ 0 h 121"/>
              <a:gd name="T64" fmla="*/ 2147483647 w 188"/>
              <a:gd name="T65" fmla="*/ 0 h 121"/>
              <a:gd name="T66" fmla="*/ 2147483647 w 188"/>
              <a:gd name="T67" fmla="*/ 2147483647 h 121"/>
              <a:gd name="T68" fmla="*/ 2147483647 w 188"/>
              <a:gd name="T69" fmla="*/ 2147483647 h 121"/>
              <a:gd name="T70" fmla="*/ 2147483647 w 188"/>
              <a:gd name="T71" fmla="*/ 2147483647 h 121"/>
              <a:gd name="T72" fmla="*/ 2147483647 w 188"/>
              <a:gd name="T73" fmla="*/ 2147483647 h 121"/>
              <a:gd name="T74" fmla="*/ 2147483647 w 188"/>
              <a:gd name="T75" fmla="*/ 2147483647 h 121"/>
              <a:gd name="T76" fmla="*/ 2147483647 w 188"/>
              <a:gd name="T77" fmla="*/ 2147483647 h 121"/>
              <a:gd name="T78" fmla="*/ 2147483647 w 188"/>
              <a:gd name="T79" fmla="*/ 2147483647 h 12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88"/>
              <a:gd name="T121" fmla="*/ 0 h 121"/>
              <a:gd name="T122" fmla="*/ 188 w 188"/>
              <a:gd name="T123" fmla="*/ 121 h 121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88" h="121">
                <a:moveTo>
                  <a:pt x="179" y="96"/>
                </a:moveTo>
                <a:lnTo>
                  <a:pt x="171" y="88"/>
                </a:lnTo>
                <a:lnTo>
                  <a:pt x="171" y="96"/>
                </a:lnTo>
                <a:lnTo>
                  <a:pt x="162" y="96"/>
                </a:lnTo>
                <a:lnTo>
                  <a:pt x="155" y="112"/>
                </a:lnTo>
                <a:lnTo>
                  <a:pt x="137" y="112"/>
                </a:lnTo>
                <a:lnTo>
                  <a:pt x="137" y="120"/>
                </a:lnTo>
                <a:lnTo>
                  <a:pt x="114" y="120"/>
                </a:lnTo>
                <a:lnTo>
                  <a:pt x="114" y="112"/>
                </a:lnTo>
                <a:lnTo>
                  <a:pt x="114" y="105"/>
                </a:lnTo>
                <a:lnTo>
                  <a:pt x="65" y="80"/>
                </a:lnTo>
                <a:lnTo>
                  <a:pt x="40" y="80"/>
                </a:lnTo>
                <a:lnTo>
                  <a:pt x="25" y="88"/>
                </a:lnTo>
                <a:lnTo>
                  <a:pt x="25" y="63"/>
                </a:lnTo>
                <a:lnTo>
                  <a:pt x="16" y="63"/>
                </a:lnTo>
                <a:lnTo>
                  <a:pt x="16" y="47"/>
                </a:lnTo>
                <a:lnTo>
                  <a:pt x="9" y="47"/>
                </a:lnTo>
                <a:lnTo>
                  <a:pt x="9" y="40"/>
                </a:lnTo>
                <a:lnTo>
                  <a:pt x="25" y="40"/>
                </a:lnTo>
                <a:lnTo>
                  <a:pt x="32" y="31"/>
                </a:lnTo>
                <a:lnTo>
                  <a:pt x="16" y="15"/>
                </a:lnTo>
                <a:lnTo>
                  <a:pt x="9" y="15"/>
                </a:lnTo>
                <a:lnTo>
                  <a:pt x="9" y="31"/>
                </a:lnTo>
                <a:lnTo>
                  <a:pt x="0" y="15"/>
                </a:lnTo>
                <a:lnTo>
                  <a:pt x="25" y="6"/>
                </a:lnTo>
                <a:lnTo>
                  <a:pt x="40" y="23"/>
                </a:lnTo>
                <a:lnTo>
                  <a:pt x="49" y="23"/>
                </a:lnTo>
                <a:lnTo>
                  <a:pt x="57" y="23"/>
                </a:lnTo>
                <a:lnTo>
                  <a:pt x="57" y="15"/>
                </a:lnTo>
                <a:lnTo>
                  <a:pt x="74" y="6"/>
                </a:lnTo>
                <a:lnTo>
                  <a:pt x="81" y="6"/>
                </a:lnTo>
                <a:lnTo>
                  <a:pt x="74" y="0"/>
                </a:lnTo>
                <a:lnTo>
                  <a:pt x="81" y="0"/>
                </a:lnTo>
                <a:lnTo>
                  <a:pt x="97" y="6"/>
                </a:lnTo>
                <a:lnTo>
                  <a:pt x="97" y="23"/>
                </a:lnTo>
                <a:lnTo>
                  <a:pt x="122" y="23"/>
                </a:lnTo>
                <a:lnTo>
                  <a:pt x="130" y="47"/>
                </a:lnTo>
                <a:lnTo>
                  <a:pt x="171" y="72"/>
                </a:lnTo>
                <a:lnTo>
                  <a:pt x="187" y="80"/>
                </a:lnTo>
                <a:lnTo>
                  <a:pt x="179" y="96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01" name="Freeform 14"/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5414963" y="4106863"/>
            <a:ext cx="346075" cy="230187"/>
          </a:xfrm>
          <a:custGeom>
            <a:avLst/>
            <a:gdLst>
              <a:gd name="T0" fmla="*/ 2147483647 w 219"/>
              <a:gd name="T1" fmla="*/ 2147483647 h 147"/>
              <a:gd name="T2" fmla="*/ 2147483647 w 219"/>
              <a:gd name="T3" fmla="*/ 2147483647 h 147"/>
              <a:gd name="T4" fmla="*/ 2147483647 w 219"/>
              <a:gd name="T5" fmla="*/ 2147483647 h 147"/>
              <a:gd name="T6" fmla="*/ 2147483647 w 219"/>
              <a:gd name="T7" fmla="*/ 2147483647 h 147"/>
              <a:gd name="T8" fmla="*/ 2147483647 w 219"/>
              <a:gd name="T9" fmla="*/ 2147483647 h 147"/>
              <a:gd name="T10" fmla="*/ 2147483647 w 219"/>
              <a:gd name="T11" fmla="*/ 2147483647 h 147"/>
              <a:gd name="T12" fmla="*/ 2147483647 w 219"/>
              <a:gd name="T13" fmla="*/ 2147483647 h 147"/>
              <a:gd name="T14" fmla="*/ 2147483647 w 219"/>
              <a:gd name="T15" fmla="*/ 2147483647 h 147"/>
              <a:gd name="T16" fmla="*/ 2147483647 w 219"/>
              <a:gd name="T17" fmla="*/ 2147483647 h 147"/>
              <a:gd name="T18" fmla="*/ 2147483647 w 219"/>
              <a:gd name="T19" fmla="*/ 2147483647 h 147"/>
              <a:gd name="T20" fmla="*/ 2147483647 w 219"/>
              <a:gd name="T21" fmla="*/ 2147483647 h 147"/>
              <a:gd name="T22" fmla="*/ 2147483647 w 219"/>
              <a:gd name="T23" fmla="*/ 2147483647 h 147"/>
              <a:gd name="T24" fmla="*/ 2147483647 w 219"/>
              <a:gd name="T25" fmla="*/ 2147483647 h 147"/>
              <a:gd name="T26" fmla="*/ 2147483647 w 219"/>
              <a:gd name="T27" fmla="*/ 2147483647 h 147"/>
              <a:gd name="T28" fmla="*/ 2147483647 w 219"/>
              <a:gd name="T29" fmla="*/ 2147483647 h 147"/>
              <a:gd name="T30" fmla="*/ 2147483647 w 219"/>
              <a:gd name="T31" fmla="*/ 2147483647 h 147"/>
              <a:gd name="T32" fmla="*/ 2147483647 w 219"/>
              <a:gd name="T33" fmla="*/ 2147483647 h 147"/>
              <a:gd name="T34" fmla="*/ 2147483647 w 219"/>
              <a:gd name="T35" fmla="*/ 2147483647 h 147"/>
              <a:gd name="T36" fmla="*/ 2147483647 w 219"/>
              <a:gd name="T37" fmla="*/ 2147483647 h 147"/>
              <a:gd name="T38" fmla="*/ 2147483647 w 219"/>
              <a:gd name="T39" fmla="*/ 2147483647 h 147"/>
              <a:gd name="T40" fmla="*/ 2147483647 w 219"/>
              <a:gd name="T41" fmla="*/ 2147483647 h 147"/>
              <a:gd name="T42" fmla="*/ 2147483647 w 219"/>
              <a:gd name="T43" fmla="*/ 2147483647 h 147"/>
              <a:gd name="T44" fmla="*/ 2147483647 w 219"/>
              <a:gd name="T45" fmla="*/ 2147483647 h 147"/>
              <a:gd name="T46" fmla="*/ 2147483647 w 219"/>
              <a:gd name="T47" fmla="*/ 2147483647 h 147"/>
              <a:gd name="T48" fmla="*/ 2147483647 w 219"/>
              <a:gd name="T49" fmla="*/ 2147483647 h 147"/>
              <a:gd name="T50" fmla="*/ 2147483647 w 219"/>
              <a:gd name="T51" fmla="*/ 2147483647 h 147"/>
              <a:gd name="T52" fmla="*/ 2147483647 w 219"/>
              <a:gd name="T53" fmla="*/ 0 h 147"/>
              <a:gd name="T54" fmla="*/ 0 w 219"/>
              <a:gd name="T55" fmla="*/ 2147483647 h 147"/>
              <a:gd name="T56" fmla="*/ 0 w 219"/>
              <a:gd name="T57" fmla="*/ 2147483647 h 147"/>
              <a:gd name="T58" fmla="*/ 2147483647 w 219"/>
              <a:gd name="T59" fmla="*/ 2147483647 h 147"/>
              <a:gd name="T60" fmla="*/ 2147483647 w 219"/>
              <a:gd name="T61" fmla="*/ 2147483647 h 147"/>
              <a:gd name="T62" fmla="*/ 2147483647 w 219"/>
              <a:gd name="T63" fmla="*/ 2147483647 h 147"/>
              <a:gd name="T64" fmla="*/ 2147483647 w 219"/>
              <a:gd name="T65" fmla="*/ 2147483647 h 147"/>
              <a:gd name="T66" fmla="*/ 2147483647 w 219"/>
              <a:gd name="T67" fmla="*/ 2147483647 h 147"/>
              <a:gd name="T68" fmla="*/ 2147483647 w 219"/>
              <a:gd name="T69" fmla="*/ 2147483647 h 147"/>
              <a:gd name="T70" fmla="*/ 2147483647 w 219"/>
              <a:gd name="T71" fmla="*/ 2147483647 h 147"/>
              <a:gd name="T72" fmla="*/ 2147483647 w 219"/>
              <a:gd name="T73" fmla="*/ 2147483647 h 147"/>
              <a:gd name="T74" fmla="*/ 2147483647 w 219"/>
              <a:gd name="T75" fmla="*/ 2147483647 h 147"/>
              <a:gd name="T76" fmla="*/ 2147483647 w 219"/>
              <a:gd name="T77" fmla="*/ 2147483647 h 147"/>
              <a:gd name="T78" fmla="*/ 2147483647 w 219"/>
              <a:gd name="T79" fmla="*/ 2147483647 h 147"/>
              <a:gd name="T80" fmla="*/ 2147483647 w 219"/>
              <a:gd name="T81" fmla="*/ 2147483647 h 147"/>
              <a:gd name="T82" fmla="*/ 2147483647 w 219"/>
              <a:gd name="T83" fmla="*/ 2147483647 h 147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19"/>
              <a:gd name="T127" fmla="*/ 0 h 147"/>
              <a:gd name="T128" fmla="*/ 219 w 219"/>
              <a:gd name="T129" fmla="*/ 147 h 147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19" h="147">
                <a:moveTo>
                  <a:pt x="130" y="146"/>
                </a:moveTo>
                <a:lnTo>
                  <a:pt x="147" y="146"/>
                </a:lnTo>
                <a:lnTo>
                  <a:pt x="153" y="130"/>
                </a:lnTo>
                <a:lnTo>
                  <a:pt x="153" y="113"/>
                </a:lnTo>
                <a:lnTo>
                  <a:pt x="147" y="106"/>
                </a:lnTo>
                <a:lnTo>
                  <a:pt x="162" y="106"/>
                </a:lnTo>
                <a:lnTo>
                  <a:pt x="172" y="90"/>
                </a:lnTo>
                <a:lnTo>
                  <a:pt x="172" y="81"/>
                </a:lnTo>
                <a:lnTo>
                  <a:pt x="187" y="81"/>
                </a:lnTo>
                <a:lnTo>
                  <a:pt x="187" y="90"/>
                </a:lnTo>
                <a:lnTo>
                  <a:pt x="203" y="90"/>
                </a:lnTo>
                <a:lnTo>
                  <a:pt x="218" y="81"/>
                </a:lnTo>
                <a:lnTo>
                  <a:pt x="203" y="73"/>
                </a:lnTo>
                <a:lnTo>
                  <a:pt x="194" y="73"/>
                </a:lnTo>
                <a:lnTo>
                  <a:pt x="178" y="73"/>
                </a:lnTo>
                <a:lnTo>
                  <a:pt x="194" y="56"/>
                </a:lnTo>
                <a:lnTo>
                  <a:pt x="187" y="56"/>
                </a:lnTo>
                <a:lnTo>
                  <a:pt x="162" y="81"/>
                </a:lnTo>
                <a:lnTo>
                  <a:pt x="153" y="73"/>
                </a:lnTo>
                <a:lnTo>
                  <a:pt x="138" y="73"/>
                </a:lnTo>
                <a:lnTo>
                  <a:pt x="138" y="65"/>
                </a:lnTo>
                <a:lnTo>
                  <a:pt x="130" y="65"/>
                </a:lnTo>
                <a:lnTo>
                  <a:pt x="130" y="50"/>
                </a:lnTo>
                <a:lnTo>
                  <a:pt x="113" y="31"/>
                </a:lnTo>
                <a:lnTo>
                  <a:pt x="73" y="31"/>
                </a:lnTo>
                <a:lnTo>
                  <a:pt x="48" y="9"/>
                </a:lnTo>
                <a:lnTo>
                  <a:pt x="32" y="0"/>
                </a:lnTo>
                <a:lnTo>
                  <a:pt x="0" y="9"/>
                </a:lnTo>
                <a:lnTo>
                  <a:pt x="0" y="73"/>
                </a:lnTo>
                <a:lnTo>
                  <a:pt x="8" y="73"/>
                </a:lnTo>
                <a:lnTo>
                  <a:pt x="8" y="65"/>
                </a:lnTo>
                <a:lnTo>
                  <a:pt x="25" y="56"/>
                </a:lnTo>
                <a:lnTo>
                  <a:pt x="32" y="56"/>
                </a:lnTo>
                <a:lnTo>
                  <a:pt x="25" y="50"/>
                </a:lnTo>
                <a:lnTo>
                  <a:pt x="32" y="50"/>
                </a:lnTo>
                <a:lnTo>
                  <a:pt x="48" y="56"/>
                </a:lnTo>
                <a:lnTo>
                  <a:pt x="48" y="73"/>
                </a:lnTo>
                <a:lnTo>
                  <a:pt x="73" y="73"/>
                </a:lnTo>
                <a:lnTo>
                  <a:pt x="81" y="97"/>
                </a:lnTo>
                <a:lnTo>
                  <a:pt x="122" y="122"/>
                </a:lnTo>
                <a:lnTo>
                  <a:pt x="138" y="130"/>
                </a:lnTo>
                <a:lnTo>
                  <a:pt x="130" y="146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02" name="Freeform 15"/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5222875" y="3803650"/>
            <a:ext cx="830263" cy="431800"/>
          </a:xfrm>
          <a:custGeom>
            <a:avLst/>
            <a:gdLst>
              <a:gd name="T0" fmla="*/ 2147483647 w 529"/>
              <a:gd name="T1" fmla="*/ 2147483647 h 275"/>
              <a:gd name="T2" fmla="*/ 2147483647 w 529"/>
              <a:gd name="T3" fmla="*/ 2147483647 h 275"/>
              <a:gd name="T4" fmla="*/ 2147483647 w 529"/>
              <a:gd name="T5" fmla="*/ 2147483647 h 275"/>
              <a:gd name="T6" fmla="*/ 2147483647 w 529"/>
              <a:gd name="T7" fmla="*/ 2147483647 h 275"/>
              <a:gd name="T8" fmla="*/ 2147483647 w 529"/>
              <a:gd name="T9" fmla="*/ 2147483647 h 275"/>
              <a:gd name="T10" fmla="*/ 2147483647 w 529"/>
              <a:gd name="T11" fmla="*/ 2147483647 h 275"/>
              <a:gd name="T12" fmla="*/ 2147483647 w 529"/>
              <a:gd name="T13" fmla="*/ 2147483647 h 275"/>
              <a:gd name="T14" fmla="*/ 2147483647 w 529"/>
              <a:gd name="T15" fmla="*/ 2147483647 h 275"/>
              <a:gd name="T16" fmla="*/ 2147483647 w 529"/>
              <a:gd name="T17" fmla="*/ 2147483647 h 275"/>
              <a:gd name="T18" fmla="*/ 2147483647 w 529"/>
              <a:gd name="T19" fmla="*/ 2147483647 h 275"/>
              <a:gd name="T20" fmla="*/ 2147483647 w 529"/>
              <a:gd name="T21" fmla="*/ 2147483647 h 275"/>
              <a:gd name="T22" fmla="*/ 2147483647 w 529"/>
              <a:gd name="T23" fmla="*/ 2147483647 h 275"/>
              <a:gd name="T24" fmla="*/ 2147483647 w 529"/>
              <a:gd name="T25" fmla="*/ 2147483647 h 275"/>
              <a:gd name="T26" fmla="*/ 2147483647 w 529"/>
              <a:gd name="T27" fmla="*/ 2147483647 h 275"/>
              <a:gd name="T28" fmla="*/ 2147483647 w 529"/>
              <a:gd name="T29" fmla="*/ 2147483647 h 275"/>
              <a:gd name="T30" fmla="*/ 2147483647 w 529"/>
              <a:gd name="T31" fmla="*/ 2147483647 h 275"/>
              <a:gd name="T32" fmla="*/ 2147483647 w 529"/>
              <a:gd name="T33" fmla="*/ 2147483647 h 275"/>
              <a:gd name="T34" fmla="*/ 2147483647 w 529"/>
              <a:gd name="T35" fmla="*/ 2147483647 h 275"/>
              <a:gd name="T36" fmla="*/ 2147483647 w 529"/>
              <a:gd name="T37" fmla="*/ 2147483647 h 275"/>
              <a:gd name="T38" fmla="*/ 2147483647 w 529"/>
              <a:gd name="T39" fmla="*/ 2147483647 h 275"/>
              <a:gd name="T40" fmla="*/ 2147483647 w 529"/>
              <a:gd name="T41" fmla="*/ 2147483647 h 275"/>
              <a:gd name="T42" fmla="*/ 2147483647 w 529"/>
              <a:gd name="T43" fmla="*/ 2147483647 h 275"/>
              <a:gd name="T44" fmla="*/ 2147483647 w 529"/>
              <a:gd name="T45" fmla="*/ 2147483647 h 275"/>
              <a:gd name="T46" fmla="*/ 2147483647 w 529"/>
              <a:gd name="T47" fmla="*/ 2147483647 h 275"/>
              <a:gd name="T48" fmla="*/ 2147483647 w 529"/>
              <a:gd name="T49" fmla="*/ 2147483647 h 275"/>
              <a:gd name="T50" fmla="*/ 2147483647 w 529"/>
              <a:gd name="T51" fmla="*/ 2147483647 h 275"/>
              <a:gd name="T52" fmla="*/ 2147483647 w 529"/>
              <a:gd name="T53" fmla="*/ 2147483647 h 275"/>
              <a:gd name="T54" fmla="*/ 2147483647 w 529"/>
              <a:gd name="T55" fmla="*/ 2147483647 h 275"/>
              <a:gd name="T56" fmla="*/ 2147483647 w 529"/>
              <a:gd name="T57" fmla="*/ 2147483647 h 275"/>
              <a:gd name="T58" fmla="*/ 2147483647 w 529"/>
              <a:gd name="T59" fmla="*/ 2147483647 h 275"/>
              <a:gd name="T60" fmla="*/ 2147483647 w 529"/>
              <a:gd name="T61" fmla="*/ 2147483647 h 275"/>
              <a:gd name="T62" fmla="*/ 2147483647 w 529"/>
              <a:gd name="T63" fmla="*/ 2147483647 h 275"/>
              <a:gd name="T64" fmla="*/ 2147483647 w 529"/>
              <a:gd name="T65" fmla="*/ 2147483647 h 275"/>
              <a:gd name="T66" fmla="*/ 2147483647 w 529"/>
              <a:gd name="T67" fmla="*/ 2147483647 h 275"/>
              <a:gd name="T68" fmla="*/ 2147483647 w 529"/>
              <a:gd name="T69" fmla="*/ 2147483647 h 275"/>
              <a:gd name="T70" fmla="*/ 2147483647 w 529"/>
              <a:gd name="T71" fmla="*/ 0 h 275"/>
              <a:gd name="T72" fmla="*/ 2147483647 w 529"/>
              <a:gd name="T73" fmla="*/ 2147483647 h 275"/>
              <a:gd name="T74" fmla="*/ 2147483647 w 529"/>
              <a:gd name="T75" fmla="*/ 2147483647 h 275"/>
              <a:gd name="T76" fmla="*/ 2147483647 w 529"/>
              <a:gd name="T77" fmla="*/ 2147483647 h 275"/>
              <a:gd name="T78" fmla="*/ 2147483647 w 529"/>
              <a:gd name="T79" fmla="*/ 2147483647 h 275"/>
              <a:gd name="T80" fmla="*/ 2147483647 w 529"/>
              <a:gd name="T81" fmla="*/ 2147483647 h 275"/>
              <a:gd name="T82" fmla="*/ 2147483647 w 529"/>
              <a:gd name="T83" fmla="*/ 2147483647 h 275"/>
              <a:gd name="T84" fmla="*/ 2147483647 w 529"/>
              <a:gd name="T85" fmla="*/ 2147483647 h 275"/>
              <a:gd name="T86" fmla="*/ 2147483647 w 529"/>
              <a:gd name="T87" fmla="*/ 2147483647 h 275"/>
              <a:gd name="T88" fmla="*/ 2147483647 w 529"/>
              <a:gd name="T89" fmla="*/ 2147483647 h 275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529"/>
              <a:gd name="T136" fmla="*/ 0 h 275"/>
              <a:gd name="T137" fmla="*/ 529 w 529"/>
              <a:gd name="T138" fmla="*/ 275 h 275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529" h="275">
                <a:moveTo>
                  <a:pt x="512" y="137"/>
                </a:moveTo>
                <a:lnTo>
                  <a:pt x="504" y="144"/>
                </a:lnTo>
                <a:lnTo>
                  <a:pt x="497" y="169"/>
                </a:lnTo>
                <a:lnTo>
                  <a:pt x="487" y="169"/>
                </a:lnTo>
                <a:lnTo>
                  <a:pt x="463" y="169"/>
                </a:lnTo>
                <a:lnTo>
                  <a:pt x="456" y="202"/>
                </a:lnTo>
                <a:lnTo>
                  <a:pt x="432" y="202"/>
                </a:lnTo>
                <a:lnTo>
                  <a:pt x="432" y="209"/>
                </a:lnTo>
                <a:lnTo>
                  <a:pt x="438" y="243"/>
                </a:lnTo>
                <a:lnTo>
                  <a:pt x="432" y="249"/>
                </a:lnTo>
                <a:lnTo>
                  <a:pt x="415" y="243"/>
                </a:lnTo>
                <a:lnTo>
                  <a:pt x="366" y="243"/>
                </a:lnTo>
                <a:lnTo>
                  <a:pt x="350" y="234"/>
                </a:lnTo>
                <a:lnTo>
                  <a:pt x="341" y="243"/>
                </a:lnTo>
                <a:lnTo>
                  <a:pt x="341" y="249"/>
                </a:lnTo>
                <a:lnTo>
                  <a:pt x="317" y="243"/>
                </a:lnTo>
                <a:lnTo>
                  <a:pt x="310" y="249"/>
                </a:lnTo>
                <a:lnTo>
                  <a:pt x="285" y="274"/>
                </a:lnTo>
                <a:lnTo>
                  <a:pt x="276" y="266"/>
                </a:lnTo>
                <a:lnTo>
                  <a:pt x="261" y="266"/>
                </a:lnTo>
                <a:lnTo>
                  <a:pt x="261" y="258"/>
                </a:lnTo>
                <a:lnTo>
                  <a:pt x="253" y="258"/>
                </a:lnTo>
                <a:lnTo>
                  <a:pt x="253" y="243"/>
                </a:lnTo>
                <a:lnTo>
                  <a:pt x="236" y="224"/>
                </a:lnTo>
                <a:lnTo>
                  <a:pt x="196" y="224"/>
                </a:lnTo>
                <a:lnTo>
                  <a:pt x="171" y="202"/>
                </a:lnTo>
                <a:lnTo>
                  <a:pt x="155" y="193"/>
                </a:lnTo>
                <a:lnTo>
                  <a:pt x="123" y="202"/>
                </a:lnTo>
                <a:lnTo>
                  <a:pt x="123" y="266"/>
                </a:lnTo>
                <a:lnTo>
                  <a:pt x="114" y="266"/>
                </a:lnTo>
                <a:lnTo>
                  <a:pt x="99" y="249"/>
                </a:lnTo>
                <a:lnTo>
                  <a:pt x="74" y="258"/>
                </a:lnTo>
                <a:lnTo>
                  <a:pt x="74" y="243"/>
                </a:lnTo>
                <a:lnTo>
                  <a:pt x="65" y="243"/>
                </a:lnTo>
                <a:lnTo>
                  <a:pt x="59" y="218"/>
                </a:lnTo>
                <a:lnTo>
                  <a:pt x="49" y="218"/>
                </a:lnTo>
                <a:lnTo>
                  <a:pt x="65" y="218"/>
                </a:lnTo>
                <a:lnTo>
                  <a:pt x="59" y="209"/>
                </a:lnTo>
                <a:lnTo>
                  <a:pt x="65" y="202"/>
                </a:lnTo>
                <a:lnTo>
                  <a:pt x="99" y="202"/>
                </a:lnTo>
                <a:lnTo>
                  <a:pt x="90" y="177"/>
                </a:lnTo>
                <a:lnTo>
                  <a:pt x="74" y="169"/>
                </a:lnTo>
                <a:lnTo>
                  <a:pt x="59" y="161"/>
                </a:lnTo>
                <a:lnTo>
                  <a:pt x="34" y="177"/>
                </a:lnTo>
                <a:lnTo>
                  <a:pt x="25" y="177"/>
                </a:lnTo>
                <a:lnTo>
                  <a:pt x="34" y="169"/>
                </a:lnTo>
                <a:lnTo>
                  <a:pt x="25" y="153"/>
                </a:lnTo>
                <a:lnTo>
                  <a:pt x="9" y="153"/>
                </a:lnTo>
                <a:lnTo>
                  <a:pt x="0" y="137"/>
                </a:lnTo>
                <a:lnTo>
                  <a:pt x="9" y="96"/>
                </a:lnTo>
                <a:lnTo>
                  <a:pt x="25" y="112"/>
                </a:lnTo>
                <a:lnTo>
                  <a:pt x="34" y="112"/>
                </a:lnTo>
                <a:lnTo>
                  <a:pt x="25" y="96"/>
                </a:lnTo>
                <a:lnTo>
                  <a:pt x="49" y="72"/>
                </a:lnTo>
                <a:lnTo>
                  <a:pt x="65" y="81"/>
                </a:lnTo>
                <a:lnTo>
                  <a:pt x="74" y="72"/>
                </a:lnTo>
                <a:lnTo>
                  <a:pt x="90" y="81"/>
                </a:lnTo>
                <a:lnTo>
                  <a:pt x="114" y="96"/>
                </a:lnTo>
                <a:lnTo>
                  <a:pt x="131" y="87"/>
                </a:lnTo>
                <a:lnTo>
                  <a:pt x="148" y="87"/>
                </a:lnTo>
                <a:lnTo>
                  <a:pt x="155" y="96"/>
                </a:lnTo>
                <a:lnTo>
                  <a:pt x="188" y="96"/>
                </a:lnTo>
                <a:lnTo>
                  <a:pt x="196" y="81"/>
                </a:lnTo>
                <a:lnTo>
                  <a:pt x="171" y="72"/>
                </a:lnTo>
                <a:lnTo>
                  <a:pt x="188" y="63"/>
                </a:lnTo>
                <a:lnTo>
                  <a:pt x="179" y="56"/>
                </a:lnTo>
                <a:lnTo>
                  <a:pt x="188" y="47"/>
                </a:lnTo>
                <a:lnTo>
                  <a:pt x="188" y="22"/>
                </a:lnTo>
                <a:lnTo>
                  <a:pt x="204" y="32"/>
                </a:lnTo>
                <a:lnTo>
                  <a:pt x="276" y="7"/>
                </a:lnTo>
                <a:lnTo>
                  <a:pt x="276" y="0"/>
                </a:lnTo>
                <a:lnTo>
                  <a:pt x="285" y="0"/>
                </a:lnTo>
                <a:lnTo>
                  <a:pt x="310" y="0"/>
                </a:lnTo>
                <a:lnTo>
                  <a:pt x="317" y="16"/>
                </a:lnTo>
                <a:lnTo>
                  <a:pt x="317" y="22"/>
                </a:lnTo>
                <a:lnTo>
                  <a:pt x="326" y="22"/>
                </a:lnTo>
                <a:lnTo>
                  <a:pt x="341" y="32"/>
                </a:lnTo>
                <a:lnTo>
                  <a:pt x="341" y="40"/>
                </a:lnTo>
                <a:lnTo>
                  <a:pt x="358" y="40"/>
                </a:lnTo>
                <a:lnTo>
                  <a:pt x="375" y="22"/>
                </a:lnTo>
                <a:lnTo>
                  <a:pt x="390" y="16"/>
                </a:lnTo>
                <a:lnTo>
                  <a:pt x="398" y="40"/>
                </a:lnTo>
                <a:lnTo>
                  <a:pt x="432" y="96"/>
                </a:lnTo>
                <a:lnTo>
                  <a:pt x="438" y="81"/>
                </a:lnTo>
                <a:lnTo>
                  <a:pt x="447" y="96"/>
                </a:lnTo>
                <a:lnTo>
                  <a:pt x="472" y="87"/>
                </a:lnTo>
                <a:lnTo>
                  <a:pt x="497" y="112"/>
                </a:lnTo>
                <a:lnTo>
                  <a:pt x="512" y="121"/>
                </a:lnTo>
                <a:lnTo>
                  <a:pt x="512" y="112"/>
                </a:lnTo>
                <a:lnTo>
                  <a:pt x="528" y="129"/>
                </a:lnTo>
                <a:lnTo>
                  <a:pt x="512" y="137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03" name="Freeform 17"/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4475163" y="4438650"/>
            <a:ext cx="317500" cy="304800"/>
          </a:xfrm>
          <a:custGeom>
            <a:avLst/>
            <a:gdLst>
              <a:gd name="T0" fmla="*/ 2147483647 w 203"/>
              <a:gd name="T1" fmla="*/ 2147483647 h 193"/>
              <a:gd name="T2" fmla="*/ 2147483647 w 203"/>
              <a:gd name="T3" fmla="*/ 2147483647 h 193"/>
              <a:gd name="T4" fmla="*/ 2147483647 w 203"/>
              <a:gd name="T5" fmla="*/ 2147483647 h 193"/>
              <a:gd name="T6" fmla="*/ 0 w 203"/>
              <a:gd name="T7" fmla="*/ 2147483647 h 193"/>
              <a:gd name="T8" fmla="*/ 2147483647 w 203"/>
              <a:gd name="T9" fmla="*/ 2147483647 h 193"/>
              <a:gd name="T10" fmla="*/ 2147483647 w 203"/>
              <a:gd name="T11" fmla="*/ 2147483647 h 193"/>
              <a:gd name="T12" fmla="*/ 2147483647 w 203"/>
              <a:gd name="T13" fmla="*/ 2147483647 h 193"/>
              <a:gd name="T14" fmla="*/ 0 w 203"/>
              <a:gd name="T15" fmla="*/ 2147483647 h 193"/>
              <a:gd name="T16" fmla="*/ 0 w 203"/>
              <a:gd name="T17" fmla="*/ 2147483647 h 193"/>
              <a:gd name="T18" fmla="*/ 2147483647 w 203"/>
              <a:gd name="T19" fmla="*/ 2147483647 h 193"/>
              <a:gd name="T20" fmla="*/ 2147483647 w 203"/>
              <a:gd name="T21" fmla="*/ 2147483647 h 193"/>
              <a:gd name="T22" fmla="*/ 2147483647 w 203"/>
              <a:gd name="T23" fmla="*/ 2147483647 h 193"/>
              <a:gd name="T24" fmla="*/ 2147483647 w 203"/>
              <a:gd name="T25" fmla="*/ 0 h 193"/>
              <a:gd name="T26" fmla="*/ 2147483647 w 203"/>
              <a:gd name="T27" fmla="*/ 0 h 193"/>
              <a:gd name="T28" fmla="*/ 2147483647 w 203"/>
              <a:gd name="T29" fmla="*/ 2147483647 h 193"/>
              <a:gd name="T30" fmla="*/ 2147483647 w 203"/>
              <a:gd name="T31" fmla="*/ 2147483647 h 193"/>
              <a:gd name="T32" fmla="*/ 2147483647 w 203"/>
              <a:gd name="T33" fmla="*/ 2147483647 h 193"/>
              <a:gd name="T34" fmla="*/ 2147483647 w 203"/>
              <a:gd name="T35" fmla="*/ 2147483647 h 193"/>
              <a:gd name="T36" fmla="*/ 2147483647 w 203"/>
              <a:gd name="T37" fmla="*/ 2147483647 h 193"/>
              <a:gd name="T38" fmla="*/ 2147483647 w 203"/>
              <a:gd name="T39" fmla="*/ 2147483647 h 193"/>
              <a:gd name="T40" fmla="*/ 2147483647 w 203"/>
              <a:gd name="T41" fmla="*/ 0 h 193"/>
              <a:gd name="T42" fmla="*/ 2147483647 w 203"/>
              <a:gd name="T43" fmla="*/ 2147483647 h 193"/>
              <a:gd name="T44" fmla="*/ 2147483647 w 203"/>
              <a:gd name="T45" fmla="*/ 2147483647 h 193"/>
              <a:gd name="T46" fmla="*/ 2147483647 w 203"/>
              <a:gd name="T47" fmla="*/ 2147483647 h 193"/>
              <a:gd name="T48" fmla="*/ 2147483647 w 203"/>
              <a:gd name="T49" fmla="*/ 2147483647 h 193"/>
              <a:gd name="T50" fmla="*/ 2147483647 w 203"/>
              <a:gd name="T51" fmla="*/ 2147483647 h 193"/>
              <a:gd name="T52" fmla="*/ 2147483647 w 203"/>
              <a:gd name="T53" fmla="*/ 2147483647 h 193"/>
              <a:gd name="T54" fmla="*/ 2147483647 w 203"/>
              <a:gd name="T55" fmla="*/ 2147483647 h 193"/>
              <a:gd name="T56" fmla="*/ 2147483647 w 203"/>
              <a:gd name="T57" fmla="*/ 2147483647 h 193"/>
              <a:gd name="T58" fmla="*/ 2147483647 w 203"/>
              <a:gd name="T59" fmla="*/ 2147483647 h 193"/>
              <a:gd name="T60" fmla="*/ 2147483647 w 203"/>
              <a:gd name="T61" fmla="*/ 2147483647 h 193"/>
              <a:gd name="T62" fmla="*/ 2147483647 w 203"/>
              <a:gd name="T63" fmla="*/ 2147483647 h 193"/>
              <a:gd name="T64" fmla="*/ 2147483647 w 203"/>
              <a:gd name="T65" fmla="*/ 2147483647 h 193"/>
              <a:gd name="T66" fmla="*/ 2147483647 w 203"/>
              <a:gd name="T67" fmla="*/ 2147483647 h 19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03"/>
              <a:gd name="T103" fmla="*/ 0 h 193"/>
              <a:gd name="T104" fmla="*/ 203 w 203"/>
              <a:gd name="T105" fmla="*/ 193 h 193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03" h="193">
                <a:moveTo>
                  <a:pt x="31" y="137"/>
                </a:moveTo>
                <a:lnTo>
                  <a:pt x="22" y="120"/>
                </a:lnTo>
                <a:lnTo>
                  <a:pt x="15" y="120"/>
                </a:lnTo>
                <a:lnTo>
                  <a:pt x="0" y="96"/>
                </a:lnTo>
                <a:lnTo>
                  <a:pt x="6" y="87"/>
                </a:lnTo>
                <a:lnTo>
                  <a:pt x="6" y="71"/>
                </a:lnTo>
                <a:lnTo>
                  <a:pt x="6" y="55"/>
                </a:lnTo>
                <a:lnTo>
                  <a:pt x="0" y="47"/>
                </a:lnTo>
                <a:lnTo>
                  <a:pt x="0" y="40"/>
                </a:lnTo>
                <a:lnTo>
                  <a:pt x="6" y="31"/>
                </a:lnTo>
                <a:lnTo>
                  <a:pt x="6" y="24"/>
                </a:lnTo>
                <a:lnTo>
                  <a:pt x="22" y="6"/>
                </a:lnTo>
                <a:lnTo>
                  <a:pt x="22" y="0"/>
                </a:lnTo>
                <a:lnTo>
                  <a:pt x="40" y="0"/>
                </a:lnTo>
                <a:lnTo>
                  <a:pt x="63" y="6"/>
                </a:lnTo>
                <a:lnTo>
                  <a:pt x="80" y="6"/>
                </a:lnTo>
                <a:lnTo>
                  <a:pt x="80" y="24"/>
                </a:lnTo>
                <a:lnTo>
                  <a:pt x="128" y="40"/>
                </a:lnTo>
                <a:lnTo>
                  <a:pt x="137" y="31"/>
                </a:lnTo>
                <a:lnTo>
                  <a:pt x="137" y="15"/>
                </a:lnTo>
                <a:lnTo>
                  <a:pt x="161" y="0"/>
                </a:lnTo>
                <a:lnTo>
                  <a:pt x="177" y="6"/>
                </a:lnTo>
                <a:lnTo>
                  <a:pt x="177" y="15"/>
                </a:lnTo>
                <a:lnTo>
                  <a:pt x="202" y="15"/>
                </a:lnTo>
                <a:lnTo>
                  <a:pt x="192" y="47"/>
                </a:lnTo>
                <a:lnTo>
                  <a:pt x="202" y="63"/>
                </a:lnTo>
                <a:lnTo>
                  <a:pt x="202" y="152"/>
                </a:lnTo>
                <a:lnTo>
                  <a:pt x="202" y="177"/>
                </a:lnTo>
                <a:lnTo>
                  <a:pt x="192" y="186"/>
                </a:lnTo>
                <a:lnTo>
                  <a:pt x="184" y="192"/>
                </a:lnTo>
                <a:lnTo>
                  <a:pt x="87" y="137"/>
                </a:lnTo>
                <a:lnTo>
                  <a:pt x="72" y="145"/>
                </a:lnTo>
                <a:lnTo>
                  <a:pt x="63" y="137"/>
                </a:lnTo>
                <a:lnTo>
                  <a:pt x="31" y="137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04" name="Freeform 18"/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4114800" y="4333875"/>
            <a:ext cx="409575" cy="409575"/>
          </a:xfrm>
          <a:custGeom>
            <a:avLst/>
            <a:gdLst>
              <a:gd name="T0" fmla="*/ 2147483647 w 261"/>
              <a:gd name="T1" fmla="*/ 2147483647 h 259"/>
              <a:gd name="T2" fmla="*/ 2147483647 w 261"/>
              <a:gd name="T3" fmla="*/ 2147483647 h 259"/>
              <a:gd name="T4" fmla="*/ 2147483647 w 261"/>
              <a:gd name="T5" fmla="*/ 2147483647 h 259"/>
              <a:gd name="T6" fmla="*/ 2147483647 w 261"/>
              <a:gd name="T7" fmla="*/ 2147483647 h 259"/>
              <a:gd name="T8" fmla="*/ 2147483647 w 261"/>
              <a:gd name="T9" fmla="*/ 2147483647 h 259"/>
              <a:gd name="T10" fmla="*/ 2147483647 w 261"/>
              <a:gd name="T11" fmla="*/ 2147483647 h 259"/>
              <a:gd name="T12" fmla="*/ 2147483647 w 261"/>
              <a:gd name="T13" fmla="*/ 2147483647 h 259"/>
              <a:gd name="T14" fmla="*/ 0 w 261"/>
              <a:gd name="T15" fmla="*/ 2147483647 h 259"/>
              <a:gd name="T16" fmla="*/ 0 w 261"/>
              <a:gd name="T17" fmla="*/ 2147483647 h 259"/>
              <a:gd name="T18" fmla="*/ 2147483647 w 261"/>
              <a:gd name="T19" fmla="*/ 2147483647 h 259"/>
              <a:gd name="T20" fmla="*/ 2147483647 w 261"/>
              <a:gd name="T21" fmla="*/ 2147483647 h 259"/>
              <a:gd name="T22" fmla="*/ 2147483647 w 261"/>
              <a:gd name="T23" fmla="*/ 2147483647 h 259"/>
              <a:gd name="T24" fmla="*/ 2147483647 w 261"/>
              <a:gd name="T25" fmla="*/ 2147483647 h 259"/>
              <a:gd name="T26" fmla="*/ 2147483647 w 261"/>
              <a:gd name="T27" fmla="*/ 2147483647 h 259"/>
              <a:gd name="T28" fmla="*/ 2147483647 w 261"/>
              <a:gd name="T29" fmla="*/ 2147483647 h 259"/>
              <a:gd name="T30" fmla="*/ 2147483647 w 261"/>
              <a:gd name="T31" fmla="*/ 2147483647 h 259"/>
              <a:gd name="T32" fmla="*/ 2147483647 w 261"/>
              <a:gd name="T33" fmla="*/ 2147483647 h 259"/>
              <a:gd name="T34" fmla="*/ 2147483647 w 261"/>
              <a:gd name="T35" fmla="*/ 2147483647 h 259"/>
              <a:gd name="T36" fmla="*/ 2147483647 w 261"/>
              <a:gd name="T37" fmla="*/ 2147483647 h 259"/>
              <a:gd name="T38" fmla="*/ 2147483647 w 261"/>
              <a:gd name="T39" fmla="*/ 2147483647 h 259"/>
              <a:gd name="T40" fmla="*/ 2147483647 w 261"/>
              <a:gd name="T41" fmla="*/ 2147483647 h 259"/>
              <a:gd name="T42" fmla="*/ 2147483647 w 261"/>
              <a:gd name="T43" fmla="*/ 2147483647 h 259"/>
              <a:gd name="T44" fmla="*/ 2147483647 w 261"/>
              <a:gd name="T45" fmla="*/ 2147483647 h 259"/>
              <a:gd name="T46" fmla="*/ 2147483647 w 261"/>
              <a:gd name="T47" fmla="*/ 2147483647 h 259"/>
              <a:gd name="T48" fmla="*/ 2147483647 w 261"/>
              <a:gd name="T49" fmla="*/ 2147483647 h 259"/>
              <a:gd name="T50" fmla="*/ 2147483647 w 261"/>
              <a:gd name="T51" fmla="*/ 2147483647 h 259"/>
              <a:gd name="T52" fmla="*/ 2147483647 w 261"/>
              <a:gd name="T53" fmla="*/ 2147483647 h 259"/>
              <a:gd name="T54" fmla="*/ 2147483647 w 261"/>
              <a:gd name="T55" fmla="*/ 2147483647 h 259"/>
              <a:gd name="T56" fmla="*/ 2147483647 w 261"/>
              <a:gd name="T57" fmla="*/ 2147483647 h 259"/>
              <a:gd name="T58" fmla="*/ 2147483647 w 261"/>
              <a:gd name="T59" fmla="*/ 2147483647 h 259"/>
              <a:gd name="T60" fmla="*/ 2147483647 w 261"/>
              <a:gd name="T61" fmla="*/ 0 h 259"/>
              <a:gd name="T62" fmla="*/ 2147483647 w 261"/>
              <a:gd name="T63" fmla="*/ 2147483647 h 259"/>
              <a:gd name="T64" fmla="*/ 2147483647 w 261"/>
              <a:gd name="T65" fmla="*/ 0 h 259"/>
              <a:gd name="T66" fmla="*/ 2147483647 w 261"/>
              <a:gd name="T67" fmla="*/ 2147483647 h 259"/>
              <a:gd name="T68" fmla="*/ 2147483647 w 261"/>
              <a:gd name="T69" fmla="*/ 0 h 259"/>
              <a:gd name="T70" fmla="*/ 2147483647 w 261"/>
              <a:gd name="T71" fmla="*/ 2147483647 h 259"/>
              <a:gd name="T72" fmla="*/ 2147483647 w 261"/>
              <a:gd name="T73" fmla="*/ 2147483647 h 259"/>
              <a:gd name="T74" fmla="*/ 2147483647 w 261"/>
              <a:gd name="T75" fmla="*/ 2147483647 h 259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61"/>
              <a:gd name="T115" fmla="*/ 0 h 259"/>
              <a:gd name="T116" fmla="*/ 261 w 261"/>
              <a:gd name="T117" fmla="*/ 259 h 259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261" h="259">
                <a:moveTo>
                  <a:pt x="82" y="32"/>
                </a:moveTo>
                <a:lnTo>
                  <a:pt x="90" y="32"/>
                </a:lnTo>
                <a:lnTo>
                  <a:pt x="98" y="72"/>
                </a:lnTo>
                <a:lnTo>
                  <a:pt x="65" y="81"/>
                </a:lnTo>
                <a:lnTo>
                  <a:pt x="65" y="90"/>
                </a:lnTo>
                <a:lnTo>
                  <a:pt x="42" y="106"/>
                </a:lnTo>
                <a:lnTo>
                  <a:pt x="8" y="121"/>
                </a:lnTo>
                <a:lnTo>
                  <a:pt x="0" y="129"/>
                </a:lnTo>
                <a:lnTo>
                  <a:pt x="0" y="146"/>
                </a:lnTo>
                <a:lnTo>
                  <a:pt x="48" y="178"/>
                </a:lnTo>
                <a:lnTo>
                  <a:pt x="122" y="234"/>
                </a:lnTo>
                <a:lnTo>
                  <a:pt x="130" y="243"/>
                </a:lnTo>
                <a:lnTo>
                  <a:pt x="145" y="252"/>
                </a:lnTo>
                <a:lnTo>
                  <a:pt x="154" y="258"/>
                </a:lnTo>
                <a:lnTo>
                  <a:pt x="163" y="258"/>
                </a:lnTo>
                <a:lnTo>
                  <a:pt x="179" y="258"/>
                </a:lnTo>
                <a:lnTo>
                  <a:pt x="260" y="203"/>
                </a:lnTo>
                <a:lnTo>
                  <a:pt x="251" y="186"/>
                </a:lnTo>
                <a:lnTo>
                  <a:pt x="244" y="186"/>
                </a:lnTo>
                <a:lnTo>
                  <a:pt x="229" y="162"/>
                </a:lnTo>
                <a:lnTo>
                  <a:pt x="235" y="153"/>
                </a:lnTo>
                <a:lnTo>
                  <a:pt x="235" y="137"/>
                </a:lnTo>
                <a:lnTo>
                  <a:pt x="235" y="121"/>
                </a:lnTo>
                <a:lnTo>
                  <a:pt x="229" y="113"/>
                </a:lnTo>
                <a:lnTo>
                  <a:pt x="229" y="106"/>
                </a:lnTo>
                <a:lnTo>
                  <a:pt x="229" y="81"/>
                </a:lnTo>
                <a:lnTo>
                  <a:pt x="210" y="72"/>
                </a:lnTo>
                <a:lnTo>
                  <a:pt x="204" y="56"/>
                </a:lnTo>
                <a:lnTo>
                  <a:pt x="219" y="41"/>
                </a:lnTo>
                <a:lnTo>
                  <a:pt x="210" y="9"/>
                </a:lnTo>
                <a:lnTo>
                  <a:pt x="219" y="0"/>
                </a:lnTo>
                <a:lnTo>
                  <a:pt x="210" y="9"/>
                </a:lnTo>
                <a:lnTo>
                  <a:pt x="187" y="0"/>
                </a:lnTo>
                <a:lnTo>
                  <a:pt x="179" y="9"/>
                </a:lnTo>
                <a:lnTo>
                  <a:pt x="163" y="0"/>
                </a:lnTo>
                <a:lnTo>
                  <a:pt x="145" y="9"/>
                </a:lnTo>
                <a:lnTo>
                  <a:pt x="122" y="9"/>
                </a:lnTo>
                <a:lnTo>
                  <a:pt x="82" y="32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05" name="Freeform 19"/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4040188" y="4614863"/>
            <a:ext cx="331787" cy="319087"/>
          </a:xfrm>
          <a:custGeom>
            <a:avLst/>
            <a:gdLst>
              <a:gd name="T0" fmla="*/ 2147483647 w 212"/>
              <a:gd name="T1" fmla="*/ 0 h 203"/>
              <a:gd name="T2" fmla="*/ 2147483647 w 212"/>
              <a:gd name="T3" fmla="*/ 2147483647 h 203"/>
              <a:gd name="T4" fmla="*/ 2147483647 w 212"/>
              <a:gd name="T5" fmla="*/ 2147483647 h 203"/>
              <a:gd name="T6" fmla="*/ 2147483647 w 212"/>
              <a:gd name="T7" fmla="*/ 2147483647 h 203"/>
              <a:gd name="T8" fmla="*/ 2147483647 w 212"/>
              <a:gd name="T9" fmla="*/ 2147483647 h 203"/>
              <a:gd name="T10" fmla="*/ 2147483647 w 212"/>
              <a:gd name="T11" fmla="*/ 2147483647 h 203"/>
              <a:gd name="T12" fmla="*/ 2147483647 w 212"/>
              <a:gd name="T13" fmla="*/ 2147483647 h 203"/>
              <a:gd name="T14" fmla="*/ 2147483647 w 212"/>
              <a:gd name="T15" fmla="*/ 2147483647 h 203"/>
              <a:gd name="T16" fmla="*/ 2147483647 w 212"/>
              <a:gd name="T17" fmla="*/ 2147483647 h 203"/>
              <a:gd name="T18" fmla="*/ 2147483647 w 212"/>
              <a:gd name="T19" fmla="*/ 2147483647 h 203"/>
              <a:gd name="T20" fmla="*/ 2147483647 w 212"/>
              <a:gd name="T21" fmla="*/ 2147483647 h 203"/>
              <a:gd name="T22" fmla="*/ 2147483647 w 212"/>
              <a:gd name="T23" fmla="*/ 2147483647 h 203"/>
              <a:gd name="T24" fmla="*/ 2147483647 w 212"/>
              <a:gd name="T25" fmla="*/ 2147483647 h 203"/>
              <a:gd name="T26" fmla="*/ 2147483647 w 212"/>
              <a:gd name="T27" fmla="*/ 2147483647 h 203"/>
              <a:gd name="T28" fmla="*/ 2147483647 w 212"/>
              <a:gd name="T29" fmla="*/ 2147483647 h 203"/>
              <a:gd name="T30" fmla="*/ 2147483647 w 212"/>
              <a:gd name="T31" fmla="*/ 2147483647 h 203"/>
              <a:gd name="T32" fmla="*/ 2147483647 w 212"/>
              <a:gd name="T33" fmla="*/ 2147483647 h 203"/>
              <a:gd name="T34" fmla="*/ 2147483647 w 212"/>
              <a:gd name="T35" fmla="*/ 2147483647 h 203"/>
              <a:gd name="T36" fmla="*/ 2147483647 w 212"/>
              <a:gd name="T37" fmla="*/ 2147483647 h 203"/>
              <a:gd name="T38" fmla="*/ 2147483647 w 212"/>
              <a:gd name="T39" fmla="*/ 2147483647 h 203"/>
              <a:gd name="T40" fmla="*/ 2147483647 w 212"/>
              <a:gd name="T41" fmla="*/ 2147483647 h 203"/>
              <a:gd name="T42" fmla="*/ 2147483647 w 212"/>
              <a:gd name="T43" fmla="*/ 2147483647 h 203"/>
              <a:gd name="T44" fmla="*/ 0 w 212"/>
              <a:gd name="T45" fmla="*/ 2147483647 h 203"/>
              <a:gd name="T46" fmla="*/ 2147483647 w 212"/>
              <a:gd name="T47" fmla="*/ 2147483647 h 203"/>
              <a:gd name="T48" fmla="*/ 2147483647 w 212"/>
              <a:gd name="T49" fmla="*/ 2147483647 h 203"/>
              <a:gd name="T50" fmla="*/ 2147483647 w 212"/>
              <a:gd name="T51" fmla="*/ 2147483647 h 203"/>
              <a:gd name="T52" fmla="*/ 2147483647 w 212"/>
              <a:gd name="T53" fmla="*/ 2147483647 h 203"/>
              <a:gd name="T54" fmla="*/ 2147483647 w 212"/>
              <a:gd name="T55" fmla="*/ 0 h 203"/>
              <a:gd name="T56" fmla="*/ 2147483647 w 212"/>
              <a:gd name="T57" fmla="*/ 0 h 203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212"/>
              <a:gd name="T88" fmla="*/ 0 h 203"/>
              <a:gd name="T89" fmla="*/ 212 w 212"/>
              <a:gd name="T90" fmla="*/ 203 h 203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212" h="203">
                <a:moveTo>
                  <a:pt x="96" y="0"/>
                </a:moveTo>
                <a:lnTo>
                  <a:pt x="170" y="56"/>
                </a:lnTo>
                <a:lnTo>
                  <a:pt x="178" y="65"/>
                </a:lnTo>
                <a:lnTo>
                  <a:pt x="193" y="74"/>
                </a:lnTo>
                <a:lnTo>
                  <a:pt x="202" y="80"/>
                </a:lnTo>
                <a:lnTo>
                  <a:pt x="211" y="80"/>
                </a:lnTo>
                <a:lnTo>
                  <a:pt x="211" y="121"/>
                </a:lnTo>
                <a:lnTo>
                  <a:pt x="202" y="130"/>
                </a:lnTo>
                <a:lnTo>
                  <a:pt x="162" y="137"/>
                </a:lnTo>
                <a:lnTo>
                  <a:pt x="146" y="137"/>
                </a:lnTo>
                <a:lnTo>
                  <a:pt x="130" y="155"/>
                </a:lnTo>
                <a:lnTo>
                  <a:pt x="113" y="162"/>
                </a:lnTo>
                <a:lnTo>
                  <a:pt x="96" y="187"/>
                </a:lnTo>
                <a:lnTo>
                  <a:pt x="90" y="195"/>
                </a:lnTo>
                <a:lnTo>
                  <a:pt x="81" y="202"/>
                </a:lnTo>
                <a:lnTo>
                  <a:pt x="72" y="195"/>
                </a:lnTo>
                <a:lnTo>
                  <a:pt x="65" y="202"/>
                </a:lnTo>
                <a:lnTo>
                  <a:pt x="56" y="202"/>
                </a:lnTo>
                <a:lnTo>
                  <a:pt x="41" y="170"/>
                </a:lnTo>
                <a:lnTo>
                  <a:pt x="23" y="177"/>
                </a:lnTo>
                <a:lnTo>
                  <a:pt x="7" y="177"/>
                </a:lnTo>
                <a:lnTo>
                  <a:pt x="16" y="170"/>
                </a:lnTo>
                <a:lnTo>
                  <a:pt x="0" y="137"/>
                </a:lnTo>
                <a:lnTo>
                  <a:pt x="16" y="130"/>
                </a:lnTo>
                <a:lnTo>
                  <a:pt x="23" y="137"/>
                </a:lnTo>
                <a:lnTo>
                  <a:pt x="31" y="130"/>
                </a:lnTo>
                <a:lnTo>
                  <a:pt x="90" y="130"/>
                </a:lnTo>
                <a:lnTo>
                  <a:pt x="72" y="0"/>
                </a:lnTo>
                <a:lnTo>
                  <a:pt x="96" y="0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06" name="Freeform 20"/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4114800" y="4921250"/>
            <a:ext cx="130175" cy="128588"/>
          </a:xfrm>
          <a:custGeom>
            <a:avLst/>
            <a:gdLst>
              <a:gd name="T0" fmla="*/ 2147483647 w 83"/>
              <a:gd name="T1" fmla="*/ 2147483647 h 82"/>
              <a:gd name="T2" fmla="*/ 2147483647 w 83"/>
              <a:gd name="T3" fmla="*/ 2147483647 h 82"/>
              <a:gd name="T4" fmla="*/ 2147483647 w 83"/>
              <a:gd name="T5" fmla="*/ 2147483647 h 82"/>
              <a:gd name="T6" fmla="*/ 2147483647 w 83"/>
              <a:gd name="T7" fmla="*/ 2147483647 h 82"/>
              <a:gd name="T8" fmla="*/ 2147483647 w 83"/>
              <a:gd name="T9" fmla="*/ 2147483647 h 82"/>
              <a:gd name="T10" fmla="*/ 2147483647 w 83"/>
              <a:gd name="T11" fmla="*/ 2147483647 h 82"/>
              <a:gd name="T12" fmla="*/ 2147483647 w 83"/>
              <a:gd name="T13" fmla="*/ 0 h 82"/>
              <a:gd name="T14" fmla="*/ 2147483647 w 83"/>
              <a:gd name="T15" fmla="*/ 2147483647 h 82"/>
              <a:gd name="T16" fmla="*/ 2147483647 w 83"/>
              <a:gd name="T17" fmla="*/ 0 h 82"/>
              <a:gd name="T18" fmla="*/ 2147483647 w 83"/>
              <a:gd name="T19" fmla="*/ 2147483647 h 82"/>
              <a:gd name="T20" fmla="*/ 2147483647 w 83"/>
              <a:gd name="T21" fmla="*/ 2147483647 h 82"/>
              <a:gd name="T22" fmla="*/ 2147483647 w 83"/>
              <a:gd name="T23" fmla="*/ 2147483647 h 82"/>
              <a:gd name="T24" fmla="*/ 2147483647 w 83"/>
              <a:gd name="T25" fmla="*/ 2147483647 h 82"/>
              <a:gd name="T26" fmla="*/ 2147483647 w 83"/>
              <a:gd name="T27" fmla="*/ 2147483647 h 82"/>
              <a:gd name="T28" fmla="*/ 2147483647 w 83"/>
              <a:gd name="T29" fmla="*/ 2147483647 h 82"/>
              <a:gd name="T30" fmla="*/ 0 w 83"/>
              <a:gd name="T31" fmla="*/ 2147483647 h 82"/>
              <a:gd name="T32" fmla="*/ 0 w 83"/>
              <a:gd name="T33" fmla="*/ 2147483647 h 82"/>
              <a:gd name="T34" fmla="*/ 2147483647 w 83"/>
              <a:gd name="T35" fmla="*/ 2147483647 h 82"/>
              <a:gd name="T36" fmla="*/ 2147483647 w 83"/>
              <a:gd name="T37" fmla="*/ 2147483647 h 82"/>
              <a:gd name="T38" fmla="*/ 2147483647 w 83"/>
              <a:gd name="T39" fmla="*/ 2147483647 h 82"/>
              <a:gd name="T40" fmla="*/ 2147483647 w 83"/>
              <a:gd name="T41" fmla="*/ 2147483647 h 82"/>
              <a:gd name="T42" fmla="*/ 2147483647 w 83"/>
              <a:gd name="T43" fmla="*/ 2147483647 h 82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83"/>
              <a:gd name="T67" fmla="*/ 0 h 82"/>
              <a:gd name="T68" fmla="*/ 83 w 83"/>
              <a:gd name="T69" fmla="*/ 82 h 82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83" h="82">
                <a:moveTo>
                  <a:pt x="73" y="72"/>
                </a:moveTo>
                <a:lnTo>
                  <a:pt x="73" y="47"/>
                </a:lnTo>
                <a:lnTo>
                  <a:pt x="82" y="32"/>
                </a:lnTo>
                <a:lnTo>
                  <a:pt x="73" y="16"/>
                </a:lnTo>
                <a:lnTo>
                  <a:pt x="65" y="7"/>
                </a:lnTo>
                <a:lnTo>
                  <a:pt x="48" y="7"/>
                </a:lnTo>
                <a:lnTo>
                  <a:pt x="42" y="0"/>
                </a:lnTo>
                <a:lnTo>
                  <a:pt x="33" y="7"/>
                </a:lnTo>
                <a:lnTo>
                  <a:pt x="24" y="0"/>
                </a:lnTo>
                <a:lnTo>
                  <a:pt x="17" y="7"/>
                </a:lnTo>
                <a:lnTo>
                  <a:pt x="8" y="7"/>
                </a:lnTo>
                <a:lnTo>
                  <a:pt x="8" y="16"/>
                </a:lnTo>
                <a:lnTo>
                  <a:pt x="8" y="23"/>
                </a:lnTo>
                <a:lnTo>
                  <a:pt x="8" y="32"/>
                </a:lnTo>
                <a:lnTo>
                  <a:pt x="8" y="41"/>
                </a:lnTo>
                <a:lnTo>
                  <a:pt x="0" y="41"/>
                </a:lnTo>
                <a:lnTo>
                  <a:pt x="0" y="56"/>
                </a:lnTo>
                <a:lnTo>
                  <a:pt x="17" y="65"/>
                </a:lnTo>
                <a:lnTo>
                  <a:pt x="17" y="81"/>
                </a:lnTo>
                <a:lnTo>
                  <a:pt x="33" y="72"/>
                </a:lnTo>
                <a:lnTo>
                  <a:pt x="57" y="72"/>
                </a:lnTo>
                <a:lnTo>
                  <a:pt x="73" y="72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07" name="Freeform 21"/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4229100" y="4908550"/>
            <a:ext cx="77788" cy="127000"/>
          </a:xfrm>
          <a:custGeom>
            <a:avLst/>
            <a:gdLst>
              <a:gd name="T0" fmla="*/ 0 w 50"/>
              <a:gd name="T1" fmla="*/ 2147483647 h 81"/>
              <a:gd name="T2" fmla="*/ 0 w 50"/>
              <a:gd name="T3" fmla="*/ 2147483647 h 81"/>
              <a:gd name="T4" fmla="*/ 0 w 50"/>
              <a:gd name="T5" fmla="*/ 0 h 81"/>
              <a:gd name="T6" fmla="*/ 2147483647 w 50"/>
              <a:gd name="T7" fmla="*/ 0 h 81"/>
              <a:gd name="T8" fmla="*/ 2147483647 w 50"/>
              <a:gd name="T9" fmla="*/ 2147483647 h 81"/>
              <a:gd name="T10" fmla="*/ 2147483647 w 50"/>
              <a:gd name="T11" fmla="*/ 2147483647 h 81"/>
              <a:gd name="T12" fmla="*/ 2147483647 w 50"/>
              <a:gd name="T13" fmla="*/ 2147483647 h 81"/>
              <a:gd name="T14" fmla="*/ 2147483647 w 50"/>
              <a:gd name="T15" fmla="*/ 2147483647 h 81"/>
              <a:gd name="T16" fmla="*/ 0 w 50"/>
              <a:gd name="T17" fmla="*/ 2147483647 h 81"/>
              <a:gd name="T18" fmla="*/ 0 w 50"/>
              <a:gd name="T19" fmla="*/ 2147483647 h 81"/>
              <a:gd name="T20" fmla="*/ 2147483647 w 50"/>
              <a:gd name="T21" fmla="*/ 2147483647 h 81"/>
              <a:gd name="T22" fmla="*/ 0 w 50"/>
              <a:gd name="T23" fmla="*/ 2147483647 h 8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50"/>
              <a:gd name="T37" fmla="*/ 0 h 81"/>
              <a:gd name="T38" fmla="*/ 50 w 50"/>
              <a:gd name="T39" fmla="*/ 81 h 8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50" h="81">
                <a:moveTo>
                  <a:pt x="0" y="24"/>
                </a:moveTo>
                <a:lnTo>
                  <a:pt x="0" y="8"/>
                </a:lnTo>
                <a:lnTo>
                  <a:pt x="0" y="0"/>
                </a:lnTo>
                <a:lnTo>
                  <a:pt x="32" y="0"/>
                </a:lnTo>
                <a:lnTo>
                  <a:pt x="41" y="31"/>
                </a:lnTo>
                <a:lnTo>
                  <a:pt x="49" y="55"/>
                </a:lnTo>
                <a:lnTo>
                  <a:pt x="49" y="64"/>
                </a:lnTo>
                <a:lnTo>
                  <a:pt x="9" y="80"/>
                </a:lnTo>
                <a:lnTo>
                  <a:pt x="0" y="80"/>
                </a:lnTo>
                <a:lnTo>
                  <a:pt x="0" y="55"/>
                </a:lnTo>
                <a:lnTo>
                  <a:pt x="9" y="40"/>
                </a:lnTo>
                <a:lnTo>
                  <a:pt x="0" y="24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08" name="Freeform 22"/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4459288" y="5087938"/>
            <a:ext cx="115887" cy="127000"/>
          </a:xfrm>
          <a:custGeom>
            <a:avLst/>
            <a:gdLst>
              <a:gd name="T0" fmla="*/ 2147483647 w 74"/>
              <a:gd name="T1" fmla="*/ 2147483647 h 81"/>
              <a:gd name="T2" fmla="*/ 2147483647 w 74"/>
              <a:gd name="T3" fmla="*/ 2147483647 h 81"/>
              <a:gd name="T4" fmla="*/ 2147483647 w 74"/>
              <a:gd name="T5" fmla="*/ 0 h 81"/>
              <a:gd name="T6" fmla="*/ 2147483647 w 74"/>
              <a:gd name="T7" fmla="*/ 0 h 81"/>
              <a:gd name="T8" fmla="*/ 2147483647 w 74"/>
              <a:gd name="T9" fmla="*/ 2147483647 h 81"/>
              <a:gd name="T10" fmla="*/ 2147483647 w 74"/>
              <a:gd name="T11" fmla="*/ 2147483647 h 81"/>
              <a:gd name="T12" fmla="*/ 2147483647 w 74"/>
              <a:gd name="T13" fmla="*/ 2147483647 h 81"/>
              <a:gd name="T14" fmla="*/ 2147483647 w 74"/>
              <a:gd name="T15" fmla="*/ 2147483647 h 81"/>
              <a:gd name="T16" fmla="*/ 2147483647 w 74"/>
              <a:gd name="T17" fmla="*/ 2147483647 h 81"/>
              <a:gd name="T18" fmla="*/ 2147483647 w 74"/>
              <a:gd name="T19" fmla="*/ 2147483647 h 81"/>
              <a:gd name="T20" fmla="*/ 2147483647 w 74"/>
              <a:gd name="T21" fmla="*/ 2147483647 h 81"/>
              <a:gd name="T22" fmla="*/ 2147483647 w 74"/>
              <a:gd name="T23" fmla="*/ 2147483647 h 81"/>
              <a:gd name="T24" fmla="*/ 2147483647 w 74"/>
              <a:gd name="T25" fmla="*/ 2147483647 h 81"/>
              <a:gd name="T26" fmla="*/ 2147483647 w 74"/>
              <a:gd name="T27" fmla="*/ 2147483647 h 81"/>
              <a:gd name="T28" fmla="*/ 2147483647 w 74"/>
              <a:gd name="T29" fmla="*/ 2147483647 h 81"/>
              <a:gd name="T30" fmla="*/ 0 w 74"/>
              <a:gd name="T31" fmla="*/ 2147483647 h 81"/>
              <a:gd name="T32" fmla="*/ 2147483647 w 74"/>
              <a:gd name="T33" fmla="*/ 2147483647 h 81"/>
              <a:gd name="T34" fmla="*/ 2147483647 w 74"/>
              <a:gd name="T35" fmla="*/ 2147483647 h 81"/>
              <a:gd name="T36" fmla="*/ 2147483647 w 74"/>
              <a:gd name="T37" fmla="*/ 2147483647 h 81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74"/>
              <a:gd name="T58" fmla="*/ 0 h 81"/>
              <a:gd name="T59" fmla="*/ 74 w 74"/>
              <a:gd name="T60" fmla="*/ 81 h 81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74" h="81">
                <a:moveTo>
                  <a:pt x="16" y="15"/>
                </a:moveTo>
                <a:lnTo>
                  <a:pt x="32" y="15"/>
                </a:lnTo>
                <a:lnTo>
                  <a:pt x="32" y="0"/>
                </a:lnTo>
                <a:lnTo>
                  <a:pt x="57" y="0"/>
                </a:lnTo>
                <a:lnTo>
                  <a:pt x="57" y="15"/>
                </a:lnTo>
                <a:lnTo>
                  <a:pt x="65" y="6"/>
                </a:lnTo>
                <a:lnTo>
                  <a:pt x="73" y="15"/>
                </a:lnTo>
                <a:lnTo>
                  <a:pt x="73" y="23"/>
                </a:lnTo>
                <a:lnTo>
                  <a:pt x="73" y="56"/>
                </a:lnTo>
                <a:lnTo>
                  <a:pt x="50" y="56"/>
                </a:lnTo>
                <a:lnTo>
                  <a:pt x="41" y="63"/>
                </a:lnTo>
                <a:lnTo>
                  <a:pt x="41" y="72"/>
                </a:lnTo>
                <a:lnTo>
                  <a:pt x="32" y="72"/>
                </a:lnTo>
                <a:lnTo>
                  <a:pt x="32" y="80"/>
                </a:lnTo>
                <a:lnTo>
                  <a:pt x="16" y="63"/>
                </a:lnTo>
                <a:lnTo>
                  <a:pt x="0" y="40"/>
                </a:lnTo>
                <a:lnTo>
                  <a:pt x="10" y="31"/>
                </a:lnTo>
                <a:lnTo>
                  <a:pt x="10" y="23"/>
                </a:lnTo>
                <a:lnTo>
                  <a:pt x="16" y="15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09" name="Freeform 23"/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4459288" y="4870450"/>
            <a:ext cx="152400" cy="228600"/>
          </a:xfrm>
          <a:custGeom>
            <a:avLst/>
            <a:gdLst>
              <a:gd name="T0" fmla="*/ 0 w 98"/>
              <a:gd name="T1" fmla="*/ 2147483647 h 146"/>
              <a:gd name="T2" fmla="*/ 2147483647 w 98"/>
              <a:gd name="T3" fmla="*/ 2147483647 h 146"/>
              <a:gd name="T4" fmla="*/ 2147483647 w 98"/>
              <a:gd name="T5" fmla="*/ 2147483647 h 146"/>
              <a:gd name="T6" fmla="*/ 2147483647 w 98"/>
              <a:gd name="T7" fmla="*/ 2147483647 h 146"/>
              <a:gd name="T8" fmla="*/ 2147483647 w 98"/>
              <a:gd name="T9" fmla="*/ 2147483647 h 146"/>
              <a:gd name="T10" fmla="*/ 2147483647 w 98"/>
              <a:gd name="T11" fmla="*/ 2147483647 h 146"/>
              <a:gd name="T12" fmla="*/ 2147483647 w 98"/>
              <a:gd name="T13" fmla="*/ 2147483647 h 146"/>
              <a:gd name="T14" fmla="*/ 2147483647 w 98"/>
              <a:gd name="T15" fmla="*/ 2147483647 h 146"/>
              <a:gd name="T16" fmla="*/ 2147483647 w 98"/>
              <a:gd name="T17" fmla="*/ 2147483647 h 146"/>
              <a:gd name="T18" fmla="*/ 2147483647 w 98"/>
              <a:gd name="T19" fmla="*/ 0 h 146"/>
              <a:gd name="T20" fmla="*/ 2147483647 w 98"/>
              <a:gd name="T21" fmla="*/ 2147483647 h 146"/>
              <a:gd name="T22" fmla="*/ 2147483647 w 98"/>
              <a:gd name="T23" fmla="*/ 2147483647 h 146"/>
              <a:gd name="T24" fmla="*/ 2147483647 w 98"/>
              <a:gd name="T25" fmla="*/ 2147483647 h 146"/>
              <a:gd name="T26" fmla="*/ 2147483647 w 98"/>
              <a:gd name="T27" fmla="*/ 2147483647 h 146"/>
              <a:gd name="T28" fmla="*/ 2147483647 w 98"/>
              <a:gd name="T29" fmla="*/ 2147483647 h 146"/>
              <a:gd name="T30" fmla="*/ 2147483647 w 98"/>
              <a:gd name="T31" fmla="*/ 2147483647 h 146"/>
              <a:gd name="T32" fmla="*/ 2147483647 w 98"/>
              <a:gd name="T33" fmla="*/ 2147483647 h 146"/>
              <a:gd name="T34" fmla="*/ 2147483647 w 98"/>
              <a:gd name="T35" fmla="*/ 2147483647 h 146"/>
              <a:gd name="T36" fmla="*/ 2147483647 w 98"/>
              <a:gd name="T37" fmla="*/ 2147483647 h 146"/>
              <a:gd name="T38" fmla="*/ 2147483647 w 98"/>
              <a:gd name="T39" fmla="*/ 2147483647 h 146"/>
              <a:gd name="T40" fmla="*/ 2147483647 w 98"/>
              <a:gd name="T41" fmla="*/ 2147483647 h 146"/>
              <a:gd name="T42" fmla="*/ 2147483647 w 98"/>
              <a:gd name="T43" fmla="*/ 2147483647 h 146"/>
              <a:gd name="T44" fmla="*/ 2147483647 w 98"/>
              <a:gd name="T45" fmla="*/ 2147483647 h 146"/>
              <a:gd name="T46" fmla="*/ 2147483647 w 98"/>
              <a:gd name="T47" fmla="*/ 2147483647 h 146"/>
              <a:gd name="T48" fmla="*/ 2147483647 w 98"/>
              <a:gd name="T49" fmla="*/ 2147483647 h 146"/>
              <a:gd name="T50" fmla="*/ 0 w 98"/>
              <a:gd name="T51" fmla="*/ 2147483647 h 146"/>
              <a:gd name="T52" fmla="*/ 0 w 98"/>
              <a:gd name="T53" fmla="*/ 2147483647 h 14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98"/>
              <a:gd name="T82" fmla="*/ 0 h 146"/>
              <a:gd name="T83" fmla="*/ 98 w 98"/>
              <a:gd name="T84" fmla="*/ 146 h 14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98" h="146">
                <a:moveTo>
                  <a:pt x="0" y="105"/>
                </a:moveTo>
                <a:lnTo>
                  <a:pt x="16" y="80"/>
                </a:lnTo>
                <a:lnTo>
                  <a:pt x="25" y="80"/>
                </a:lnTo>
                <a:lnTo>
                  <a:pt x="32" y="89"/>
                </a:lnTo>
                <a:lnTo>
                  <a:pt x="41" y="80"/>
                </a:lnTo>
                <a:lnTo>
                  <a:pt x="57" y="56"/>
                </a:lnTo>
                <a:lnTo>
                  <a:pt x="65" y="33"/>
                </a:lnTo>
                <a:lnTo>
                  <a:pt x="73" y="15"/>
                </a:lnTo>
                <a:lnTo>
                  <a:pt x="73" y="8"/>
                </a:lnTo>
                <a:lnTo>
                  <a:pt x="73" y="0"/>
                </a:lnTo>
                <a:lnTo>
                  <a:pt x="73" y="8"/>
                </a:lnTo>
                <a:lnTo>
                  <a:pt x="90" y="40"/>
                </a:lnTo>
                <a:lnTo>
                  <a:pt x="73" y="40"/>
                </a:lnTo>
                <a:lnTo>
                  <a:pt x="73" y="49"/>
                </a:lnTo>
                <a:lnTo>
                  <a:pt x="82" y="56"/>
                </a:lnTo>
                <a:lnTo>
                  <a:pt x="90" y="74"/>
                </a:lnTo>
                <a:lnTo>
                  <a:pt x="73" y="98"/>
                </a:lnTo>
                <a:lnTo>
                  <a:pt x="82" y="105"/>
                </a:lnTo>
                <a:lnTo>
                  <a:pt x="97" y="130"/>
                </a:lnTo>
                <a:lnTo>
                  <a:pt x="97" y="145"/>
                </a:lnTo>
                <a:lnTo>
                  <a:pt x="57" y="139"/>
                </a:lnTo>
                <a:lnTo>
                  <a:pt x="32" y="139"/>
                </a:lnTo>
                <a:lnTo>
                  <a:pt x="16" y="139"/>
                </a:lnTo>
                <a:lnTo>
                  <a:pt x="16" y="130"/>
                </a:lnTo>
                <a:lnTo>
                  <a:pt x="10" y="121"/>
                </a:lnTo>
                <a:lnTo>
                  <a:pt x="0" y="114"/>
                </a:lnTo>
                <a:lnTo>
                  <a:pt x="0" y="105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10" name="Freeform 24"/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4341813" y="4859338"/>
            <a:ext cx="233362" cy="190500"/>
          </a:xfrm>
          <a:custGeom>
            <a:avLst/>
            <a:gdLst>
              <a:gd name="T0" fmla="*/ 2147483647 w 148"/>
              <a:gd name="T1" fmla="*/ 2147483647 h 122"/>
              <a:gd name="T2" fmla="*/ 2147483647 w 148"/>
              <a:gd name="T3" fmla="*/ 2147483647 h 122"/>
              <a:gd name="T4" fmla="*/ 2147483647 w 148"/>
              <a:gd name="T5" fmla="*/ 2147483647 h 122"/>
              <a:gd name="T6" fmla="*/ 2147483647 w 148"/>
              <a:gd name="T7" fmla="*/ 2147483647 h 122"/>
              <a:gd name="T8" fmla="*/ 2147483647 w 148"/>
              <a:gd name="T9" fmla="*/ 2147483647 h 122"/>
              <a:gd name="T10" fmla="*/ 2147483647 w 148"/>
              <a:gd name="T11" fmla="*/ 2147483647 h 122"/>
              <a:gd name="T12" fmla="*/ 2147483647 w 148"/>
              <a:gd name="T13" fmla="*/ 2147483647 h 122"/>
              <a:gd name="T14" fmla="*/ 2147483647 w 148"/>
              <a:gd name="T15" fmla="*/ 2147483647 h 122"/>
              <a:gd name="T16" fmla="*/ 2147483647 w 148"/>
              <a:gd name="T17" fmla="*/ 2147483647 h 122"/>
              <a:gd name="T18" fmla="*/ 2147483647 w 148"/>
              <a:gd name="T19" fmla="*/ 2147483647 h 122"/>
              <a:gd name="T20" fmla="*/ 2147483647 w 148"/>
              <a:gd name="T21" fmla="*/ 0 h 122"/>
              <a:gd name="T22" fmla="*/ 2147483647 w 148"/>
              <a:gd name="T23" fmla="*/ 0 h 122"/>
              <a:gd name="T24" fmla="*/ 2147483647 w 148"/>
              <a:gd name="T25" fmla="*/ 2147483647 h 122"/>
              <a:gd name="T26" fmla="*/ 2147483647 w 148"/>
              <a:gd name="T27" fmla="*/ 2147483647 h 122"/>
              <a:gd name="T28" fmla="*/ 2147483647 w 148"/>
              <a:gd name="T29" fmla="*/ 2147483647 h 122"/>
              <a:gd name="T30" fmla="*/ 2147483647 w 148"/>
              <a:gd name="T31" fmla="*/ 2147483647 h 122"/>
              <a:gd name="T32" fmla="*/ 2147483647 w 148"/>
              <a:gd name="T33" fmla="*/ 2147483647 h 122"/>
              <a:gd name="T34" fmla="*/ 2147483647 w 148"/>
              <a:gd name="T35" fmla="*/ 0 h 122"/>
              <a:gd name="T36" fmla="*/ 2147483647 w 148"/>
              <a:gd name="T37" fmla="*/ 0 h 122"/>
              <a:gd name="T38" fmla="*/ 2147483647 w 148"/>
              <a:gd name="T39" fmla="*/ 2147483647 h 122"/>
              <a:gd name="T40" fmla="*/ 2147483647 w 148"/>
              <a:gd name="T41" fmla="*/ 2147483647 h 122"/>
              <a:gd name="T42" fmla="*/ 2147483647 w 148"/>
              <a:gd name="T43" fmla="*/ 2147483647 h 122"/>
              <a:gd name="T44" fmla="*/ 0 w 148"/>
              <a:gd name="T45" fmla="*/ 2147483647 h 122"/>
              <a:gd name="T46" fmla="*/ 0 w 148"/>
              <a:gd name="T47" fmla="*/ 2147483647 h 122"/>
              <a:gd name="T48" fmla="*/ 2147483647 w 148"/>
              <a:gd name="T49" fmla="*/ 2147483647 h 122"/>
              <a:gd name="T50" fmla="*/ 2147483647 w 148"/>
              <a:gd name="T51" fmla="*/ 2147483647 h 122"/>
              <a:gd name="T52" fmla="*/ 2147483647 w 148"/>
              <a:gd name="T53" fmla="*/ 2147483647 h 122"/>
              <a:gd name="T54" fmla="*/ 2147483647 w 148"/>
              <a:gd name="T55" fmla="*/ 2147483647 h 122"/>
              <a:gd name="T56" fmla="*/ 2147483647 w 148"/>
              <a:gd name="T57" fmla="*/ 2147483647 h 122"/>
              <a:gd name="T58" fmla="*/ 2147483647 w 148"/>
              <a:gd name="T59" fmla="*/ 2147483647 h 122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48"/>
              <a:gd name="T91" fmla="*/ 0 h 122"/>
              <a:gd name="T92" fmla="*/ 148 w 148"/>
              <a:gd name="T93" fmla="*/ 122 h 122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48" h="122">
                <a:moveTo>
                  <a:pt x="74" y="112"/>
                </a:moveTo>
                <a:lnTo>
                  <a:pt x="90" y="87"/>
                </a:lnTo>
                <a:lnTo>
                  <a:pt x="99" y="87"/>
                </a:lnTo>
                <a:lnTo>
                  <a:pt x="106" y="96"/>
                </a:lnTo>
                <a:lnTo>
                  <a:pt x="115" y="87"/>
                </a:lnTo>
                <a:lnTo>
                  <a:pt x="131" y="63"/>
                </a:lnTo>
                <a:lnTo>
                  <a:pt x="139" y="40"/>
                </a:lnTo>
                <a:lnTo>
                  <a:pt x="147" y="22"/>
                </a:lnTo>
                <a:lnTo>
                  <a:pt x="147" y="15"/>
                </a:lnTo>
                <a:lnTo>
                  <a:pt x="147" y="7"/>
                </a:lnTo>
                <a:lnTo>
                  <a:pt x="139" y="0"/>
                </a:lnTo>
                <a:lnTo>
                  <a:pt x="131" y="0"/>
                </a:lnTo>
                <a:lnTo>
                  <a:pt x="124" y="7"/>
                </a:lnTo>
                <a:lnTo>
                  <a:pt x="99" y="7"/>
                </a:lnTo>
                <a:lnTo>
                  <a:pt x="84" y="15"/>
                </a:lnTo>
                <a:lnTo>
                  <a:pt x="65" y="7"/>
                </a:lnTo>
                <a:lnTo>
                  <a:pt x="59" y="7"/>
                </a:lnTo>
                <a:lnTo>
                  <a:pt x="34" y="0"/>
                </a:lnTo>
                <a:lnTo>
                  <a:pt x="25" y="0"/>
                </a:lnTo>
                <a:lnTo>
                  <a:pt x="9" y="15"/>
                </a:lnTo>
                <a:lnTo>
                  <a:pt x="9" y="22"/>
                </a:lnTo>
                <a:lnTo>
                  <a:pt x="9" y="40"/>
                </a:lnTo>
                <a:lnTo>
                  <a:pt x="0" y="72"/>
                </a:lnTo>
                <a:lnTo>
                  <a:pt x="0" y="96"/>
                </a:lnTo>
                <a:lnTo>
                  <a:pt x="25" y="96"/>
                </a:lnTo>
                <a:lnTo>
                  <a:pt x="25" y="105"/>
                </a:lnTo>
                <a:lnTo>
                  <a:pt x="34" y="121"/>
                </a:lnTo>
                <a:lnTo>
                  <a:pt x="42" y="121"/>
                </a:lnTo>
                <a:lnTo>
                  <a:pt x="74" y="121"/>
                </a:lnTo>
                <a:lnTo>
                  <a:pt x="74" y="112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11" name="Freeform 25"/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4294188" y="4654550"/>
            <a:ext cx="317500" cy="239713"/>
          </a:xfrm>
          <a:custGeom>
            <a:avLst/>
            <a:gdLst>
              <a:gd name="T0" fmla="*/ 2147483647 w 203"/>
              <a:gd name="T1" fmla="*/ 2147483647 h 153"/>
              <a:gd name="T2" fmla="*/ 2147483647 w 203"/>
              <a:gd name="T3" fmla="*/ 2147483647 h 153"/>
              <a:gd name="T4" fmla="*/ 2147483647 w 203"/>
              <a:gd name="T5" fmla="*/ 2147483647 h 153"/>
              <a:gd name="T6" fmla="*/ 2147483647 w 203"/>
              <a:gd name="T7" fmla="*/ 2147483647 h 153"/>
              <a:gd name="T8" fmla="*/ 2147483647 w 203"/>
              <a:gd name="T9" fmla="*/ 2147483647 h 153"/>
              <a:gd name="T10" fmla="*/ 2147483647 w 203"/>
              <a:gd name="T11" fmla="*/ 2147483647 h 153"/>
              <a:gd name="T12" fmla="*/ 2147483647 w 203"/>
              <a:gd name="T13" fmla="*/ 0 h 153"/>
              <a:gd name="T14" fmla="*/ 2147483647 w 203"/>
              <a:gd name="T15" fmla="*/ 0 h 153"/>
              <a:gd name="T16" fmla="*/ 2147483647 w 203"/>
              <a:gd name="T17" fmla="*/ 2147483647 h 153"/>
              <a:gd name="T18" fmla="*/ 2147483647 w 203"/>
              <a:gd name="T19" fmla="*/ 2147483647 h 153"/>
              <a:gd name="T20" fmla="*/ 2147483647 w 203"/>
              <a:gd name="T21" fmla="*/ 2147483647 h 153"/>
              <a:gd name="T22" fmla="*/ 2147483647 w 203"/>
              <a:gd name="T23" fmla="*/ 2147483647 h 153"/>
              <a:gd name="T24" fmla="*/ 0 w 203"/>
              <a:gd name="T25" fmla="*/ 2147483647 h 153"/>
              <a:gd name="T26" fmla="*/ 0 w 203"/>
              <a:gd name="T27" fmla="*/ 2147483647 h 153"/>
              <a:gd name="T28" fmla="*/ 2147483647 w 203"/>
              <a:gd name="T29" fmla="*/ 2147483647 h 153"/>
              <a:gd name="T30" fmla="*/ 2147483647 w 203"/>
              <a:gd name="T31" fmla="*/ 2147483647 h 153"/>
              <a:gd name="T32" fmla="*/ 2147483647 w 203"/>
              <a:gd name="T33" fmla="*/ 2147483647 h 153"/>
              <a:gd name="T34" fmla="*/ 2147483647 w 203"/>
              <a:gd name="T35" fmla="*/ 2147483647 h 153"/>
              <a:gd name="T36" fmla="*/ 2147483647 w 203"/>
              <a:gd name="T37" fmla="*/ 2147483647 h 153"/>
              <a:gd name="T38" fmla="*/ 2147483647 w 203"/>
              <a:gd name="T39" fmla="*/ 2147483647 h 153"/>
              <a:gd name="T40" fmla="*/ 2147483647 w 203"/>
              <a:gd name="T41" fmla="*/ 2147483647 h 153"/>
              <a:gd name="T42" fmla="*/ 2147483647 w 203"/>
              <a:gd name="T43" fmla="*/ 2147483647 h 153"/>
              <a:gd name="T44" fmla="*/ 2147483647 w 203"/>
              <a:gd name="T45" fmla="*/ 2147483647 h 153"/>
              <a:gd name="T46" fmla="*/ 2147483647 w 203"/>
              <a:gd name="T47" fmla="*/ 2147483647 h 153"/>
              <a:gd name="T48" fmla="*/ 2147483647 w 203"/>
              <a:gd name="T49" fmla="*/ 2147483647 h 153"/>
              <a:gd name="T50" fmla="*/ 2147483647 w 203"/>
              <a:gd name="T51" fmla="*/ 2147483647 h 153"/>
              <a:gd name="T52" fmla="*/ 2147483647 w 203"/>
              <a:gd name="T53" fmla="*/ 2147483647 h 153"/>
              <a:gd name="T54" fmla="*/ 2147483647 w 203"/>
              <a:gd name="T55" fmla="*/ 2147483647 h 153"/>
              <a:gd name="T56" fmla="*/ 2147483647 w 203"/>
              <a:gd name="T57" fmla="*/ 2147483647 h 153"/>
              <a:gd name="T58" fmla="*/ 2147483647 w 203"/>
              <a:gd name="T59" fmla="*/ 2147483647 h 153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203"/>
              <a:gd name="T91" fmla="*/ 0 h 153"/>
              <a:gd name="T92" fmla="*/ 203 w 203"/>
              <a:gd name="T93" fmla="*/ 153 h 153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203" h="153">
                <a:moveTo>
                  <a:pt x="170" y="130"/>
                </a:moveTo>
                <a:lnTo>
                  <a:pt x="170" y="120"/>
                </a:lnTo>
                <a:lnTo>
                  <a:pt x="195" y="89"/>
                </a:lnTo>
                <a:lnTo>
                  <a:pt x="202" y="40"/>
                </a:lnTo>
                <a:lnTo>
                  <a:pt x="187" y="24"/>
                </a:lnTo>
                <a:lnTo>
                  <a:pt x="187" y="8"/>
                </a:lnTo>
                <a:lnTo>
                  <a:pt x="178" y="0"/>
                </a:lnTo>
                <a:lnTo>
                  <a:pt x="146" y="0"/>
                </a:lnTo>
                <a:lnTo>
                  <a:pt x="65" y="55"/>
                </a:lnTo>
                <a:lnTo>
                  <a:pt x="49" y="55"/>
                </a:lnTo>
                <a:lnTo>
                  <a:pt x="49" y="96"/>
                </a:lnTo>
                <a:lnTo>
                  <a:pt x="40" y="105"/>
                </a:lnTo>
                <a:lnTo>
                  <a:pt x="0" y="112"/>
                </a:lnTo>
                <a:lnTo>
                  <a:pt x="0" y="130"/>
                </a:lnTo>
                <a:lnTo>
                  <a:pt x="16" y="145"/>
                </a:lnTo>
                <a:lnTo>
                  <a:pt x="25" y="145"/>
                </a:lnTo>
                <a:lnTo>
                  <a:pt x="25" y="152"/>
                </a:lnTo>
                <a:lnTo>
                  <a:pt x="25" y="145"/>
                </a:lnTo>
                <a:lnTo>
                  <a:pt x="31" y="145"/>
                </a:lnTo>
                <a:lnTo>
                  <a:pt x="40" y="152"/>
                </a:lnTo>
                <a:lnTo>
                  <a:pt x="40" y="145"/>
                </a:lnTo>
                <a:lnTo>
                  <a:pt x="56" y="130"/>
                </a:lnTo>
                <a:lnTo>
                  <a:pt x="65" y="130"/>
                </a:lnTo>
                <a:lnTo>
                  <a:pt x="90" y="137"/>
                </a:lnTo>
                <a:lnTo>
                  <a:pt x="96" y="137"/>
                </a:lnTo>
                <a:lnTo>
                  <a:pt x="115" y="145"/>
                </a:lnTo>
                <a:lnTo>
                  <a:pt x="130" y="137"/>
                </a:lnTo>
                <a:lnTo>
                  <a:pt x="155" y="137"/>
                </a:lnTo>
                <a:lnTo>
                  <a:pt x="162" y="130"/>
                </a:lnTo>
                <a:lnTo>
                  <a:pt x="170" y="130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12" name="Freeform 26"/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4727575" y="4667250"/>
            <a:ext cx="334963" cy="393700"/>
          </a:xfrm>
          <a:custGeom>
            <a:avLst/>
            <a:gdLst>
              <a:gd name="T0" fmla="*/ 2147483647 w 213"/>
              <a:gd name="T1" fmla="*/ 2147483647 h 251"/>
              <a:gd name="T2" fmla="*/ 2147483647 w 213"/>
              <a:gd name="T3" fmla="*/ 2147483647 h 251"/>
              <a:gd name="T4" fmla="*/ 2147483647 w 213"/>
              <a:gd name="T5" fmla="*/ 2147483647 h 251"/>
              <a:gd name="T6" fmla="*/ 2147483647 w 213"/>
              <a:gd name="T7" fmla="*/ 2147483647 h 251"/>
              <a:gd name="T8" fmla="*/ 2147483647 w 213"/>
              <a:gd name="T9" fmla="*/ 2147483647 h 251"/>
              <a:gd name="T10" fmla="*/ 2147483647 w 213"/>
              <a:gd name="T11" fmla="*/ 2147483647 h 251"/>
              <a:gd name="T12" fmla="*/ 2147483647 w 213"/>
              <a:gd name="T13" fmla="*/ 2147483647 h 251"/>
              <a:gd name="T14" fmla="*/ 2147483647 w 213"/>
              <a:gd name="T15" fmla="*/ 2147483647 h 251"/>
              <a:gd name="T16" fmla="*/ 2147483647 w 213"/>
              <a:gd name="T17" fmla="*/ 2147483647 h 251"/>
              <a:gd name="T18" fmla="*/ 2147483647 w 213"/>
              <a:gd name="T19" fmla="*/ 2147483647 h 251"/>
              <a:gd name="T20" fmla="*/ 2147483647 w 213"/>
              <a:gd name="T21" fmla="*/ 2147483647 h 251"/>
              <a:gd name="T22" fmla="*/ 2147483647 w 213"/>
              <a:gd name="T23" fmla="*/ 2147483647 h 251"/>
              <a:gd name="T24" fmla="*/ 2147483647 w 213"/>
              <a:gd name="T25" fmla="*/ 2147483647 h 251"/>
              <a:gd name="T26" fmla="*/ 2147483647 w 213"/>
              <a:gd name="T27" fmla="*/ 2147483647 h 251"/>
              <a:gd name="T28" fmla="*/ 2147483647 w 213"/>
              <a:gd name="T29" fmla="*/ 2147483647 h 251"/>
              <a:gd name="T30" fmla="*/ 2147483647 w 213"/>
              <a:gd name="T31" fmla="*/ 2147483647 h 251"/>
              <a:gd name="T32" fmla="*/ 2147483647 w 213"/>
              <a:gd name="T33" fmla="*/ 2147483647 h 251"/>
              <a:gd name="T34" fmla="*/ 2147483647 w 213"/>
              <a:gd name="T35" fmla="*/ 2147483647 h 251"/>
              <a:gd name="T36" fmla="*/ 2147483647 w 213"/>
              <a:gd name="T37" fmla="*/ 2147483647 h 251"/>
              <a:gd name="T38" fmla="*/ 2147483647 w 213"/>
              <a:gd name="T39" fmla="*/ 2147483647 h 251"/>
              <a:gd name="T40" fmla="*/ 2147483647 w 213"/>
              <a:gd name="T41" fmla="*/ 2147483647 h 251"/>
              <a:gd name="T42" fmla="*/ 2147483647 w 213"/>
              <a:gd name="T43" fmla="*/ 2147483647 h 251"/>
              <a:gd name="T44" fmla="*/ 2147483647 w 213"/>
              <a:gd name="T45" fmla="*/ 2147483647 h 251"/>
              <a:gd name="T46" fmla="*/ 2147483647 w 213"/>
              <a:gd name="T47" fmla="*/ 2147483647 h 251"/>
              <a:gd name="T48" fmla="*/ 2147483647 w 213"/>
              <a:gd name="T49" fmla="*/ 0 h 251"/>
              <a:gd name="T50" fmla="*/ 2147483647 w 213"/>
              <a:gd name="T51" fmla="*/ 2147483647 h 251"/>
              <a:gd name="T52" fmla="*/ 2147483647 w 213"/>
              <a:gd name="T53" fmla="*/ 2147483647 h 251"/>
              <a:gd name="T54" fmla="*/ 2147483647 w 213"/>
              <a:gd name="T55" fmla="*/ 2147483647 h 251"/>
              <a:gd name="T56" fmla="*/ 2147483647 w 213"/>
              <a:gd name="T57" fmla="*/ 2147483647 h 251"/>
              <a:gd name="T58" fmla="*/ 2147483647 w 213"/>
              <a:gd name="T59" fmla="*/ 2147483647 h 251"/>
              <a:gd name="T60" fmla="*/ 2147483647 w 213"/>
              <a:gd name="T61" fmla="*/ 2147483647 h 251"/>
              <a:gd name="T62" fmla="*/ 2147483647 w 213"/>
              <a:gd name="T63" fmla="*/ 2147483647 h 251"/>
              <a:gd name="T64" fmla="*/ 2147483647 w 213"/>
              <a:gd name="T65" fmla="*/ 2147483647 h 251"/>
              <a:gd name="T66" fmla="*/ 2147483647 w 213"/>
              <a:gd name="T67" fmla="*/ 2147483647 h 251"/>
              <a:gd name="T68" fmla="*/ 0 w 213"/>
              <a:gd name="T69" fmla="*/ 2147483647 h 251"/>
              <a:gd name="T70" fmla="*/ 2147483647 w 213"/>
              <a:gd name="T71" fmla="*/ 2147483647 h 251"/>
              <a:gd name="T72" fmla="*/ 2147483647 w 213"/>
              <a:gd name="T73" fmla="*/ 2147483647 h 251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213"/>
              <a:gd name="T112" fmla="*/ 0 h 251"/>
              <a:gd name="T113" fmla="*/ 213 w 213"/>
              <a:gd name="T114" fmla="*/ 251 h 251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213" h="251">
                <a:moveTo>
                  <a:pt x="7" y="154"/>
                </a:moveTo>
                <a:lnTo>
                  <a:pt x="23" y="169"/>
                </a:lnTo>
                <a:lnTo>
                  <a:pt x="23" y="185"/>
                </a:lnTo>
                <a:lnTo>
                  <a:pt x="41" y="194"/>
                </a:lnTo>
                <a:lnTo>
                  <a:pt x="73" y="234"/>
                </a:lnTo>
                <a:lnTo>
                  <a:pt x="81" y="243"/>
                </a:lnTo>
                <a:lnTo>
                  <a:pt x="106" y="243"/>
                </a:lnTo>
                <a:lnTo>
                  <a:pt x="113" y="250"/>
                </a:lnTo>
                <a:lnTo>
                  <a:pt x="128" y="250"/>
                </a:lnTo>
                <a:lnTo>
                  <a:pt x="153" y="243"/>
                </a:lnTo>
                <a:lnTo>
                  <a:pt x="162" y="243"/>
                </a:lnTo>
                <a:lnTo>
                  <a:pt x="178" y="243"/>
                </a:lnTo>
                <a:lnTo>
                  <a:pt x="178" y="227"/>
                </a:lnTo>
                <a:lnTo>
                  <a:pt x="170" y="227"/>
                </a:lnTo>
                <a:lnTo>
                  <a:pt x="153" y="203"/>
                </a:lnTo>
                <a:lnTo>
                  <a:pt x="146" y="194"/>
                </a:lnTo>
                <a:lnTo>
                  <a:pt x="153" y="185"/>
                </a:lnTo>
                <a:lnTo>
                  <a:pt x="162" y="162"/>
                </a:lnTo>
                <a:lnTo>
                  <a:pt x="187" y="129"/>
                </a:lnTo>
                <a:lnTo>
                  <a:pt x="193" y="81"/>
                </a:lnTo>
                <a:lnTo>
                  <a:pt x="212" y="72"/>
                </a:lnTo>
                <a:lnTo>
                  <a:pt x="212" y="64"/>
                </a:lnTo>
                <a:lnTo>
                  <a:pt x="203" y="57"/>
                </a:lnTo>
                <a:lnTo>
                  <a:pt x="193" y="7"/>
                </a:lnTo>
                <a:lnTo>
                  <a:pt x="178" y="0"/>
                </a:lnTo>
                <a:lnTo>
                  <a:pt x="153" y="16"/>
                </a:lnTo>
                <a:lnTo>
                  <a:pt x="146" y="7"/>
                </a:lnTo>
                <a:lnTo>
                  <a:pt x="41" y="7"/>
                </a:lnTo>
                <a:lnTo>
                  <a:pt x="41" y="32"/>
                </a:lnTo>
                <a:lnTo>
                  <a:pt x="31" y="41"/>
                </a:lnTo>
                <a:lnTo>
                  <a:pt x="23" y="47"/>
                </a:lnTo>
                <a:lnTo>
                  <a:pt x="23" y="88"/>
                </a:lnTo>
                <a:lnTo>
                  <a:pt x="23" y="97"/>
                </a:lnTo>
                <a:lnTo>
                  <a:pt x="16" y="97"/>
                </a:lnTo>
                <a:lnTo>
                  <a:pt x="0" y="129"/>
                </a:lnTo>
                <a:lnTo>
                  <a:pt x="16" y="154"/>
                </a:lnTo>
                <a:lnTo>
                  <a:pt x="7" y="154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13" name="Freeform 27"/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4573588" y="4908550"/>
            <a:ext cx="269875" cy="168275"/>
          </a:xfrm>
          <a:custGeom>
            <a:avLst/>
            <a:gdLst>
              <a:gd name="T0" fmla="*/ 2147483647 w 172"/>
              <a:gd name="T1" fmla="*/ 0 h 106"/>
              <a:gd name="T2" fmla="*/ 2147483647 w 172"/>
              <a:gd name="T3" fmla="*/ 2147483647 h 106"/>
              <a:gd name="T4" fmla="*/ 2147483647 w 172"/>
              <a:gd name="T5" fmla="*/ 2147483647 h 106"/>
              <a:gd name="T6" fmla="*/ 2147483647 w 172"/>
              <a:gd name="T7" fmla="*/ 2147483647 h 106"/>
              <a:gd name="T8" fmla="*/ 2147483647 w 172"/>
              <a:gd name="T9" fmla="*/ 2147483647 h 106"/>
              <a:gd name="T10" fmla="*/ 2147483647 w 172"/>
              <a:gd name="T11" fmla="*/ 2147483647 h 106"/>
              <a:gd name="T12" fmla="*/ 2147483647 w 172"/>
              <a:gd name="T13" fmla="*/ 2147483647 h 106"/>
              <a:gd name="T14" fmla="*/ 2147483647 w 172"/>
              <a:gd name="T15" fmla="*/ 2147483647 h 106"/>
              <a:gd name="T16" fmla="*/ 2147483647 w 172"/>
              <a:gd name="T17" fmla="*/ 2147483647 h 106"/>
              <a:gd name="T18" fmla="*/ 2147483647 w 172"/>
              <a:gd name="T19" fmla="*/ 2147483647 h 106"/>
              <a:gd name="T20" fmla="*/ 2147483647 w 172"/>
              <a:gd name="T21" fmla="*/ 2147483647 h 106"/>
              <a:gd name="T22" fmla="*/ 2147483647 w 172"/>
              <a:gd name="T23" fmla="*/ 2147483647 h 106"/>
              <a:gd name="T24" fmla="*/ 2147483647 w 172"/>
              <a:gd name="T25" fmla="*/ 2147483647 h 106"/>
              <a:gd name="T26" fmla="*/ 2147483647 w 172"/>
              <a:gd name="T27" fmla="*/ 2147483647 h 106"/>
              <a:gd name="T28" fmla="*/ 0 w 172"/>
              <a:gd name="T29" fmla="*/ 2147483647 h 106"/>
              <a:gd name="T30" fmla="*/ 2147483647 w 172"/>
              <a:gd name="T31" fmla="*/ 2147483647 h 106"/>
              <a:gd name="T32" fmla="*/ 2147483647 w 172"/>
              <a:gd name="T33" fmla="*/ 2147483647 h 106"/>
              <a:gd name="T34" fmla="*/ 2147483647 w 172"/>
              <a:gd name="T35" fmla="*/ 2147483647 h 106"/>
              <a:gd name="T36" fmla="*/ 2147483647 w 172"/>
              <a:gd name="T37" fmla="*/ 2147483647 h 106"/>
              <a:gd name="T38" fmla="*/ 2147483647 w 172"/>
              <a:gd name="T39" fmla="*/ 2147483647 h 106"/>
              <a:gd name="T40" fmla="*/ 2147483647 w 172"/>
              <a:gd name="T41" fmla="*/ 2147483647 h 106"/>
              <a:gd name="T42" fmla="*/ 2147483647 w 172"/>
              <a:gd name="T43" fmla="*/ 0 h 10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172"/>
              <a:gd name="T67" fmla="*/ 0 h 106"/>
              <a:gd name="T68" fmla="*/ 172 w 172"/>
              <a:gd name="T69" fmla="*/ 106 h 10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172" h="106">
                <a:moveTo>
                  <a:pt x="105" y="0"/>
                </a:moveTo>
                <a:lnTo>
                  <a:pt x="121" y="15"/>
                </a:lnTo>
                <a:lnTo>
                  <a:pt x="121" y="31"/>
                </a:lnTo>
                <a:lnTo>
                  <a:pt x="139" y="40"/>
                </a:lnTo>
                <a:lnTo>
                  <a:pt x="171" y="80"/>
                </a:lnTo>
                <a:lnTo>
                  <a:pt x="114" y="80"/>
                </a:lnTo>
                <a:lnTo>
                  <a:pt x="105" y="89"/>
                </a:lnTo>
                <a:lnTo>
                  <a:pt x="80" y="89"/>
                </a:lnTo>
                <a:lnTo>
                  <a:pt x="74" y="80"/>
                </a:lnTo>
                <a:lnTo>
                  <a:pt x="65" y="80"/>
                </a:lnTo>
                <a:lnTo>
                  <a:pt x="57" y="96"/>
                </a:lnTo>
                <a:lnTo>
                  <a:pt x="34" y="105"/>
                </a:lnTo>
                <a:lnTo>
                  <a:pt x="24" y="105"/>
                </a:lnTo>
                <a:lnTo>
                  <a:pt x="9" y="80"/>
                </a:lnTo>
                <a:lnTo>
                  <a:pt x="0" y="73"/>
                </a:lnTo>
                <a:lnTo>
                  <a:pt x="17" y="49"/>
                </a:lnTo>
                <a:lnTo>
                  <a:pt x="57" y="40"/>
                </a:lnTo>
                <a:lnTo>
                  <a:pt x="65" y="31"/>
                </a:lnTo>
                <a:lnTo>
                  <a:pt x="57" y="31"/>
                </a:lnTo>
                <a:lnTo>
                  <a:pt x="80" y="24"/>
                </a:lnTo>
                <a:lnTo>
                  <a:pt x="98" y="8"/>
                </a:lnTo>
                <a:lnTo>
                  <a:pt x="105" y="0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14" name="Freeform 28"/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4967288" y="5048250"/>
            <a:ext cx="168275" cy="179388"/>
          </a:xfrm>
          <a:custGeom>
            <a:avLst/>
            <a:gdLst>
              <a:gd name="T0" fmla="*/ 2147483647 w 107"/>
              <a:gd name="T1" fmla="*/ 2147483647 h 114"/>
              <a:gd name="T2" fmla="*/ 2147483647 w 107"/>
              <a:gd name="T3" fmla="*/ 0 h 114"/>
              <a:gd name="T4" fmla="*/ 2147483647 w 107"/>
              <a:gd name="T5" fmla="*/ 2147483647 h 114"/>
              <a:gd name="T6" fmla="*/ 2147483647 w 107"/>
              <a:gd name="T7" fmla="*/ 0 h 114"/>
              <a:gd name="T8" fmla="*/ 2147483647 w 107"/>
              <a:gd name="T9" fmla="*/ 0 h 114"/>
              <a:gd name="T10" fmla="*/ 0 w 107"/>
              <a:gd name="T11" fmla="*/ 0 h 114"/>
              <a:gd name="T12" fmla="*/ 2147483647 w 107"/>
              <a:gd name="T13" fmla="*/ 2147483647 h 114"/>
              <a:gd name="T14" fmla="*/ 2147483647 w 107"/>
              <a:gd name="T15" fmla="*/ 2147483647 h 114"/>
              <a:gd name="T16" fmla="*/ 0 w 107"/>
              <a:gd name="T17" fmla="*/ 2147483647 h 114"/>
              <a:gd name="T18" fmla="*/ 0 w 107"/>
              <a:gd name="T19" fmla="*/ 2147483647 h 114"/>
              <a:gd name="T20" fmla="*/ 2147483647 w 107"/>
              <a:gd name="T21" fmla="*/ 2147483647 h 114"/>
              <a:gd name="T22" fmla="*/ 2147483647 w 107"/>
              <a:gd name="T23" fmla="*/ 2147483647 h 114"/>
              <a:gd name="T24" fmla="*/ 2147483647 w 107"/>
              <a:gd name="T25" fmla="*/ 2147483647 h 114"/>
              <a:gd name="T26" fmla="*/ 2147483647 w 107"/>
              <a:gd name="T27" fmla="*/ 2147483647 h 114"/>
              <a:gd name="T28" fmla="*/ 2147483647 w 107"/>
              <a:gd name="T29" fmla="*/ 2147483647 h 114"/>
              <a:gd name="T30" fmla="*/ 2147483647 w 107"/>
              <a:gd name="T31" fmla="*/ 2147483647 h 114"/>
              <a:gd name="T32" fmla="*/ 2147483647 w 107"/>
              <a:gd name="T33" fmla="*/ 2147483647 h 114"/>
              <a:gd name="T34" fmla="*/ 2147483647 w 107"/>
              <a:gd name="T35" fmla="*/ 2147483647 h 114"/>
              <a:gd name="T36" fmla="*/ 2147483647 w 107"/>
              <a:gd name="T37" fmla="*/ 2147483647 h 114"/>
              <a:gd name="T38" fmla="*/ 2147483647 w 107"/>
              <a:gd name="T39" fmla="*/ 2147483647 h 114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07"/>
              <a:gd name="T61" fmla="*/ 0 h 114"/>
              <a:gd name="T62" fmla="*/ 107 w 107"/>
              <a:gd name="T63" fmla="*/ 114 h 114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07" h="114">
                <a:moveTo>
                  <a:pt x="106" y="7"/>
                </a:moveTo>
                <a:lnTo>
                  <a:pt x="90" y="0"/>
                </a:lnTo>
                <a:lnTo>
                  <a:pt x="65" y="7"/>
                </a:lnTo>
                <a:lnTo>
                  <a:pt x="25" y="0"/>
                </a:lnTo>
                <a:lnTo>
                  <a:pt x="9" y="0"/>
                </a:lnTo>
                <a:lnTo>
                  <a:pt x="0" y="0"/>
                </a:lnTo>
                <a:lnTo>
                  <a:pt x="9" y="7"/>
                </a:lnTo>
                <a:lnTo>
                  <a:pt x="17" y="31"/>
                </a:lnTo>
                <a:lnTo>
                  <a:pt x="0" y="56"/>
                </a:lnTo>
                <a:lnTo>
                  <a:pt x="0" y="65"/>
                </a:lnTo>
                <a:lnTo>
                  <a:pt x="9" y="65"/>
                </a:lnTo>
                <a:lnTo>
                  <a:pt x="50" y="88"/>
                </a:lnTo>
                <a:lnTo>
                  <a:pt x="50" y="105"/>
                </a:lnTo>
                <a:lnTo>
                  <a:pt x="74" y="113"/>
                </a:lnTo>
                <a:lnTo>
                  <a:pt x="82" y="88"/>
                </a:lnTo>
                <a:lnTo>
                  <a:pt x="90" y="88"/>
                </a:lnTo>
                <a:lnTo>
                  <a:pt x="99" y="72"/>
                </a:lnTo>
                <a:lnTo>
                  <a:pt x="90" y="65"/>
                </a:lnTo>
                <a:lnTo>
                  <a:pt x="90" y="25"/>
                </a:lnTo>
                <a:lnTo>
                  <a:pt x="106" y="7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15" name="Freeform 29"/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4879975" y="5048250"/>
            <a:ext cx="115888" cy="114300"/>
          </a:xfrm>
          <a:custGeom>
            <a:avLst/>
            <a:gdLst>
              <a:gd name="T0" fmla="*/ 2147483647 w 74"/>
              <a:gd name="T1" fmla="*/ 0 h 73"/>
              <a:gd name="T2" fmla="*/ 2147483647 w 74"/>
              <a:gd name="T3" fmla="*/ 2147483647 h 73"/>
              <a:gd name="T4" fmla="*/ 2147483647 w 74"/>
              <a:gd name="T5" fmla="*/ 2147483647 h 73"/>
              <a:gd name="T6" fmla="*/ 2147483647 w 74"/>
              <a:gd name="T7" fmla="*/ 2147483647 h 73"/>
              <a:gd name="T8" fmla="*/ 2147483647 w 74"/>
              <a:gd name="T9" fmla="*/ 2147483647 h 73"/>
              <a:gd name="T10" fmla="*/ 2147483647 w 74"/>
              <a:gd name="T11" fmla="*/ 2147483647 h 73"/>
              <a:gd name="T12" fmla="*/ 2147483647 w 74"/>
              <a:gd name="T13" fmla="*/ 2147483647 h 73"/>
              <a:gd name="T14" fmla="*/ 0 w 74"/>
              <a:gd name="T15" fmla="*/ 2147483647 h 73"/>
              <a:gd name="T16" fmla="*/ 2147483647 w 74"/>
              <a:gd name="T17" fmla="*/ 2147483647 h 73"/>
              <a:gd name="T18" fmla="*/ 2147483647 w 74"/>
              <a:gd name="T19" fmla="*/ 2147483647 h 73"/>
              <a:gd name="T20" fmla="*/ 2147483647 w 74"/>
              <a:gd name="T21" fmla="*/ 2147483647 h 73"/>
              <a:gd name="T22" fmla="*/ 2147483647 w 74"/>
              <a:gd name="T23" fmla="*/ 2147483647 h 73"/>
              <a:gd name="T24" fmla="*/ 2147483647 w 74"/>
              <a:gd name="T25" fmla="*/ 2147483647 h 73"/>
              <a:gd name="T26" fmla="*/ 2147483647 w 74"/>
              <a:gd name="T27" fmla="*/ 2147483647 h 73"/>
              <a:gd name="T28" fmla="*/ 2147483647 w 74"/>
              <a:gd name="T29" fmla="*/ 0 h 73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74"/>
              <a:gd name="T46" fmla="*/ 0 h 73"/>
              <a:gd name="T47" fmla="*/ 74 w 74"/>
              <a:gd name="T48" fmla="*/ 73 h 73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74" h="73">
                <a:moveTo>
                  <a:pt x="56" y="0"/>
                </a:moveTo>
                <a:lnTo>
                  <a:pt x="65" y="7"/>
                </a:lnTo>
                <a:lnTo>
                  <a:pt x="73" y="31"/>
                </a:lnTo>
                <a:lnTo>
                  <a:pt x="56" y="56"/>
                </a:lnTo>
                <a:lnTo>
                  <a:pt x="56" y="65"/>
                </a:lnTo>
                <a:lnTo>
                  <a:pt x="31" y="65"/>
                </a:lnTo>
                <a:lnTo>
                  <a:pt x="16" y="65"/>
                </a:lnTo>
                <a:lnTo>
                  <a:pt x="0" y="72"/>
                </a:lnTo>
                <a:lnTo>
                  <a:pt x="9" y="48"/>
                </a:lnTo>
                <a:lnTo>
                  <a:pt x="16" y="40"/>
                </a:lnTo>
                <a:lnTo>
                  <a:pt x="25" y="25"/>
                </a:lnTo>
                <a:lnTo>
                  <a:pt x="16" y="25"/>
                </a:lnTo>
                <a:lnTo>
                  <a:pt x="16" y="7"/>
                </a:lnTo>
                <a:lnTo>
                  <a:pt x="31" y="7"/>
                </a:lnTo>
                <a:lnTo>
                  <a:pt x="56" y="0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16" name="Freeform 30"/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4879975" y="5151438"/>
            <a:ext cx="217488" cy="215900"/>
          </a:xfrm>
          <a:custGeom>
            <a:avLst/>
            <a:gdLst>
              <a:gd name="T0" fmla="*/ 2147483647 w 139"/>
              <a:gd name="T1" fmla="*/ 2147483647 h 138"/>
              <a:gd name="T2" fmla="*/ 2147483647 w 139"/>
              <a:gd name="T3" fmla="*/ 2147483647 h 138"/>
              <a:gd name="T4" fmla="*/ 2147483647 w 139"/>
              <a:gd name="T5" fmla="*/ 2147483647 h 138"/>
              <a:gd name="T6" fmla="*/ 0 w 139"/>
              <a:gd name="T7" fmla="*/ 2147483647 h 138"/>
              <a:gd name="T8" fmla="*/ 0 w 139"/>
              <a:gd name="T9" fmla="*/ 2147483647 h 138"/>
              <a:gd name="T10" fmla="*/ 2147483647 w 139"/>
              <a:gd name="T11" fmla="*/ 2147483647 h 138"/>
              <a:gd name="T12" fmla="*/ 2147483647 w 139"/>
              <a:gd name="T13" fmla="*/ 2147483647 h 138"/>
              <a:gd name="T14" fmla="*/ 2147483647 w 139"/>
              <a:gd name="T15" fmla="*/ 2147483647 h 138"/>
              <a:gd name="T16" fmla="*/ 2147483647 w 139"/>
              <a:gd name="T17" fmla="*/ 0 h 138"/>
              <a:gd name="T18" fmla="*/ 2147483647 w 139"/>
              <a:gd name="T19" fmla="*/ 0 h 138"/>
              <a:gd name="T20" fmla="*/ 2147483647 w 139"/>
              <a:gd name="T21" fmla="*/ 0 h 138"/>
              <a:gd name="T22" fmla="*/ 2147483647 w 139"/>
              <a:gd name="T23" fmla="*/ 0 h 138"/>
              <a:gd name="T24" fmla="*/ 2147483647 w 139"/>
              <a:gd name="T25" fmla="*/ 2147483647 h 138"/>
              <a:gd name="T26" fmla="*/ 2147483647 w 139"/>
              <a:gd name="T27" fmla="*/ 2147483647 h 138"/>
              <a:gd name="T28" fmla="*/ 2147483647 w 139"/>
              <a:gd name="T29" fmla="*/ 2147483647 h 138"/>
              <a:gd name="T30" fmla="*/ 2147483647 w 139"/>
              <a:gd name="T31" fmla="*/ 2147483647 h 138"/>
              <a:gd name="T32" fmla="*/ 2147483647 w 139"/>
              <a:gd name="T33" fmla="*/ 2147483647 h 138"/>
              <a:gd name="T34" fmla="*/ 2147483647 w 139"/>
              <a:gd name="T35" fmla="*/ 2147483647 h 138"/>
              <a:gd name="T36" fmla="*/ 2147483647 w 139"/>
              <a:gd name="T37" fmla="*/ 2147483647 h 138"/>
              <a:gd name="T38" fmla="*/ 2147483647 w 139"/>
              <a:gd name="T39" fmla="*/ 2147483647 h 138"/>
              <a:gd name="T40" fmla="*/ 2147483647 w 139"/>
              <a:gd name="T41" fmla="*/ 2147483647 h 138"/>
              <a:gd name="T42" fmla="*/ 2147483647 w 139"/>
              <a:gd name="T43" fmla="*/ 2147483647 h 138"/>
              <a:gd name="T44" fmla="*/ 2147483647 w 139"/>
              <a:gd name="T45" fmla="*/ 2147483647 h 138"/>
              <a:gd name="T46" fmla="*/ 2147483647 w 139"/>
              <a:gd name="T47" fmla="*/ 2147483647 h 138"/>
              <a:gd name="T48" fmla="*/ 2147483647 w 139"/>
              <a:gd name="T49" fmla="*/ 2147483647 h 138"/>
              <a:gd name="T50" fmla="*/ 2147483647 w 139"/>
              <a:gd name="T51" fmla="*/ 2147483647 h 13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39"/>
              <a:gd name="T79" fmla="*/ 0 h 138"/>
              <a:gd name="T80" fmla="*/ 139 w 139"/>
              <a:gd name="T81" fmla="*/ 138 h 138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39" h="138">
                <a:moveTo>
                  <a:pt x="49" y="113"/>
                </a:moveTo>
                <a:lnTo>
                  <a:pt x="25" y="97"/>
                </a:lnTo>
                <a:lnTo>
                  <a:pt x="16" y="97"/>
                </a:lnTo>
                <a:lnTo>
                  <a:pt x="0" y="72"/>
                </a:lnTo>
                <a:lnTo>
                  <a:pt x="0" y="48"/>
                </a:lnTo>
                <a:lnTo>
                  <a:pt x="16" y="32"/>
                </a:lnTo>
                <a:lnTo>
                  <a:pt x="16" y="23"/>
                </a:lnTo>
                <a:lnTo>
                  <a:pt x="16" y="16"/>
                </a:lnTo>
                <a:lnTo>
                  <a:pt x="16" y="0"/>
                </a:lnTo>
                <a:lnTo>
                  <a:pt x="31" y="0"/>
                </a:lnTo>
                <a:lnTo>
                  <a:pt x="56" y="0"/>
                </a:lnTo>
                <a:lnTo>
                  <a:pt x="65" y="0"/>
                </a:lnTo>
                <a:lnTo>
                  <a:pt x="106" y="23"/>
                </a:lnTo>
                <a:lnTo>
                  <a:pt x="106" y="40"/>
                </a:lnTo>
                <a:lnTo>
                  <a:pt x="130" y="48"/>
                </a:lnTo>
                <a:lnTo>
                  <a:pt x="121" y="63"/>
                </a:lnTo>
                <a:lnTo>
                  <a:pt x="130" y="80"/>
                </a:lnTo>
                <a:lnTo>
                  <a:pt x="130" y="103"/>
                </a:lnTo>
                <a:lnTo>
                  <a:pt x="130" y="113"/>
                </a:lnTo>
                <a:lnTo>
                  <a:pt x="138" y="122"/>
                </a:lnTo>
                <a:lnTo>
                  <a:pt x="121" y="137"/>
                </a:lnTo>
                <a:lnTo>
                  <a:pt x="90" y="137"/>
                </a:lnTo>
                <a:lnTo>
                  <a:pt x="73" y="137"/>
                </a:lnTo>
                <a:lnTo>
                  <a:pt x="65" y="113"/>
                </a:lnTo>
                <a:lnTo>
                  <a:pt x="56" y="113"/>
                </a:lnTo>
                <a:lnTo>
                  <a:pt x="49" y="113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17" name="Freeform 31"/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4537075" y="5033963"/>
            <a:ext cx="382588" cy="373062"/>
          </a:xfrm>
          <a:custGeom>
            <a:avLst/>
            <a:gdLst>
              <a:gd name="T0" fmla="*/ 2147483647 w 244"/>
              <a:gd name="T1" fmla="*/ 0 h 237"/>
              <a:gd name="T2" fmla="*/ 2147483647 w 244"/>
              <a:gd name="T3" fmla="*/ 0 h 237"/>
              <a:gd name="T4" fmla="*/ 2147483647 w 244"/>
              <a:gd name="T5" fmla="*/ 2147483647 h 237"/>
              <a:gd name="T6" fmla="*/ 2147483647 w 244"/>
              <a:gd name="T7" fmla="*/ 2147483647 h 237"/>
              <a:gd name="T8" fmla="*/ 2147483647 w 244"/>
              <a:gd name="T9" fmla="*/ 0 h 237"/>
              <a:gd name="T10" fmla="*/ 2147483647 w 244"/>
              <a:gd name="T11" fmla="*/ 0 h 237"/>
              <a:gd name="T12" fmla="*/ 2147483647 w 244"/>
              <a:gd name="T13" fmla="*/ 2147483647 h 237"/>
              <a:gd name="T14" fmla="*/ 2147483647 w 244"/>
              <a:gd name="T15" fmla="*/ 2147483647 h 237"/>
              <a:gd name="T16" fmla="*/ 2147483647 w 244"/>
              <a:gd name="T17" fmla="*/ 2147483647 h 237"/>
              <a:gd name="T18" fmla="*/ 2147483647 w 244"/>
              <a:gd name="T19" fmla="*/ 2147483647 h 237"/>
              <a:gd name="T20" fmla="*/ 2147483647 w 244"/>
              <a:gd name="T21" fmla="*/ 2147483647 h 237"/>
              <a:gd name="T22" fmla="*/ 2147483647 w 244"/>
              <a:gd name="T23" fmla="*/ 2147483647 h 237"/>
              <a:gd name="T24" fmla="*/ 0 w 244"/>
              <a:gd name="T25" fmla="*/ 2147483647 h 237"/>
              <a:gd name="T26" fmla="*/ 0 w 244"/>
              <a:gd name="T27" fmla="*/ 2147483647 h 237"/>
              <a:gd name="T28" fmla="*/ 2147483647 w 244"/>
              <a:gd name="T29" fmla="*/ 2147483647 h 237"/>
              <a:gd name="T30" fmla="*/ 2147483647 w 244"/>
              <a:gd name="T31" fmla="*/ 2147483647 h 237"/>
              <a:gd name="T32" fmla="*/ 2147483647 w 244"/>
              <a:gd name="T33" fmla="*/ 2147483647 h 237"/>
              <a:gd name="T34" fmla="*/ 2147483647 w 244"/>
              <a:gd name="T35" fmla="*/ 2147483647 h 237"/>
              <a:gd name="T36" fmla="*/ 2147483647 w 244"/>
              <a:gd name="T37" fmla="*/ 2147483647 h 237"/>
              <a:gd name="T38" fmla="*/ 2147483647 w 244"/>
              <a:gd name="T39" fmla="*/ 2147483647 h 237"/>
              <a:gd name="T40" fmla="*/ 2147483647 w 244"/>
              <a:gd name="T41" fmla="*/ 2147483647 h 237"/>
              <a:gd name="T42" fmla="*/ 2147483647 w 244"/>
              <a:gd name="T43" fmla="*/ 2147483647 h 237"/>
              <a:gd name="T44" fmla="*/ 2147483647 w 244"/>
              <a:gd name="T45" fmla="*/ 2147483647 h 237"/>
              <a:gd name="T46" fmla="*/ 2147483647 w 244"/>
              <a:gd name="T47" fmla="*/ 2147483647 h 237"/>
              <a:gd name="T48" fmla="*/ 2147483647 w 244"/>
              <a:gd name="T49" fmla="*/ 2147483647 h 237"/>
              <a:gd name="T50" fmla="*/ 2147483647 w 244"/>
              <a:gd name="T51" fmla="*/ 2147483647 h 237"/>
              <a:gd name="T52" fmla="*/ 2147483647 w 244"/>
              <a:gd name="T53" fmla="*/ 2147483647 h 237"/>
              <a:gd name="T54" fmla="*/ 2147483647 w 244"/>
              <a:gd name="T55" fmla="*/ 2147483647 h 237"/>
              <a:gd name="T56" fmla="*/ 2147483647 w 244"/>
              <a:gd name="T57" fmla="*/ 2147483647 h 237"/>
              <a:gd name="T58" fmla="*/ 2147483647 w 244"/>
              <a:gd name="T59" fmla="*/ 2147483647 h 237"/>
              <a:gd name="T60" fmla="*/ 2147483647 w 244"/>
              <a:gd name="T61" fmla="*/ 2147483647 h 237"/>
              <a:gd name="T62" fmla="*/ 2147483647 w 244"/>
              <a:gd name="T63" fmla="*/ 2147483647 h 237"/>
              <a:gd name="T64" fmla="*/ 2147483647 w 244"/>
              <a:gd name="T65" fmla="*/ 2147483647 h 237"/>
              <a:gd name="T66" fmla="*/ 2147483647 w 244"/>
              <a:gd name="T67" fmla="*/ 2147483647 h 237"/>
              <a:gd name="T68" fmla="*/ 2147483647 w 244"/>
              <a:gd name="T69" fmla="*/ 2147483647 h 237"/>
              <a:gd name="T70" fmla="*/ 2147483647 w 244"/>
              <a:gd name="T71" fmla="*/ 2147483647 h 237"/>
              <a:gd name="T72" fmla="*/ 2147483647 w 244"/>
              <a:gd name="T73" fmla="*/ 2147483647 h 237"/>
              <a:gd name="T74" fmla="*/ 2147483647 w 244"/>
              <a:gd name="T75" fmla="*/ 2147483647 h 237"/>
              <a:gd name="T76" fmla="*/ 2147483647 w 244"/>
              <a:gd name="T77" fmla="*/ 2147483647 h 237"/>
              <a:gd name="T78" fmla="*/ 2147483647 w 244"/>
              <a:gd name="T79" fmla="*/ 2147483647 h 237"/>
              <a:gd name="T80" fmla="*/ 2147483647 w 244"/>
              <a:gd name="T81" fmla="*/ 2147483647 h 237"/>
              <a:gd name="T82" fmla="*/ 2147483647 w 244"/>
              <a:gd name="T83" fmla="*/ 2147483647 h 237"/>
              <a:gd name="T84" fmla="*/ 2147483647 w 244"/>
              <a:gd name="T85" fmla="*/ 2147483647 h 237"/>
              <a:gd name="T86" fmla="*/ 2147483647 w 244"/>
              <a:gd name="T87" fmla="*/ 2147483647 h 237"/>
              <a:gd name="T88" fmla="*/ 2147483647 w 244"/>
              <a:gd name="T89" fmla="*/ 2147483647 h 237"/>
              <a:gd name="T90" fmla="*/ 2147483647 w 244"/>
              <a:gd name="T91" fmla="*/ 2147483647 h 237"/>
              <a:gd name="T92" fmla="*/ 2147483647 w 244"/>
              <a:gd name="T93" fmla="*/ 2147483647 h 237"/>
              <a:gd name="T94" fmla="*/ 2147483647 w 244"/>
              <a:gd name="T95" fmla="*/ 2147483647 h 237"/>
              <a:gd name="T96" fmla="*/ 2147483647 w 244"/>
              <a:gd name="T97" fmla="*/ 2147483647 h 237"/>
              <a:gd name="T98" fmla="*/ 2147483647 w 244"/>
              <a:gd name="T99" fmla="*/ 2147483647 h 237"/>
              <a:gd name="T100" fmla="*/ 2147483647 w 244"/>
              <a:gd name="T101" fmla="*/ 2147483647 h 237"/>
              <a:gd name="T102" fmla="*/ 2147483647 w 244"/>
              <a:gd name="T103" fmla="*/ 0 h 237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244"/>
              <a:gd name="T157" fmla="*/ 0 h 237"/>
              <a:gd name="T158" fmla="*/ 244 w 244"/>
              <a:gd name="T159" fmla="*/ 237 h 237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244" h="237">
                <a:moveTo>
                  <a:pt x="194" y="0"/>
                </a:moveTo>
                <a:lnTo>
                  <a:pt x="137" y="0"/>
                </a:lnTo>
                <a:lnTo>
                  <a:pt x="128" y="9"/>
                </a:lnTo>
                <a:lnTo>
                  <a:pt x="103" y="9"/>
                </a:lnTo>
                <a:lnTo>
                  <a:pt x="97" y="0"/>
                </a:lnTo>
                <a:lnTo>
                  <a:pt x="88" y="0"/>
                </a:lnTo>
                <a:lnTo>
                  <a:pt x="80" y="16"/>
                </a:lnTo>
                <a:lnTo>
                  <a:pt x="63" y="74"/>
                </a:lnTo>
                <a:lnTo>
                  <a:pt x="47" y="90"/>
                </a:lnTo>
                <a:lnTo>
                  <a:pt x="40" y="114"/>
                </a:lnTo>
                <a:lnTo>
                  <a:pt x="23" y="122"/>
                </a:lnTo>
                <a:lnTo>
                  <a:pt x="7" y="122"/>
                </a:lnTo>
                <a:lnTo>
                  <a:pt x="0" y="137"/>
                </a:lnTo>
                <a:lnTo>
                  <a:pt x="0" y="146"/>
                </a:lnTo>
                <a:lnTo>
                  <a:pt x="15" y="137"/>
                </a:lnTo>
                <a:lnTo>
                  <a:pt x="47" y="137"/>
                </a:lnTo>
                <a:lnTo>
                  <a:pt x="57" y="137"/>
                </a:lnTo>
                <a:lnTo>
                  <a:pt x="57" y="154"/>
                </a:lnTo>
                <a:lnTo>
                  <a:pt x="72" y="171"/>
                </a:lnTo>
                <a:lnTo>
                  <a:pt x="88" y="162"/>
                </a:lnTo>
                <a:lnTo>
                  <a:pt x="88" y="154"/>
                </a:lnTo>
                <a:lnTo>
                  <a:pt x="103" y="154"/>
                </a:lnTo>
                <a:lnTo>
                  <a:pt x="121" y="162"/>
                </a:lnTo>
                <a:lnTo>
                  <a:pt x="121" y="187"/>
                </a:lnTo>
                <a:lnTo>
                  <a:pt x="128" y="196"/>
                </a:lnTo>
                <a:lnTo>
                  <a:pt x="121" y="202"/>
                </a:lnTo>
                <a:lnTo>
                  <a:pt x="121" y="211"/>
                </a:lnTo>
                <a:lnTo>
                  <a:pt x="144" y="202"/>
                </a:lnTo>
                <a:lnTo>
                  <a:pt x="177" y="219"/>
                </a:lnTo>
                <a:lnTo>
                  <a:pt x="186" y="211"/>
                </a:lnTo>
                <a:lnTo>
                  <a:pt x="209" y="227"/>
                </a:lnTo>
                <a:lnTo>
                  <a:pt x="218" y="236"/>
                </a:lnTo>
                <a:lnTo>
                  <a:pt x="218" y="219"/>
                </a:lnTo>
                <a:lnTo>
                  <a:pt x="209" y="219"/>
                </a:lnTo>
                <a:lnTo>
                  <a:pt x="209" y="211"/>
                </a:lnTo>
                <a:lnTo>
                  <a:pt x="209" y="177"/>
                </a:lnTo>
                <a:lnTo>
                  <a:pt x="209" y="171"/>
                </a:lnTo>
                <a:lnTo>
                  <a:pt x="234" y="171"/>
                </a:lnTo>
                <a:lnTo>
                  <a:pt x="218" y="146"/>
                </a:lnTo>
                <a:lnTo>
                  <a:pt x="218" y="122"/>
                </a:lnTo>
                <a:lnTo>
                  <a:pt x="218" y="106"/>
                </a:lnTo>
                <a:lnTo>
                  <a:pt x="218" y="97"/>
                </a:lnTo>
                <a:lnTo>
                  <a:pt x="209" y="97"/>
                </a:lnTo>
                <a:lnTo>
                  <a:pt x="218" y="81"/>
                </a:lnTo>
                <a:lnTo>
                  <a:pt x="227" y="57"/>
                </a:lnTo>
                <a:lnTo>
                  <a:pt x="234" y="49"/>
                </a:lnTo>
                <a:lnTo>
                  <a:pt x="243" y="34"/>
                </a:lnTo>
                <a:lnTo>
                  <a:pt x="234" y="34"/>
                </a:lnTo>
                <a:lnTo>
                  <a:pt x="234" y="16"/>
                </a:lnTo>
                <a:lnTo>
                  <a:pt x="227" y="9"/>
                </a:lnTo>
                <a:lnTo>
                  <a:pt x="202" y="9"/>
                </a:lnTo>
                <a:lnTo>
                  <a:pt x="194" y="0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18" name="Freeform 32"/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4727575" y="5303838"/>
            <a:ext cx="241300" cy="190500"/>
          </a:xfrm>
          <a:custGeom>
            <a:avLst/>
            <a:gdLst>
              <a:gd name="T0" fmla="*/ 2147483647 w 154"/>
              <a:gd name="T1" fmla="*/ 2147483647 h 122"/>
              <a:gd name="T2" fmla="*/ 2147483647 w 154"/>
              <a:gd name="T3" fmla="*/ 2147483647 h 122"/>
              <a:gd name="T4" fmla="*/ 2147483647 w 154"/>
              <a:gd name="T5" fmla="*/ 2147483647 h 122"/>
              <a:gd name="T6" fmla="*/ 2147483647 w 154"/>
              <a:gd name="T7" fmla="*/ 2147483647 h 122"/>
              <a:gd name="T8" fmla="*/ 2147483647 w 154"/>
              <a:gd name="T9" fmla="*/ 2147483647 h 122"/>
              <a:gd name="T10" fmla="*/ 2147483647 w 154"/>
              <a:gd name="T11" fmla="*/ 2147483647 h 122"/>
              <a:gd name="T12" fmla="*/ 2147483647 w 154"/>
              <a:gd name="T13" fmla="*/ 2147483647 h 122"/>
              <a:gd name="T14" fmla="*/ 2147483647 w 154"/>
              <a:gd name="T15" fmla="*/ 2147483647 h 122"/>
              <a:gd name="T16" fmla="*/ 2147483647 w 154"/>
              <a:gd name="T17" fmla="*/ 2147483647 h 122"/>
              <a:gd name="T18" fmla="*/ 2147483647 w 154"/>
              <a:gd name="T19" fmla="*/ 0 h 122"/>
              <a:gd name="T20" fmla="*/ 2147483647 w 154"/>
              <a:gd name="T21" fmla="*/ 0 h 122"/>
              <a:gd name="T22" fmla="*/ 2147483647 w 154"/>
              <a:gd name="T23" fmla="*/ 0 h 122"/>
              <a:gd name="T24" fmla="*/ 2147483647 w 154"/>
              <a:gd name="T25" fmla="*/ 2147483647 h 122"/>
              <a:gd name="T26" fmla="*/ 2147483647 w 154"/>
              <a:gd name="T27" fmla="*/ 2147483647 h 122"/>
              <a:gd name="T28" fmla="*/ 2147483647 w 154"/>
              <a:gd name="T29" fmla="*/ 2147483647 h 122"/>
              <a:gd name="T30" fmla="*/ 2147483647 w 154"/>
              <a:gd name="T31" fmla="*/ 2147483647 h 122"/>
              <a:gd name="T32" fmla="*/ 2147483647 w 154"/>
              <a:gd name="T33" fmla="*/ 2147483647 h 122"/>
              <a:gd name="T34" fmla="*/ 2147483647 w 154"/>
              <a:gd name="T35" fmla="*/ 2147483647 h 122"/>
              <a:gd name="T36" fmla="*/ 2147483647 w 154"/>
              <a:gd name="T37" fmla="*/ 2147483647 h 122"/>
              <a:gd name="T38" fmla="*/ 2147483647 w 154"/>
              <a:gd name="T39" fmla="*/ 2147483647 h 122"/>
              <a:gd name="T40" fmla="*/ 2147483647 w 154"/>
              <a:gd name="T41" fmla="*/ 2147483647 h 122"/>
              <a:gd name="T42" fmla="*/ 2147483647 w 154"/>
              <a:gd name="T43" fmla="*/ 2147483647 h 122"/>
              <a:gd name="T44" fmla="*/ 2147483647 w 154"/>
              <a:gd name="T45" fmla="*/ 2147483647 h 122"/>
              <a:gd name="T46" fmla="*/ 2147483647 w 154"/>
              <a:gd name="T47" fmla="*/ 2147483647 h 122"/>
              <a:gd name="T48" fmla="*/ 2147483647 w 154"/>
              <a:gd name="T49" fmla="*/ 2147483647 h 122"/>
              <a:gd name="T50" fmla="*/ 2147483647 w 154"/>
              <a:gd name="T51" fmla="*/ 2147483647 h 122"/>
              <a:gd name="T52" fmla="*/ 0 w 154"/>
              <a:gd name="T53" fmla="*/ 2147483647 h 122"/>
              <a:gd name="T54" fmla="*/ 0 w 154"/>
              <a:gd name="T55" fmla="*/ 2147483647 h 122"/>
              <a:gd name="T56" fmla="*/ 2147483647 w 154"/>
              <a:gd name="T57" fmla="*/ 2147483647 h 122"/>
              <a:gd name="T58" fmla="*/ 2147483647 w 154"/>
              <a:gd name="T59" fmla="*/ 2147483647 h 122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54"/>
              <a:gd name="T91" fmla="*/ 0 h 122"/>
              <a:gd name="T92" fmla="*/ 154 w 154"/>
              <a:gd name="T93" fmla="*/ 122 h 122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54" h="122">
                <a:moveTo>
                  <a:pt x="23" y="31"/>
                </a:moveTo>
                <a:lnTo>
                  <a:pt x="56" y="48"/>
                </a:lnTo>
                <a:lnTo>
                  <a:pt x="65" y="40"/>
                </a:lnTo>
                <a:lnTo>
                  <a:pt x="88" y="56"/>
                </a:lnTo>
                <a:lnTo>
                  <a:pt x="97" y="65"/>
                </a:lnTo>
                <a:lnTo>
                  <a:pt x="97" y="48"/>
                </a:lnTo>
                <a:lnTo>
                  <a:pt x="88" y="48"/>
                </a:lnTo>
                <a:lnTo>
                  <a:pt x="88" y="40"/>
                </a:lnTo>
                <a:lnTo>
                  <a:pt x="88" y="6"/>
                </a:lnTo>
                <a:lnTo>
                  <a:pt x="88" y="0"/>
                </a:lnTo>
                <a:lnTo>
                  <a:pt x="113" y="0"/>
                </a:lnTo>
                <a:lnTo>
                  <a:pt x="122" y="0"/>
                </a:lnTo>
                <a:lnTo>
                  <a:pt x="146" y="16"/>
                </a:lnTo>
                <a:lnTo>
                  <a:pt x="153" y="31"/>
                </a:lnTo>
                <a:lnTo>
                  <a:pt x="146" y="40"/>
                </a:lnTo>
                <a:lnTo>
                  <a:pt x="146" y="48"/>
                </a:lnTo>
                <a:lnTo>
                  <a:pt x="138" y="65"/>
                </a:lnTo>
                <a:lnTo>
                  <a:pt x="146" y="72"/>
                </a:lnTo>
                <a:lnTo>
                  <a:pt x="106" y="88"/>
                </a:lnTo>
                <a:lnTo>
                  <a:pt x="106" y="97"/>
                </a:lnTo>
                <a:lnTo>
                  <a:pt x="88" y="97"/>
                </a:lnTo>
                <a:lnTo>
                  <a:pt x="88" y="105"/>
                </a:lnTo>
                <a:lnTo>
                  <a:pt x="65" y="121"/>
                </a:lnTo>
                <a:lnTo>
                  <a:pt x="41" y="121"/>
                </a:lnTo>
                <a:lnTo>
                  <a:pt x="23" y="112"/>
                </a:lnTo>
                <a:lnTo>
                  <a:pt x="16" y="121"/>
                </a:lnTo>
                <a:lnTo>
                  <a:pt x="0" y="105"/>
                </a:lnTo>
                <a:lnTo>
                  <a:pt x="0" y="65"/>
                </a:lnTo>
                <a:lnTo>
                  <a:pt x="31" y="56"/>
                </a:lnTo>
                <a:lnTo>
                  <a:pt x="23" y="31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19" name="Freeform 33"/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4943475" y="5327650"/>
            <a:ext cx="65088" cy="152400"/>
          </a:xfrm>
          <a:custGeom>
            <a:avLst/>
            <a:gdLst>
              <a:gd name="T0" fmla="*/ 2147483647 w 41"/>
              <a:gd name="T1" fmla="*/ 2147483647 h 97"/>
              <a:gd name="T2" fmla="*/ 0 w 41"/>
              <a:gd name="T3" fmla="*/ 2147483647 h 97"/>
              <a:gd name="T4" fmla="*/ 2147483647 w 41"/>
              <a:gd name="T5" fmla="*/ 2147483647 h 97"/>
              <a:gd name="T6" fmla="*/ 2147483647 w 41"/>
              <a:gd name="T7" fmla="*/ 2147483647 h 97"/>
              <a:gd name="T8" fmla="*/ 2147483647 w 41"/>
              <a:gd name="T9" fmla="*/ 2147483647 h 97"/>
              <a:gd name="T10" fmla="*/ 2147483647 w 41"/>
              <a:gd name="T11" fmla="*/ 0 h 97"/>
              <a:gd name="T12" fmla="*/ 2147483647 w 41"/>
              <a:gd name="T13" fmla="*/ 0 h 97"/>
              <a:gd name="T14" fmla="*/ 2147483647 w 41"/>
              <a:gd name="T15" fmla="*/ 0 h 97"/>
              <a:gd name="T16" fmla="*/ 2147483647 w 41"/>
              <a:gd name="T17" fmla="*/ 2147483647 h 97"/>
              <a:gd name="T18" fmla="*/ 2147483647 w 41"/>
              <a:gd name="T19" fmla="*/ 2147483647 h 97"/>
              <a:gd name="T20" fmla="*/ 2147483647 w 41"/>
              <a:gd name="T21" fmla="*/ 2147483647 h 97"/>
              <a:gd name="T22" fmla="*/ 2147483647 w 41"/>
              <a:gd name="T23" fmla="*/ 2147483647 h 97"/>
              <a:gd name="T24" fmla="*/ 2147483647 w 41"/>
              <a:gd name="T25" fmla="*/ 2147483647 h 97"/>
              <a:gd name="T26" fmla="*/ 2147483647 w 41"/>
              <a:gd name="T27" fmla="*/ 2147483647 h 97"/>
              <a:gd name="T28" fmla="*/ 2147483647 w 41"/>
              <a:gd name="T29" fmla="*/ 2147483647 h 97"/>
              <a:gd name="T30" fmla="*/ 2147483647 w 41"/>
              <a:gd name="T31" fmla="*/ 2147483647 h 97"/>
              <a:gd name="T32" fmla="*/ 2147483647 w 41"/>
              <a:gd name="T33" fmla="*/ 2147483647 h 97"/>
              <a:gd name="T34" fmla="*/ 2147483647 w 41"/>
              <a:gd name="T35" fmla="*/ 2147483647 h 97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41"/>
              <a:gd name="T55" fmla="*/ 0 h 97"/>
              <a:gd name="T56" fmla="*/ 41 w 41"/>
              <a:gd name="T57" fmla="*/ 97 h 97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41" h="97">
                <a:moveTo>
                  <a:pt x="8" y="56"/>
                </a:moveTo>
                <a:lnTo>
                  <a:pt x="0" y="49"/>
                </a:lnTo>
                <a:lnTo>
                  <a:pt x="8" y="32"/>
                </a:lnTo>
                <a:lnTo>
                  <a:pt x="8" y="24"/>
                </a:lnTo>
                <a:lnTo>
                  <a:pt x="15" y="15"/>
                </a:lnTo>
                <a:lnTo>
                  <a:pt x="8" y="0"/>
                </a:lnTo>
                <a:lnTo>
                  <a:pt x="15" y="0"/>
                </a:lnTo>
                <a:lnTo>
                  <a:pt x="24" y="0"/>
                </a:lnTo>
                <a:lnTo>
                  <a:pt x="32" y="24"/>
                </a:lnTo>
                <a:lnTo>
                  <a:pt x="24" y="32"/>
                </a:lnTo>
                <a:lnTo>
                  <a:pt x="32" y="49"/>
                </a:lnTo>
                <a:lnTo>
                  <a:pt x="40" y="64"/>
                </a:lnTo>
                <a:lnTo>
                  <a:pt x="40" y="81"/>
                </a:lnTo>
                <a:lnTo>
                  <a:pt x="32" y="96"/>
                </a:lnTo>
                <a:lnTo>
                  <a:pt x="24" y="81"/>
                </a:lnTo>
                <a:lnTo>
                  <a:pt x="24" y="64"/>
                </a:lnTo>
                <a:lnTo>
                  <a:pt x="15" y="64"/>
                </a:lnTo>
                <a:lnTo>
                  <a:pt x="8" y="56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20" name="Freeform 34"/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4548188" y="4843463"/>
            <a:ext cx="53975" cy="41275"/>
          </a:xfrm>
          <a:custGeom>
            <a:avLst/>
            <a:gdLst>
              <a:gd name="T0" fmla="*/ 0 w 34"/>
              <a:gd name="T1" fmla="*/ 2147483647 h 26"/>
              <a:gd name="T2" fmla="*/ 2147483647 w 34"/>
              <a:gd name="T3" fmla="*/ 2147483647 h 26"/>
              <a:gd name="T4" fmla="*/ 2147483647 w 34"/>
              <a:gd name="T5" fmla="*/ 2147483647 h 26"/>
              <a:gd name="T6" fmla="*/ 2147483647 w 34"/>
              <a:gd name="T7" fmla="*/ 2147483647 h 26"/>
              <a:gd name="T8" fmla="*/ 2147483647 w 34"/>
              <a:gd name="T9" fmla="*/ 2147483647 h 26"/>
              <a:gd name="T10" fmla="*/ 2147483647 w 34"/>
              <a:gd name="T11" fmla="*/ 0 h 26"/>
              <a:gd name="T12" fmla="*/ 0 w 34"/>
              <a:gd name="T13" fmla="*/ 2147483647 h 2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4"/>
              <a:gd name="T22" fmla="*/ 0 h 26"/>
              <a:gd name="T23" fmla="*/ 34 w 34"/>
              <a:gd name="T24" fmla="*/ 26 h 2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4" h="26">
                <a:moveTo>
                  <a:pt x="0" y="10"/>
                </a:moveTo>
                <a:lnTo>
                  <a:pt x="16" y="25"/>
                </a:lnTo>
                <a:lnTo>
                  <a:pt x="25" y="17"/>
                </a:lnTo>
                <a:lnTo>
                  <a:pt x="33" y="17"/>
                </a:lnTo>
                <a:lnTo>
                  <a:pt x="16" y="10"/>
                </a:lnTo>
                <a:lnTo>
                  <a:pt x="8" y="0"/>
                </a:lnTo>
                <a:lnTo>
                  <a:pt x="0" y="10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21" name="Freeform 35"/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4548188" y="4843463"/>
            <a:ext cx="53975" cy="41275"/>
          </a:xfrm>
          <a:custGeom>
            <a:avLst/>
            <a:gdLst>
              <a:gd name="T0" fmla="*/ 0 w 34"/>
              <a:gd name="T1" fmla="*/ 2147483647 h 26"/>
              <a:gd name="T2" fmla="*/ 2147483647 w 34"/>
              <a:gd name="T3" fmla="*/ 2147483647 h 26"/>
              <a:gd name="T4" fmla="*/ 2147483647 w 34"/>
              <a:gd name="T5" fmla="*/ 2147483647 h 26"/>
              <a:gd name="T6" fmla="*/ 2147483647 w 34"/>
              <a:gd name="T7" fmla="*/ 2147483647 h 26"/>
              <a:gd name="T8" fmla="*/ 2147483647 w 34"/>
              <a:gd name="T9" fmla="*/ 2147483647 h 26"/>
              <a:gd name="T10" fmla="*/ 2147483647 w 34"/>
              <a:gd name="T11" fmla="*/ 0 h 26"/>
              <a:gd name="T12" fmla="*/ 0 w 34"/>
              <a:gd name="T13" fmla="*/ 2147483647 h 2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4"/>
              <a:gd name="T22" fmla="*/ 0 h 26"/>
              <a:gd name="T23" fmla="*/ 34 w 34"/>
              <a:gd name="T24" fmla="*/ 26 h 2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4" h="26">
                <a:moveTo>
                  <a:pt x="0" y="10"/>
                </a:moveTo>
                <a:lnTo>
                  <a:pt x="16" y="25"/>
                </a:lnTo>
                <a:lnTo>
                  <a:pt x="25" y="17"/>
                </a:lnTo>
                <a:lnTo>
                  <a:pt x="33" y="17"/>
                </a:lnTo>
                <a:lnTo>
                  <a:pt x="16" y="10"/>
                </a:lnTo>
                <a:lnTo>
                  <a:pt x="8" y="0"/>
                </a:lnTo>
                <a:lnTo>
                  <a:pt x="0" y="10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22" name="Line 38"/>
          <p:cNvSpPr>
            <a:spLocks noChangeShapeType="1"/>
          </p:cNvSpPr>
          <p:nvPr>
            <p:custDataLst>
              <p:tags r:id="rId33"/>
            </p:custDataLst>
          </p:nvPr>
        </p:nvSpPr>
        <p:spPr bwMode="gray">
          <a:xfrm flipV="1">
            <a:off x="2763838" y="4373563"/>
            <a:ext cx="12700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95623" name="Freeform 41"/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6373813" y="3789363"/>
            <a:ext cx="127000" cy="152400"/>
          </a:xfrm>
          <a:custGeom>
            <a:avLst/>
            <a:gdLst>
              <a:gd name="T0" fmla="*/ 0 w 81"/>
              <a:gd name="T1" fmla="*/ 2147483647 h 97"/>
              <a:gd name="T2" fmla="*/ 2147483647 w 81"/>
              <a:gd name="T3" fmla="*/ 2147483647 h 97"/>
              <a:gd name="T4" fmla="*/ 2147483647 w 81"/>
              <a:gd name="T5" fmla="*/ 2147483647 h 97"/>
              <a:gd name="T6" fmla="*/ 2147483647 w 81"/>
              <a:gd name="T7" fmla="*/ 2147483647 h 97"/>
              <a:gd name="T8" fmla="*/ 2147483647 w 81"/>
              <a:gd name="T9" fmla="*/ 2147483647 h 97"/>
              <a:gd name="T10" fmla="*/ 2147483647 w 81"/>
              <a:gd name="T11" fmla="*/ 2147483647 h 97"/>
              <a:gd name="T12" fmla="*/ 2147483647 w 81"/>
              <a:gd name="T13" fmla="*/ 0 h 97"/>
              <a:gd name="T14" fmla="*/ 2147483647 w 81"/>
              <a:gd name="T15" fmla="*/ 0 h 97"/>
              <a:gd name="T16" fmla="*/ 2147483647 w 81"/>
              <a:gd name="T17" fmla="*/ 2147483647 h 97"/>
              <a:gd name="T18" fmla="*/ 2147483647 w 81"/>
              <a:gd name="T19" fmla="*/ 2147483647 h 97"/>
              <a:gd name="T20" fmla="*/ 0 w 81"/>
              <a:gd name="T21" fmla="*/ 2147483647 h 9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81"/>
              <a:gd name="T34" fmla="*/ 0 h 97"/>
              <a:gd name="T35" fmla="*/ 81 w 81"/>
              <a:gd name="T36" fmla="*/ 97 h 97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81" h="97">
                <a:moveTo>
                  <a:pt x="0" y="90"/>
                </a:moveTo>
                <a:lnTo>
                  <a:pt x="6" y="96"/>
                </a:lnTo>
                <a:lnTo>
                  <a:pt x="31" y="90"/>
                </a:lnTo>
                <a:lnTo>
                  <a:pt x="31" y="81"/>
                </a:lnTo>
                <a:lnTo>
                  <a:pt x="55" y="65"/>
                </a:lnTo>
                <a:lnTo>
                  <a:pt x="72" y="41"/>
                </a:lnTo>
                <a:lnTo>
                  <a:pt x="80" y="0"/>
                </a:lnTo>
                <a:lnTo>
                  <a:pt x="72" y="0"/>
                </a:lnTo>
                <a:lnTo>
                  <a:pt x="55" y="41"/>
                </a:lnTo>
                <a:lnTo>
                  <a:pt x="22" y="81"/>
                </a:lnTo>
                <a:lnTo>
                  <a:pt x="0" y="90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24" name="Freeform 42"/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6373813" y="3789363"/>
            <a:ext cx="127000" cy="152400"/>
          </a:xfrm>
          <a:custGeom>
            <a:avLst/>
            <a:gdLst>
              <a:gd name="T0" fmla="*/ 0 w 81"/>
              <a:gd name="T1" fmla="*/ 2147483647 h 97"/>
              <a:gd name="T2" fmla="*/ 2147483647 w 81"/>
              <a:gd name="T3" fmla="*/ 2147483647 h 97"/>
              <a:gd name="T4" fmla="*/ 2147483647 w 81"/>
              <a:gd name="T5" fmla="*/ 2147483647 h 97"/>
              <a:gd name="T6" fmla="*/ 2147483647 w 81"/>
              <a:gd name="T7" fmla="*/ 2147483647 h 97"/>
              <a:gd name="T8" fmla="*/ 2147483647 w 81"/>
              <a:gd name="T9" fmla="*/ 2147483647 h 97"/>
              <a:gd name="T10" fmla="*/ 2147483647 w 81"/>
              <a:gd name="T11" fmla="*/ 2147483647 h 97"/>
              <a:gd name="T12" fmla="*/ 2147483647 w 81"/>
              <a:gd name="T13" fmla="*/ 0 h 97"/>
              <a:gd name="T14" fmla="*/ 2147483647 w 81"/>
              <a:gd name="T15" fmla="*/ 0 h 97"/>
              <a:gd name="T16" fmla="*/ 2147483647 w 81"/>
              <a:gd name="T17" fmla="*/ 2147483647 h 97"/>
              <a:gd name="T18" fmla="*/ 2147483647 w 81"/>
              <a:gd name="T19" fmla="*/ 2147483647 h 97"/>
              <a:gd name="T20" fmla="*/ 0 w 81"/>
              <a:gd name="T21" fmla="*/ 2147483647 h 9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81"/>
              <a:gd name="T34" fmla="*/ 0 h 97"/>
              <a:gd name="T35" fmla="*/ 81 w 81"/>
              <a:gd name="T36" fmla="*/ 97 h 97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81" h="97">
                <a:moveTo>
                  <a:pt x="0" y="90"/>
                </a:moveTo>
                <a:lnTo>
                  <a:pt x="6" y="96"/>
                </a:lnTo>
                <a:lnTo>
                  <a:pt x="31" y="90"/>
                </a:lnTo>
                <a:lnTo>
                  <a:pt x="31" y="81"/>
                </a:lnTo>
                <a:lnTo>
                  <a:pt x="55" y="65"/>
                </a:lnTo>
                <a:lnTo>
                  <a:pt x="72" y="41"/>
                </a:lnTo>
                <a:lnTo>
                  <a:pt x="80" y="0"/>
                </a:lnTo>
                <a:lnTo>
                  <a:pt x="72" y="0"/>
                </a:lnTo>
                <a:lnTo>
                  <a:pt x="55" y="41"/>
                </a:lnTo>
                <a:lnTo>
                  <a:pt x="22" y="81"/>
                </a:lnTo>
                <a:lnTo>
                  <a:pt x="0" y="90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25" name="Freeform 43"/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4892675" y="3559175"/>
            <a:ext cx="52388" cy="79375"/>
          </a:xfrm>
          <a:custGeom>
            <a:avLst/>
            <a:gdLst>
              <a:gd name="T0" fmla="*/ 0 w 33"/>
              <a:gd name="T1" fmla="*/ 2147483647 h 50"/>
              <a:gd name="T2" fmla="*/ 2147483647 w 33"/>
              <a:gd name="T3" fmla="*/ 2147483647 h 50"/>
              <a:gd name="T4" fmla="*/ 2147483647 w 33"/>
              <a:gd name="T5" fmla="*/ 2147483647 h 50"/>
              <a:gd name="T6" fmla="*/ 2147483647 w 33"/>
              <a:gd name="T7" fmla="*/ 2147483647 h 50"/>
              <a:gd name="T8" fmla="*/ 2147483647 w 33"/>
              <a:gd name="T9" fmla="*/ 2147483647 h 50"/>
              <a:gd name="T10" fmla="*/ 2147483647 w 33"/>
              <a:gd name="T11" fmla="*/ 2147483647 h 50"/>
              <a:gd name="T12" fmla="*/ 2147483647 w 33"/>
              <a:gd name="T13" fmla="*/ 0 h 50"/>
              <a:gd name="T14" fmla="*/ 2147483647 w 33"/>
              <a:gd name="T15" fmla="*/ 0 h 50"/>
              <a:gd name="T16" fmla="*/ 0 w 33"/>
              <a:gd name="T17" fmla="*/ 2147483647 h 5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3"/>
              <a:gd name="T28" fmla="*/ 0 h 50"/>
              <a:gd name="T29" fmla="*/ 33 w 33"/>
              <a:gd name="T30" fmla="*/ 50 h 5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3" h="50">
                <a:moveTo>
                  <a:pt x="0" y="16"/>
                </a:moveTo>
                <a:lnTo>
                  <a:pt x="7" y="25"/>
                </a:lnTo>
                <a:lnTo>
                  <a:pt x="16" y="49"/>
                </a:lnTo>
                <a:lnTo>
                  <a:pt x="22" y="40"/>
                </a:lnTo>
                <a:lnTo>
                  <a:pt x="32" y="40"/>
                </a:lnTo>
                <a:lnTo>
                  <a:pt x="32" y="25"/>
                </a:lnTo>
                <a:lnTo>
                  <a:pt x="16" y="0"/>
                </a:lnTo>
                <a:lnTo>
                  <a:pt x="7" y="0"/>
                </a:lnTo>
                <a:lnTo>
                  <a:pt x="0" y="16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26" name="Freeform 44"/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4892675" y="3559175"/>
            <a:ext cx="52388" cy="79375"/>
          </a:xfrm>
          <a:custGeom>
            <a:avLst/>
            <a:gdLst>
              <a:gd name="T0" fmla="*/ 0 w 33"/>
              <a:gd name="T1" fmla="*/ 2147483647 h 50"/>
              <a:gd name="T2" fmla="*/ 2147483647 w 33"/>
              <a:gd name="T3" fmla="*/ 2147483647 h 50"/>
              <a:gd name="T4" fmla="*/ 2147483647 w 33"/>
              <a:gd name="T5" fmla="*/ 2147483647 h 50"/>
              <a:gd name="T6" fmla="*/ 2147483647 w 33"/>
              <a:gd name="T7" fmla="*/ 2147483647 h 50"/>
              <a:gd name="T8" fmla="*/ 2147483647 w 33"/>
              <a:gd name="T9" fmla="*/ 2147483647 h 50"/>
              <a:gd name="T10" fmla="*/ 2147483647 w 33"/>
              <a:gd name="T11" fmla="*/ 2147483647 h 50"/>
              <a:gd name="T12" fmla="*/ 2147483647 w 33"/>
              <a:gd name="T13" fmla="*/ 0 h 50"/>
              <a:gd name="T14" fmla="*/ 2147483647 w 33"/>
              <a:gd name="T15" fmla="*/ 0 h 50"/>
              <a:gd name="T16" fmla="*/ 0 w 33"/>
              <a:gd name="T17" fmla="*/ 2147483647 h 5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3"/>
              <a:gd name="T28" fmla="*/ 0 h 50"/>
              <a:gd name="T29" fmla="*/ 33 w 33"/>
              <a:gd name="T30" fmla="*/ 50 h 5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3" h="50">
                <a:moveTo>
                  <a:pt x="0" y="16"/>
                </a:moveTo>
                <a:lnTo>
                  <a:pt x="7" y="25"/>
                </a:lnTo>
                <a:lnTo>
                  <a:pt x="16" y="49"/>
                </a:lnTo>
                <a:lnTo>
                  <a:pt x="22" y="40"/>
                </a:lnTo>
                <a:lnTo>
                  <a:pt x="32" y="40"/>
                </a:lnTo>
                <a:lnTo>
                  <a:pt x="32" y="25"/>
                </a:lnTo>
                <a:lnTo>
                  <a:pt x="16" y="0"/>
                </a:lnTo>
                <a:lnTo>
                  <a:pt x="7" y="0"/>
                </a:lnTo>
                <a:lnTo>
                  <a:pt x="0" y="16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27" name="Freeform 45"/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4981575" y="3509963"/>
            <a:ext cx="41275" cy="76200"/>
          </a:xfrm>
          <a:custGeom>
            <a:avLst/>
            <a:gdLst>
              <a:gd name="T0" fmla="*/ 0 w 26"/>
              <a:gd name="T1" fmla="*/ 2147483647 h 49"/>
              <a:gd name="T2" fmla="*/ 2147483647 w 26"/>
              <a:gd name="T3" fmla="*/ 2147483647 h 49"/>
              <a:gd name="T4" fmla="*/ 2147483647 w 26"/>
              <a:gd name="T5" fmla="*/ 2147483647 h 49"/>
              <a:gd name="T6" fmla="*/ 2147483647 w 26"/>
              <a:gd name="T7" fmla="*/ 2147483647 h 49"/>
              <a:gd name="T8" fmla="*/ 2147483647 w 26"/>
              <a:gd name="T9" fmla="*/ 2147483647 h 49"/>
              <a:gd name="T10" fmla="*/ 2147483647 w 26"/>
              <a:gd name="T11" fmla="*/ 2147483647 h 49"/>
              <a:gd name="T12" fmla="*/ 2147483647 w 26"/>
              <a:gd name="T13" fmla="*/ 2147483647 h 49"/>
              <a:gd name="T14" fmla="*/ 0 w 26"/>
              <a:gd name="T15" fmla="*/ 0 h 49"/>
              <a:gd name="T16" fmla="*/ 2147483647 w 26"/>
              <a:gd name="T17" fmla="*/ 2147483647 h 49"/>
              <a:gd name="T18" fmla="*/ 2147483647 w 26"/>
              <a:gd name="T19" fmla="*/ 2147483647 h 49"/>
              <a:gd name="T20" fmla="*/ 0 w 26"/>
              <a:gd name="T21" fmla="*/ 2147483647 h 49"/>
              <a:gd name="T22" fmla="*/ 0 w 26"/>
              <a:gd name="T23" fmla="*/ 2147483647 h 4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6"/>
              <a:gd name="T37" fmla="*/ 0 h 49"/>
              <a:gd name="T38" fmla="*/ 26 w 26"/>
              <a:gd name="T39" fmla="*/ 49 h 4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6" h="49">
                <a:moveTo>
                  <a:pt x="0" y="32"/>
                </a:moveTo>
                <a:lnTo>
                  <a:pt x="16" y="41"/>
                </a:lnTo>
                <a:lnTo>
                  <a:pt x="16" y="48"/>
                </a:lnTo>
                <a:lnTo>
                  <a:pt x="25" y="48"/>
                </a:lnTo>
                <a:lnTo>
                  <a:pt x="16" y="23"/>
                </a:lnTo>
                <a:lnTo>
                  <a:pt x="16" y="7"/>
                </a:lnTo>
                <a:lnTo>
                  <a:pt x="8" y="7"/>
                </a:lnTo>
                <a:lnTo>
                  <a:pt x="0" y="0"/>
                </a:lnTo>
                <a:lnTo>
                  <a:pt x="8" y="7"/>
                </a:lnTo>
                <a:lnTo>
                  <a:pt x="8" y="17"/>
                </a:lnTo>
                <a:lnTo>
                  <a:pt x="0" y="17"/>
                </a:lnTo>
                <a:lnTo>
                  <a:pt x="0" y="32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28" name="Freeform 46"/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4981575" y="3509963"/>
            <a:ext cx="41275" cy="76200"/>
          </a:xfrm>
          <a:custGeom>
            <a:avLst/>
            <a:gdLst>
              <a:gd name="T0" fmla="*/ 0 w 26"/>
              <a:gd name="T1" fmla="*/ 2147483647 h 49"/>
              <a:gd name="T2" fmla="*/ 2147483647 w 26"/>
              <a:gd name="T3" fmla="*/ 2147483647 h 49"/>
              <a:gd name="T4" fmla="*/ 2147483647 w 26"/>
              <a:gd name="T5" fmla="*/ 2147483647 h 49"/>
              <a:gd name="T6" fmla="*/ 2147483647 w 26"/>
              <a:gd name="T7" fmla="*/ 2147483647 h 49"/>
              <a:gd name="T8" fmla="*/ 2147483647 w 26"/>
              <a:gd name="T9" fmla="*/ 2147483647 h 49"/>
              <a:gd name="T10" fmla="*/ 2147483647 w 26"/>
              <a:gd name="T11" fmla="*/ 2147483647 h 49"/>
              <a:gd name="T12" fmla="*/ 2147483647 w 26"/>
              <a:gd name="T13" fmla="*/ 2147483647 h 49"/>
              <a:gd name="T14" fmla="*/ 0 w 26"/>
              <a:gd name="T15" fmla="*/ 0 h 49"/>
              <a:gd name="T16" fmla="*/ 2147483647 w 26"/>
              <a:gd name="T17" fmla="*/ 2147483647 h 49"/>
              <a:gd name="T18" fmla="*/ 2147483647 w 26"/>
              <a:gd name="T19" fmla="*/ 2147483647 h 49"/>
              <a:gd name="T20" fmla="*/ 0 w 26"/>
              <a:gd name="T21" fmla="*/ 2147483647 h 49"/>
              <a:gd name="T22" fmla="*/ 0 w 26"/>
              <a:gd name="T23" fmla="*/ 2147483647 h 4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6"/>
              <a:gd name="T37" fmla="*/ 0 h 49"/>
              <a:gd name="T38" fmla="*/ 26 w 26"/>
              <a:gd name="T39" fmla="*/ 49 h 4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6" h="49">
                <a:moveTo>
                  <a:pt x="0" y="32"/>
                </a:moveTo>
                <a:lnTo>
                  <a:pt x="16" y="41"/>
                </a:lnTo>
                <a:lnTo>
                  <a:pt x="16" y="48"/>
                </a:lnTo>
                <a:lnTo>
                  <a:pt x="25" y="48"/>
                </a:lnTo>
                <a:lnTo>
                  <a:pt x="16" y="23"/>
                </a:lnTo>
                <a:lnTo>
                  <a:pt x="16" y="7"/>
                </a:lnTo>
                <a:lnTo>
                  <a:pt x="8" y="7"/>
                </a:lnTo>
                <a:lnTo>
                  <a:pt x="0" y="0"/>
                </a:lnTo>
                <a:lnTo>
                  <a:pt x="8" y="7"/>
                </a:lnTo>
                <a:lnTo>
                  <a:pt x="8" y="17"/>
                </a:lnTo>
                <a:lnTo>
                  <a:pt x="0" y="17"/>
                </a:lnTo>
                <a:lnTo>
                  <a:pt x="0" y="32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29" name="Freeform 47"/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2522538" y="4092575"/>
            <a:ext cx="166687" cy="130175"/>
          </a:xfrm>
          <a:custGeom>
            <a:avLst/>
            <a:gdLst>
              <a:gd name="T0" fmla="*/ 2147483647 w 107"/>
              <a:gd name="T1" fmla="*/ 0 h 83"/>
              <a:gd name="T2" fmla="*/ 2147483647 w 107"/>
              <a:gd name="T3" fmla="*/ 2147483647 h 83"/>
              <a:gd name="T4" fmla="*/ 2147483647 w 107"/>
              <a:gd name="T5" fmla="*/ 2147483647 h 83"/>
              <a:gd name="T6" fmla="*/ 0 w 107"/>
              <a:gd name="T7" fmla="*/ 2147483647 h 83"/>
              <a:gd name="T8" fmla="*/ 2147483647 w 107"/>
              <a:gd name="T9" fmla="*/ 2147483647 h 83"/>
              <a:gd name="T10" fmla="*/ 0 w 107"/>
              <a:gd name="T11" fmla="*/ 2147483647 h 83"/>
              <a:gd name="T12" fmla="*/ 0 w 107"/>
              <a:gd name="T13" fmla="*/ 2147483647 h 83"/>
              <a:gd name="T14" fmla="*/ 0 w 107"/>
              <a:gd name="T15" fmla="*/ 2147483647 h 83"/>
              <a:gd name="T16" fmla="*/ 2147483647 w 107"/>
              <a:gd name="T17" fmla="*/ 2147483647 h 83"/>
              <a:gd name="T18" fmla="*/ 2147483647 w 107"/>
              <a:gd name="T19" fmla="*/ 2147483647 h 83"/>
              <a:gd name="T20" fmla="*/ 2147483647 w 107"/>
              <a:gd name="T21" fmla="*/ 2147483647 h 83"/>
              <a:gd name="T22" fmla="*/ 2147483647 w 107"/>
              <a:gd name="T23" fmla="*/ 2147483647 h 83"/>
              <a:gd name="T24" fmla="*/ 2147483647 w 107"/>
              <a:gd name="T25" fmla="*/ 2147483647 h 83"/>
              <a:gd name="T26" fmla="*/ 2147483647 w 107"/>
              <a:gd name="T27" fmla="*/ 2147483647 h 83"/>
              <a:gd name="T28" fmla="*/ 2147483647 w 107"/>
              <a:gd name="T29" fmla="*/ 2147483647 h 83"/>
              <a:gd name="T30" fmla="*/ 2147483647 w 107"/>
              <a:gd name="T31" fmla="*/ 2147483647 h 83"/>
              <a:gd name="T32" fmla="*/ 2147483647 w 107"/>
              <a:gd name="T33" fmla="*/ 2147483647 h 83"/>
              <a:gd name="T34" fmla="*/ 2147483647 w 107"/>
              <a:gd name="T35" fmla="*/ 2147483647 h 83"/>
              <a:gd name="T36" fmla="*/ 2147483647 w 107"/>
              <a:gd name="T37" fmla="*/ 2147483647 h 83"/>
              <a:gd name="T38" fmla="*/ 2147483647 w 107"/>
              <a:gd name="T39" fmla="*/ 2147483647 h 83"/>
              <a:gd name="T40" fmla="*/ 2147483647 w 107"/>
              <a:gd name="T41" fmla="*/ 2147483647 h 83"/>
              <a:gd name="T42" fmla="*/ 2147483647 w 107"/>
              <a:gd name="T43" fmla="*/ 2147483647 h 83"/>
              <a:gd name="T44" fmla="*/ 2147483647 w 107"/>
              <a:gd name="T45" fmla="*/ 2147483647 h 83"/>
              <a:gd name="T46" fmla="*/ 2147483647 w 107"/>
              <a:gd name="T47" fmla="*/ 2147483647 h 83"/>
              <a:gd name="T48" fmla="*/ 2147483647 w 107"/>
              <a:gd name="T49" fmla="*/ 0 h 8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07"/>
              <a:gd name="T76" fmla="*/ 0 h 83"/>
              <a:gd name="T77" fmla="*/ 107 w 107"/>
              <a:gd name="T78" fmla="*/ 83 h 83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07" h="83">
                <a:moveTo>
                  <a:pt x="49" y="0"/>
                </a:moveTo>
                <a:lnTo>
                  <a:pt x="49" y="9"/>
                </a:lnTo>
                <a:lnTo>
                  <a:pt x="9" y="9"/>
                </a:lnTo>
                <a:lnTo>
                  <a:pt x="0" y="34"/>
                </a:lnTo>
                <a:lnTo>
                  <a:pt x="9" y="25"/>
                </a:lnTo>
                <a:lnTo>
                  <a:pt x="0" y="59"/>
                </a:lnTo>
                <a:lnTo>
                  <a:pt x="0" y="74"/>
                </a:lnTo>
                <a:lnTo>
                  <a:pt x="0" y="82"/>
                </a:lnTo>
                <a:lnTo>
                  <a:pt x="9" y="82"/>
                </a:lnTo>
                <a:lnTo>
                  <a:pt x="15" y="74"/>
                </a:lnTo>
                <a:lnTo>
                  <a:pt x="15" y="40"/>
                </a:lnTo>
                <a:lnTo>
                  <a:pt x="24" y="25"/>
                </a:lnTo>
                <a:lnTo>
                  <a:pt x="34" y="18"/>
                </a:lnTo>
                <a:lnTo>
                  <a:pt x="34" y="9"/>
                </a:lnTo>
                <a:lnTo>
                  <a:pt x="56" y="18"/>
                </a:lnTo>
                <a:lnTo>
                  <a:pt x="56" y="34"/>
                </a:lnTo>
                <a:lnTo>
                  <a:pt x="49" y="50"/>
                </a:lnTo>
                <a:lnTo>
                  <a:pt x="65" y="40"/>
                </a:lnTo>
                <a:lnTo>
                  <a:pt x="65" y="59"/>
                </a:lnTo>
                <a:lnTo>
                  <a:pt x="81" y="50"/>
                </a:lnTo>
                <a:lnTo>
                  <a:pt x="81" y="18"/>
                </a:lnTo>
                <a:lnTo>
                  <a:pt x="97" y="34"/>
                </a:lnTo>
                <a:lnTo>
                  <a:pt x="106" y="25"/>
                </a:lnTo>
                <a:lnTo>
                  <a:pt x="89" y="9"/>
                </a:lnTo>
                <a:lnTo>
                  <a:pt x="49" y="0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30" name="Freeform 48"/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2522538" y="4092575"/>
            <a:ext cx="166687" cy="130175"/>
          </a:xfrm>
          <a:custGeom>
            <a:avLst/>
            <a:gdLst>
              <a:gd name="T0" fmla="*/ 2147483647 w 107"/>
              <a:gd name="T1" fmla="*/ 0 h 83"/>
              <a:gd name="T2" fmla="*/ 2147483647 w 107"/>
              <a:gd name="T3" fmla="*/ 2147483647 h 83"/>
              <a:gd name="T4" fmla="*/ 2147483647 w 107"/>
              <a:gd name="T5" fmla="*/ 2147483647 h 83"/>
              <a:gd name="T6" fmla="*/ 0 w 107"/>
              <a:gd name="T7" fmla="*/ 2147483647 h 83"/>
              <a:gd name="T8" fmla="*/ 2147483647 w 107"/>
              <a:gd name="T9" fmla="*/ 2147483647 h 83"/>
              <a:gd name="T10" fmla="*/ 0 w 107"/>
              <a:gd name="T11" fmla="*/ 2147483647 h 83"/>
              <a:gd name="T12" fmla="*/ 0 w 107"/>
              <a:gd name="T13" fmla="*/ 2147483647 h 83"/>
              <a:gd name="T14" fmla="*/ 0 w 107"/>
              <a:gd name="T15" fmla="*/ 2147483647 h 83"/>
              <a:gd name="T16" fmla="*/ 2147483647 w 107"/>
              <a:gd name="T17" fmla="*/ 2147483647 h 83"/>
              <a:gd name="T18" fmla="*/ 2147483647 w 107"/>
              <a:gd name="T19" fmla="*/ 2147483647 h 83"/>
              <a:gd name="T20" fmla="*/ 2147483647 w 107"/>
              <a:gd name="T21" fmla="*/ 2147483647 h 83"/>
              <a:gd name="T22" fmla="*/ 2147483647 w 107"/>
              <a:gd name="T23" fmla="*/ 2147483647 h 83"/>
              <a:gd name="T24" fmla="*/ 2147483647 w 107"/>
              <a:gd name="T25" fmla="*/ 2147483647 h 83"/>
              <a:gd name="T26" fmla="*/ 2147483647 w 107"/>
              <a:gd name="T27" fmla="*/ 2147483647 h 83"/>
              <a:gd name="T28" fmla="*/ 2147483647 w 107"/>
              <a:gd name="T29" fmla="*/ 2147483647 h 83"/>
              <a:gd name="T30" fmla="*/ 2147483647 w 107"/>
              <a:gd name="T31" fmla="*/ 2147483647 h 83"/>
              <a:gd name="T32" fmla="*/ 2147483647 w 107"/>
              <a:gd name="T33" fmla="*/ 2147483647 h 83"/>
              <a:gd name="T34" fmla="*/ 2147483647 w 107"/>
              <a:gd name="T35" fmla="*/ 2147483647 h 83"/>
              <a:gd name="T36" fmla="*/ 2147483647 w 107"/>
              <a:gd name="T37" fmla="*/ 2147483647 h 83"/>
              <a:gd name="T38" fmla="*/ 2147483647 w 107"/>
              <a:gd name="T39" fmla="*/ 2147483647 h 83"/>
              <a:gd name="T40" fmla="*/ 2147483647 w 107"/>
              <a:gd name="T41" fmla="*/ 2147483647 h 83"/>
              <a:gd name="T42" fmla="*/ 2147483647 w 107"/>
              <a:gd name="T43" fmla="*/ 2147483647 h 83"/>
              <a:gd name="T44" fmla="*/ 2147483647 w 107"/>
              <a:gd name="T45" fmla="*/ 2147483647 h 83"/>
              <a:gd name="T46" fmla="*/ 2147483647 w 107"/>
              <a:gd name="T47" fmla="*/ 2147483647 h 83"/>
              <a:gd name="T48" fmla="*/ 2147483647 w 107"/>
              <a:gd name="T49" fmla="*/ 0 h 8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07"/>
              <a:gd name="T76" fmla="*/ 0 h 83"/>
              <a:gd name="T77" fmla="*/ 107 w 107"/>
              <a:gd name="T78" fmla="*/ 83 h 83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07" h="83">
                <a:moveTo>
                  <a:pt x="49" y="0"/>
                </a:moveTo>
                <a:lnTo>
                  <a:pt x="49" y="9"/>
                </a:lnTo>
                <a:lnTo>
                  <a:pt x="9" y="9"/>
                </a:lnTo>
                <a:lnTo>
                  <a:pt x="0" y="34"/>
                </a:lnTo>
                <a:lnTo>
                  <a:pt x="9" y="25"/>
                </a:lnTo>
                <a:lnTo>
                  <a:pt x="0" y="59"/>
                </a:lnTo>
                <a:lnTo>
                  <a:pt x="0" y="74"/>
                </a:lnTo>
                <a:lnTo>
                  <a:pt x="0" y="82"/>
                </a:lnTo>
                <a:lnTo>
                  <a:pt x="9" y="82"/>
                </a:lnTo>
                <a:lnTo>
                  <a:pt x="15" y="74"/>
                </a:lnTo>
                <a:lnTo>
                  <a:pt x="15" y="40"/>
                </a:lnTo>
                <a:lnTo>
                  <a:pt x="24" y="25"/>
                </a:lnTo>
                <a:lnTo>
                  <a:pt x="34" y="18"/>
                </a:lnTo>
                <a:lnTo>
                  <a:pt x="34" y="9"/>
                </a:lnTo>
                <a:lnTo>
                  <a:pt x="56" y="18"/>
                </a:lnTo>
                <a:lnTo>
                  <a:pt x="56" y="34"/>
                </a:lnTo>
                <a:lnTo>
                  <a:pt x="49" y="50"/>
                </a:lnTo>
                <a:lnTo>
                  <a:pt x="65" y="40"/>
                </a:lnTo>
                <a:lnTo>
                  <a:pt x="65" y="59"/>
                </a:lnTo>
                <a:lnTo>
                  <a:pt x="81" y="50"/>
                </a:lnTo>
                <a:lnTo>
                  <a:pt x="81" y="18"/>
                </a:lnTo>
                <a:lnTo>
                  <a:pt x="97" y="34"/>
                </a:lnTo>
                <a:lnTo>
                  <a:pt x="106" y="25"/>
                </a:lnTo>
                <a:lnTo>
                  <a:pt x="89" y="9"/>
                </a:lnTo>
                <a:lnTo>
                  <a:pt x="49" y="0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31" name="Freeform 49"/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2433638" y="4005263"/>
            <a:ext cx="152400" cy="77787"/>
          </a:xfrm>
          <a:custGeom>
            <a:avLst/>
            <a:gdLst>
              <a:gd name="T0" fmla="*/ 2147483647 w 97"/>
              <a:gd name="T1" fmla="*/ 2147483647 h 49"/>
              <a:gd name="T2" fmla="*/ 2147483647 w 97"/>
              <a:gd name="T3" fmla="*/ 2147483647 h 49"/>
              <a:gd name="T4" fmla="*/ 2147483647 w 97"/>
              <a:gd name="T5" fmla="*/ 2147483647 h 49"/>
              <a:gd name="T6" fmla="*/ 2147483647 w 97"/>
              <a:gd name="T7" fmla="*/ 2147483647 h 49"/>
              <a:gd name="T8" fmla="*/ 2147483647 w 97"/>
              <a:gd name="T9" fmla="*/ 2147483647 h 49"/>
              <a:gd name="T10" fmla="*/ 2147483647 w 97"/>
              <a:gd name="T11" fmla="*/ 2147483647 h 49"/>
              <a:gd name="T12" fmla="*/ 2147483647 w 97"/>
              <a:gd name="T13" fmla="*/ 2147483647 h 49"/>
              <a:gd name="T14" fmla="*/ 2147483647 w 97"/>
              <a:gd name="T15" fmla="*/ 2147483647 h 49"/>
              <a:gd name="T16" fmla="*/ 0 w 97"/>
              <a:gd name="T17" fmla="*/ 2147483647 h 49"/>
              <a:gd name="T18" fmla="*/ 2147483647 w 97"/>
              <a:gd name="T19" fmla="*/ 2147483647 h 49"/>
              <a:gd name="T20" fmla="*/ 2147483647 w 97"/>
              <a:gd name="T21" fmla="*/ 0 h 49"/>
              <a:gd name="T22" fmla="*/ 2147483647 w 97"/>
              <a:gd name="T23" fmla="*/ 2147483647 h 49"/>
              <a:gd name="T24" fmla="*/ 2147483647 w 97"/>
              <a:gd name="T25" fmla="*/ 2147483647 h 49"/>
              <a:gd name="T26" fmla="*/ 2147483647 w 97"/>
              <a:gd name="T27" fmla="*/ 2147483647 h 49"/>
              <a:gd name="T28" fmla="*/ 2147483647 w 97"/>
              <a:gd name="T29" fmla="*/ 2147483647 h 49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97"/>
              <a:gd name="T46" fmla="*/ 0 h 49"/>
              <a:gd name="T47" fmla="*/ 97 w 97"/>
              <a:gd name="T48" fmla="*/ 49 h 49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97" h="49">
                <a:moveTo>
                  <a:pt x="96" y="48"/>
                </a:moveTo>
                <a:lnTo>
                  <a:pt x="90" y="48"/>
                </a:lnTo>
                <a:lnTo>
                  <a:pt x="65" y="48"/>
                </a:lnTo>
                <a:lnTo>
                  <a:pt x="56" y="40"/>
                </a:lnTo>
                <a:lnTo>
                  <a:pt x="47" y="48"/>
                </a:lnTo>
                <a:lnTo>
                  <a:pt x="47" y="40"/>
                </a:lnTo>
                <a:lnTo>
                  <a:pt x="24" y="48"/>
                </a:lnTo>
                <a:lnTo>
                  <a:pt x="15" y="40"/>
                </a:lnTo>
                <a:lnTo>
                  <a:pt x="0" y="48"/>
                </a:lnTo>
                <a:lnTo>
                  <a:pt x="31" y="24"/>
                </a:lnTo>
                <a:lnTo>
                  <a:pt x="56" y="0"/>
                </a:lnTo>
                <a:lnTo>
                  <a:pt x="71" y="8"/>
                </a:lnTo>
                <a:lnTo>
                  <a:pt x="80" y="24"/>
                </a:lnTo>
                <a:lnTo>
                  <a:pt x="90" y="24"/>
                </a:lnTo>
                <a:lnTo>
                  <a:pt x="96" y="48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32" name="Freeform 50"/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2433638" y="4005263"/>
            <a:ext cx="152400" cy="77787"/>
          </a:xfrm>
          <a:custGeom>
            <a:avLst/>
            <a:gdLst>
              <a:gd name="T0" fmla="*/ 2147483647 w 97"/>
              <a:gd name="T1" fmla="*/ 2147483647 h 49"/>
              <a:gd name="T2" fmla="*/ 2147483647 w 97"/>
              <a:gd name="T3" fmla="*/ 2147483647 h 49"/>
              <a:gd name="T4" fmla="*/ 2147483647 w 97"/>
              <a:gd name="T5" fmla="*/ 2147483647 h 49"/>
              <a:gd name="T6" fmla="*/ 2147483647 w 97"/>
              <a:gd name="T7" fmla="*/ 2147483647 h 49"/>
              <a:gd name="T8" fmla="*/ 2147483647 w 97"/>
              <a:gd name="T9" fmla="*/ 2147483647 h 49"/>
              <a:gd name="T10" fmla="*/ 2147483647 w 97"/>
              <a:gd name="T11" fmla="*/ 2147483647 h 49"/>
              <a:gd name="T12" fmla="*/ 2147483647 w 97"/>
              <a:gd name="T13" fmla="*/ 2147483647 h 49"/>
              <a:gd name="T14" fmla="*/ 2147483647 w 97"/>
              <a:gd name="T15" fmla="*/ 2147483647 h 49"/>
              <a:gd name="T16" fmla="*/ 0 w 97"/>
              <a:gd name="T17" fmla="*/ 2147483647 h 49"/>
              <a:gd name="T18" fmla="*/ 2147483647 w 97"/>
              <a:gd name="T19" fmla="*/ 2147483647 h 49"/>
              <a:gd name="T20" fmla="*/ 2147483647 w 97"/>
              <a:gd name="T21" fmla="*/ 0 h 49"/>
              <a:gd name="T22" fmla="*/ 2147483647 w 97"/>
              <a:gd name="T23" fmla="*/ 2147483647 h 49"/>
              <a:gd name="T24" fmla="*/ 2147483647 w 97"/>
              <a:gd name="T25" fmla="*/ 2147483647 h 49"/>
              <a:gd name="T26" fmla="*/ 2147483647 w 97"/>
              <a:gd name="T27" fmla="*/ 2147483647 h 49"/>
              <a:gd name="T28" fmla="*/ 2147483647 w 97"/>
              <a:gd name="T29" fmla="*/ 2147483647 h 49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97"/>
              <a:gd name="T46" fmla="*/ 0 h 49"/>
              <a:gd name="T47" fmla="*/ 97 w 97"/>
              <a:gd name="T48" fmla="*/ 49 h 49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97" h="49">
                <a:moveTo>
                  <a:pt x="96" y="48"/>
                </a:moveTo>
                <a:lnTo>
                  <a:pt x="90" y="48"/>
                </a:lnTo>
                <a:lnTo>
                  <a:pt x="65" y="48"/>
                </a:lnTo>
                <a:lnTo>
                  <a:pt x="56" y="40"/>
                </a:lnTo>
                <a:lnTo>
                  <a:pt x="47" y="48"/>
                </a:lnTo>
                <a:lnTo>
                  <a:pt x="47" y="40"/>
                </a:lnTo>
                <a:lnTo>
                  <a:pt x="24" y="48"/>
                </a:lnTo>
                <a:lnTo>
                  <a:pt x="15" y="40"/>
                </a:lnTo>
                <a:lnTo>
                  <a:pt x="0" y="48"/>
                </a:lnTo>
                <a:lnTo>
                  <a:pt x="31" y="24"/>
                </a:lnTo>
                <a:lnTo>
                  <a:pt x="56" y="0"/>
                </a:lnTo>
                <a:lnTo>
                  <a:pt x="71" y="8"/>
                </a:lnTo>
                <a:lnTo>
                  <a:pt x="80" y="24"/>
                </a:lnTo>
                <a:lnTo>
                  <a:pt x="90" y="24"/>
                </a:lnTo>
                <a:lnTo>
                  <a:pt x="96" y="48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33" name="Freeform 51"/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2609850" y="4184650"/>
            <a:ext cx="92075" cy="38100"/>
          </a:xfrm>
          <a:custGeom>
            <a:avLst/>
            <a:gdLst>
              <a:gd name="T0" fmla="*/ 0 w 59"/>
              <a:gd name="T1" fmla="*/ 2147483647 h 24"/>
              <a:gd name="T2" fmla="*/ 2147483647 w 59"/>
              <a:gd name="T3" fmla="*/ 2147483647 h 24"/>
              <a:gd name="T4" fmla="*/ 2147483647 w 59"/>
              <a:gd name="T5" fmla="*/ 2147483647 h 24"/>
              <a:gd name="T6" fmla="*/ 2147483647 w 59"/>
              <a:gd name="T7" fmla="*/ 0 h 24"/>
              <a:gd name="T8" fmla="*/ 2147483647 w 59"/>
              <a:gd name="T9" fmla="*/ 2147483647 h 24"/>
              <a:gd name="T10" fmla="*/ 2147483647 w 59"/>
              <a:gd name="T11" fmla="*/ 2147483647 h 24"/>
              <a:gd name="T12" fmla="*/ 0 w 59"/>
              <a:gd name="T13" fmla="*/ 2147483647 h 2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9"/>
              <a:gd name="T22" fmla="*/ 0 h 24"/>
              <a:gd name="T23" fmla="*/ 59 w 59"/>
              <a:gd name="T24" fmla="*/ 24 h 2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9" h="24">
                <a:moveTo>
                  <a:pt x="0" y="23"/>
                </a:moveTo>
                <a:lnTo>
                  <a:pt x="18" y="15"/>
                </a:lnTo>
                <a:lnTo>
                  <a:pt x="25" y="6"/>
                </a:lnTo>
                <a:lnTo>
                  <a:pt x="58" y="0"/>
                </a:lnTo>
                <a:lnTo>
                  <a:pt x="25" y="23"/>
                </a:lnTo>
                <a:lnTo>
                  <a:pt x="9" y="23"/>
                </a:lnTo>
                <a:lnTo>
                  <a:pt x="0" y="23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34" name="Freeform 52"/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2609850" y="4184650"/>
            <a:ext cx="92075" cy="38100"/>
          </a:xfrm>
          <a:custGeom>
            <a:avLst/>
            <a:gdLst>
              <a:gd name="T0" fmla="*/ 0 w 59"/>
              <a:gd name="T1" fmla="*/ 2147483647 h 24"/>
              <a:gd name="T2" fmla="*/ 2147483647 w 59"/>
              <a:gd name="T3" fmla="*/ 2147483647 h 24"/>
              <a:gd name="T4" fmla="*/ 2147483647 w 59"/>
              <a:gd name="T5" fmla="*/ 2147483647 h 24"/>
              <a:gd name="T6" fmla="*/ 2147483647 w 59"/>
              <a:gd name="T7" fmla="*/ 0 h 24"/>
              <a:gd name="T8" fmla="*/ 2147483647 w 59"/>
              <a:gd name="T9" fmla="*/ 2147483647 h 24"/>
              <a:gd name="T10" fmla="*/ 2147483647 w 59"/>
              <a:gd name="T11" fmla="*/ 2147483647 h 24"/>
              <a:gd name="T12" fmla="*/ 0 w 59"/>
              <a:gd name="T13" fmla="*/ 2147483647 h 2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9"/>
              <a:gd name="T22" fmla="*/ 0 h 24"/>
              <a:gd name="T23" fmla="*/ 59 w 59"/>
              <a:gd name="T24" fmla="*/ 24 h 2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9" h="24">
                <a:moveTo>
                  <a:pt x="0" y="23"/>
                </a:moveTo>
                <a:lnTo>
                  <a:pt x="18" y="15"/>
                </a:lnTo>
                <a:lnTo>
                  <a:pt x="25" y="6"/>
                </a:lnTo>
                <a:lnTo>
                  <a:pt x="58" y="0"/>
                </a:lnTo>
                <a:lnTo>
                  <a:pt x="25" y="23"/>
                </a:lnTo>
                <a:lnTo>
                  <a:pt x="9" y="23"/>
                </a:lnTo>
                <a:lnTo>
                  <a:pt x="0" y="23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35" name="Freeform 53"/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2700338" y="4146550"/>
            <a:ext cx="53975" cy="26988"/>
          </a:xfrm>
          <a:custGeom>
            <a:avLst/>
            <a:gdLst>
              <a:gd name="T0" fmla="*/ 0 w 33"/>
              <a:gd name="T1" fmla="*/ 2147483647 h 17"/>
              <a:gd name="T2" fmla="*/ 0 w 33"/>
              <a:gd name="T3" fmla="*/ 2147483647 h 17"/>
              <a:gd name="T4" fmla="*/ 2147483647 w 33"/>
              <a:gd name="T5" fmla="*/ 2147483647 h 17"/>
              <a:gd name="T6" fmla="*/ 2147483647 w 33"/>
              <a:gd name="T7" fmla="*/ 0 h 17"/>
              <a:gd name="T8" fmla="*/ 2147483647 w 33"/>
              <a:gd name="T9" fmla="*/ 2147483647 h 17"/>
              <a:gd name="T10" fmla="*/ 0 w 33"/>
              <a:gd name="T11" fmla="*/ 2147483647 h 1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3"/>
              <a:gd name="T19" fmla="*/ 0 h 17"/>
              <a:gd name="T20" fmla="*/ 33 w 33"/>
              <a:gd name="T21" fmla="*/ 17 h 1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3" h="17">
                <a:moveTo>
                  <a:pt x="0" y="16"/>
                </a:moveTo>
                <a:lnTo>
                  <a:pt x="0" y="6"/>
                </a:lnTo>
                <a:lnTo>
                  <a:pt x="23" y="6"/>
                </a:lnTo>
                <a:lnTo>
                  <a:pt x="32" y="0"/>
                </a:lnTo>
                <a:lnTo>
                  <a:pt x="32" y="16"/>
                </a:lnTo>
                <a:lnTo>
                  <a:pt x="0" y="16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36" name="Freeform 54"/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2700338" y="4146550"/>
            <a:ext cx="53975" cy="26988"/>
          </a:xfrm>
          <a:custGeom>
            <a:avLst/>
            <a:gdLst>
              <a:gd name="T0" fmla="*/ 0 w 33"/>
              <a:gd name="T1" fmla="*/ 2147483647 h 17"/>
              <a:gd name="T2" fmla="*/ 0 w 33"/>
              <a:gd name="T3" fmla="*/ 2147483647 h 17"/>
              <a:gd name="T4" fmla="*/ 2147483647 w 33"/>
              <a:gd name="T5" fmla="*/ 2147483647 h 17"/>
              <a:gd name="T6" fmla="*/ 2147483647 w 33"/>
              <a:gd name="T7" fmla="*/ 0 h 17"/>
              <a:gd name="T8" fmla="*/ 2147483647 w 33"/>
              <a:gd name="T9" fmla="*/ 2147483647 h 17"/>
              <a:gd name="T10" fmla="*/ 0 w 33"/>
              <a:gd name="T11" fmla="*/ 2147483647 h 1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3"/>
              <a:gd name="T19" fmla="*/ 0 h 17"/>
              <a:gd name="T20" fmla="*/ 33 w 33"/>
              <a:gd name="T21" fmla="*/ 17 h 1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3" h="17">
                <a:moveTo>
                  <a:pt x="0" y="16"/>
                </a:moveTo>
                <a:lnTo>
                  <a:pt x="0" y="6"/>
                </a:lnTo>
                <a:lnTo>
                  <a:pt x="23" y="6"/>
                </a:lnTo>
                <a:lnTo>
                  <a:pt x="32" y="0"/>
                </a:lnTo>
                <a:lnTo>
                  <a:pt x="32" y="16"/>
                </a:lnTo>
                <a:lnTo>
                  <a:pt x="0" y="16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37" name="Freeform 57"/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4829175" y="2581275"/>
            <a:ext cx="3287713" cy="1639888"/>
          </a:xfrm>
          <a:custGeom>
            <a:avLst/>
            <a:gdLst>
              <a:gd name="T0" fmla="*/ 2147483647 w 2093"/>
              <a:gd name="T1" fmla="*/ 2147483647 h 1044"/>
              <a:gd name="T2" fmla="*/ 2147483647 w 2093"/>
              <a:gd name="T3" fmla="*/ 2147483647 h 1044"/>
              <a:gd name="T4" fmla="*/ 2147483647 w 2093"/>
              <a:gd name="T5" fmla="*/ 2147483647 h 1044"/>
              <a:gd name="T6" fmla="*/ 2147483647 w 2093"/>
              <a:gd name="T7" fmla="*/ 2147483647 h 1044"/>
              <a:gd name="T8" fmla="*/ 2147483647 w 2093"/>
              <a:gd name="T9" fmla="*/ 2147483647 h 1044"/>
              <a:gd name="T10" fmla="*/ 2147483647 w 2093"/>
              <a:gd name="T11" fmla="*/ 2147483647 h 1044"/>
              <a:gd name="T12" fmla="*/ 2147483647 w 2093"/>
              <a:gd name="T13" fmla="*/ 2147483647 h 1044"/>
              <a:gd name="T14" fmla="*/ 2147483647 w 2093"/>
              <a:gd name="T15" fmla="*/ 2147483647 h 1044"/>
              <a:gd name="T16" fmla="*/ 2147483647 w 2093"/>
              <a:gd name="T17" fmla="*/ 2147483647 h 1044"/>
              <a:gd name="T18" fmla="*/ 2147483647 w 2093"/>
              <a:gd name="T19" fmla="*/ 2147483647 h 1044"/>
              <a:gd name="T20" fmla="*/ 2147483647 w 2093"/>
              <a:gd name="T21" fmla="*/ 2147483647 h 1044"/>
              <a:gd name="T22" fmla="*/ 2147483647 w 2093"/>
              <a:gd name="T23" fmla="*/ 2147483647 h 1044"/>
              <a:gd name="T24" fmla="*/ 2147483647 w 2093"/>
              <a:gd name="T25" fmla="*/ 2147483647 h 1044"/>
              <a:gd name="T26" fmla="*/ 2147483647 w 2093"/>
              <a:gd name="T27" fmla="*/ 2147483647 h 1044"/>
              <a:gd name="T28" fmla="*/ 2147483647 w 2093"/>
              <a:gd name="T29" fmla="*/ 2147483647 h 1044"/>
              <a:gd name="T30" fmla="*/ 2147483647 w 2093"/>
              <a:gd name="T31" fmla="*/ 2147483647 h 1044"/>
              <a:gd name="T32" fmla="*/ 2147483647 w 2093"/>
              <a:gd name="T33" fmla="*/ 2147483647 h 1044"/>
              <a:gd name="T34" fmla="*/ 2147483647 w 2093"/>
              <a:gd name="T35" fmla="*/ 2147483647 h 1044"/>
              <a:gd name="T36" fmla="*/ 0 w 2093"/>
              <a:gd name="T37" fmla="*/ 2147483647 h 1044"/>
              <a:gd name="T38" fmla="*/ 2147483647 w 2093"/>
              <a:gd name="T39" fmla="*/ 2147483647 h 1044"/>
              <a:gd name="T40" fmla="*/ 2147483647 w 2093"/>
              <a:gd name="T41" fmla="*/ 2147483647 h 1044"/>
              <a:gd name="T42" fmla="*/ 2147483647 w 2093"/>
              <a:gd name="T43" fmla="*/ 2147483647 h 1044"/>
              <a:gd name="T44" fmla="*/ 2147483647 w 2093"/>
              <a:gd name="T45" fmla="*/ 2147483647 h 1044"/>
              <a:gd name="T46" fmla="*/ 2147483647 w 2093"/>
              <a:gd name="T47" fmla="*/ 2147483647 h 1044"/>
              <a:gd name="T48" fmla="*/ 2147483647 w 2093"/>
              <a:gd name="T49" fmla="*/ 2147483647 h 1044"/>
              <a:gd name="T50" fmla="*/ 2147483647 w 2093"/>
              <a:gd name="T51" fmla="*/ 2147483647 h 1044"/>
              <a:gd name="T52" fmla="*/ 2147483647 w 2093"/>
              <a:gd name="T53" fmla="*/ 2147483647 h 1044"/>
              <a:gd name="T54" fmla="*/ 2147483647 w 2093"/>
              <a:gd name="T55" fmla="*/ 2147483647 h 1044"/>
              <a:gd name="T56" fmla="*/ 2147483647 w 2093"/>
              <a:gd name="T57" fmla="*/ 2147483647 h 1044"/>
              <a:gd name="T58" fmla="*/ 2147483647 w 2093"/>
              <a:gd name="T59" fmla="*/ 2147483647 h 1044"/>
              <a:gd name="T60" fmla="*/ 2147483647 w 2093"/>
              <a:gd name="T61" fmla="*/ 2147483647 h 1044"/>
              <a:gd name="T62" fmla="*/ 2147483647 w 2093"/>
              <a:gd name="T63" fmla="*/ 2147483647 h 1044"/>
              <a:gd name="T64" fmla="*/ 2147483647 w 2093"/>
              <a:gd name="T65" fmla="*/ 2147483647 h 1044"/>
              <a:gd name="T66" fmla="*/ 2147483647 w 2093"/>
              <a:gd name="T67" fmla="*/ 2147483647 h 1044"/>
              <a:gd name="T68" fmla="*/ 2147483647 w 2093"/>
              <a:gd name="T69" fmla="*/ 2147483647 h 1044"/>
              <a:gd name="T70" fmla="*/ 2147483647 w 2093"/>
              <a:gd name="T71" fmla="*/ 2147483647 h 1044"/>
              <a:gd name="T72" fmla="*/ 2147483647 w 2093"/>
              <a:gd name="T73" fmla="*/ 2147483647 h 1044"/>
              <a:gd name="T74" fmla="*/ 2147483647 w 2093"/>
              <a:gd name="T75" fmla="*/ 2147483647 h 1044"/>
              <a:gd name="T76" fmla="*/ 2147483647 w 2093"/>
              <a:gd name="T77" fmla="*/ 2147483647 h 1044"/>
              <a:gd name="T78" fmla="*/ 2147483647 w 2093"/>
              <a:gd name="T79" fmla="*/ 2147483647 h 1044"/>
              <a:gd name="T80" fmla="*/ 2147483647 w 2093"/>
              <a:gd name="T81" fmla="*/ 2147483647 h 1044"/>
              <a:gd name="T82" fmla="*/ 2147483647 w 2093"/>
              <a:gd name="T83" fmla="*/ 2147483647 h 1044"/>
              <a:gd name="T84" fmla="*/ 2147483647 w 2093"/>
              <a:gd name="T85" fmla="*/ 2147483647 h 1044"/>
              <a:gd name="T86" fmla="*/ 2147483647 w 2093"/>
              <a:gd name="T87" fmla="*/ 2147483647 h 1044"/>
              <a:gd name="T88" fmla="*/ 2147483647 w 2093"/>
              <a:gd name="T89" fmla="*/ 2147483647 h 1044"/>
              <a:gd name="T90" fmla="*/ 2147483647 w 2093"/>
              <a:gd name="T91" fmla="*/ 2147483647 h 1044"/>
              <a:gd name="T92" fmla="*/ 2147483647 w 2093"/>
              <a:gd name="T93" fmla="*/ 2147483647 h 1044"/>
              <a:gd name="T94" fmla="*/ 2147483647 w 2093"/>
              <a:gd name="T95" fmla="*/ 2147483647 h 1044"/>
              <a:gd name="T96" fmla="*/ 2147483647 w 2093"/>
              <a:gd name="T97" fmla="*/ 2147483647 h 1044"/>
              <a:gd name="T98" fmla="*/ 2147483647 w 2093"/>
              <a:gd name="T99" fmla="*/ 2147483647 h 1044"/>
              <a:gd name="T100" fmla="*/ 2147483647 w 2093"/>
              <a:gd name="T101" fmla="*/ 2147483647 h 1044"/>
              <a:gd name="T102" fmla="*/ 2147483647 w 2093"/>
              <a:gd name="T103" fmla="*/ 2147483647 h 1044"/>
              <a:gd name="T104" fmla="*/ 2147483647 w 2093"/>
              <a:gd name="T105" fmla="*/ 2147483647 h 1044"/>
              <a:gd name="T106" fmla="*/ 2147483647 w 2093"/>
              <a:gd name="T107" fmla="*/ 2147483647 h 1044"/>
              <a:gd name="T108" fmla="*/ 2147483647 w 2093"/>
              <a:gd name="T109" fmla="*/ 2147483647 h 1044"/>
              <a:gd name="T110" fmla="*/ 2147483647 w 2093"/>
              <a:gd name="T111" fmla="*/ 2147483647 h 1044"/>
              <a:gd name="T112" fmla="*/ 2147483647 w 2093"/>
              <a:gd name="T113" fmla="*/ 2147483647 h 1044"/>
              <a:gd name="T114" fmla="*/ 2147483647 w 2093"/>
              <a:gd name="T115" fmla="*/ 2147483647 h 1044"/>
              <a:gd name="T116" fmla="*/ 2147483647 w 2093"/>
              <a:gd name="T117" fmla="*/ 2147483647 h 1044"/>
              <a:gd name="T118" fmla="*/ 2147483647 w 2093"/>
              <a:gd name="T119" fmla="*/ 2147483647 h 1044"/>
              <a:gd name="T120" fmla="*/ 2147483647 w 2093"/>
              <a:gd name="T121" fmla="*/ 2147483647 h 1044"/>
              <a:gd name="T122" fmla="*/ 2147483647 w 2093"/>
              <a:gd name="T123" fmla="*/ 2147483647 h 1044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093"/>
              <a:gd name="T187" fmla="*/ 0 h 1044"/>
              <a:gd name="T188" fmla="*/ 2093 w 2093"/>
              <a:gd name="T189" fmla="*/ 1044 h 1044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093" h="1044">
                <a:moveTo>
                  <a:pt x="1063" y="194"/>
                </a:moveTo>
                <a:lnTo>
                  <a:pt x="1055" y="201"/>
                </a:lnTo>
                <a:lnTo>
                  <a:pt x="1063" y="218"/>
                </a:lnTo>
                <a:lnTo>
                  <a:pt x="1030" y="235"/>
                </a:lnTo>
                <a:lnTo>
                  <a:pt x="1023" y="235"/>
                </a:lnTo>
                <a:lnTo>
                  <a:pt x="1030" y="210"/>
                </a:lnTo>
                <a:lnTo>
                  <a:pt x="1111" y="138"/>
                </a:lnTo>
                <a:lnTo>
                  <a:pt x="1111" y="88"/>
                </a:lnTo>
                <a:lnTo>
                  <a:pt x="1080" y="57"/>
                </a:lnTo>
                <a:lnTo>
                  <a:pt x="1038" y="57"/>
                </a:lnTo>
                <a:lnTo>
                  <a:pt x="1038" y="73"/>
                </a:lnTo>
                <a:lnTo>
                  <a:pt x="1014" y="73"/>
                </a:lnTo>
                <a:lnTo>
                  <a:pt x="1030" y="41"/>
                </a:lnTo>
                <a:lnTo>
                  <a:pt x="989" y="33"/>
                </a:lnTo>
                <a:lnTo>
                  <a:pt x="1014" y="16"/>
                </a:lnTo>
                <a:lnTo>
                  <a:pt x="989" y="0"/>
                </a:lnTo>
                <a:lnTo>
                  <a:pt x="949" y="41"/>
                </a:lnTo>
                <a:lnTo>
                  <a:pt x="949" y="73"/>
                </a:lnTo>
                <a:lnTo>
                  <a:pt x="924" y="73"/>
                </a:lnTo>
                <a:lnTo>
                  <a:pt x="852" y="88"/>
                </a:lnTo>
                <a:lnTo>
                  <a:pt x="787" y="128"/>
                </a:lnTo>
                <a:lnTo>
                  <a:pt x="762" y="162"/>
                </a:lnTo>
                <a:lnTo>
                  <a:pt x="769" y="201"/>
                </a:lnTo>
                <a:lnTo>
                  <a:pt x="682" y="218"/>
                </a:lnTo>
                <a:lnTo>
                  <a:pt x="688" y="266"/>
                </a:lnTo>
                <a:lnTo>
                  <a:pt x="713" y="290"/>
                </a:lnTo>
                <a:lnTo>
                  <a:pt x="697" y="299"/>
                </a:lnTo>
                <a:lnTo>
                  <a:pt x="673" y="266"/>
                </a:lnTo>
                <a:lnTo>
                  <a:pt x="648" y="259"/>
                </a:lnTo>
                <a:lnTo>
                  <a:pt x="640" y="266"/>
                </a:lnTo>
                <a:lnTo>
                  <a:pt x="625" y="250"/>
                </a:lnTo>
                <a:lnTo>
                  <a:pt x="608" y="235"/>
                </a:lnTo>
                <a:lnTo>
                  <a:pt x="608" y="243"/>
                </a:lnTo>
                <a:lnTo>
                  <a:pt x="616" y="266"/>
                </a:lnTo>
                <a:lnTo>
                  <a:pt x="591" y="307"/>
                </a:lnTo>
                <a:lnTo>
                  <a:pt x="608" y="340"/>
                </a:lnTo>
                <a:lnTo>
                  <a:pt x="600" y="372"/>
                </a:lnTo>
                <a:lnTo>
                  <a:pt x="600" y="396"/>
                </a:lnTo>
                <a:lnTo>
                  <a:pt x="608" y="405"/>
                </a:lnTo>
                <a:lnTo>
                  <a:pt x="616" y="446"/>
                </a:lnTo>
                <a:lnTo>
                  <a:pt x="567" y="486"/>
                </a:lnTo>
                <a:lnTo>
                  <a:pt x="560" y="477"/>
                </a:lnTo>
                <a:lnTo>
                  <a:pt x="591" y="437"/>
                </a:lnTo>
                <a:lnTo>
                  <a:pt x="600" y="412"/>
                </a:lnTo>
                <a:lnTo>
                  <a:pt x="585" y="396"/>
                </a:lnTo>
                <a:lnTo>
                  <a:pt x="585" y="315"/>
                </a:lnTo>
                <a:lnTo>
                  <a:pt x="576" y="299"/>
                </a:lnTo>
                <a:lnTo>
                  <a:pt x="585" y="250"/>
                </a:lnTo>
                <a:lnTo>
                  <a:pt x="567" y="243"/>
                </a:lnTo>
                <a:lnTo>
                  <a:pt x="576" y="235"/>
                </a:lnTo>
                <a:lnTo>
                  <a:pt x="567" y="218"/>
                </a:lnTo>
                <a:lnTo>
                  <a:pt x="551" y="225"/>
                </a:lnTo>
                <a:lnTo>
                  <a:pt x="511" y="331"/>
                </a:lnTo>
                <a:lnTo>
                  <a:pt x="511" y="372"/>
                </a:lnTo>
                <a:lnTo>
                  <a:pt x="535" y="405"/>
                </a:lnTo>
                <a:lnTo>
                  <a:pt x="535" y="421"/>
                </a:lnTo>
                <a:lnTo>
                  <a:pt x="511" y="405"/>
                </a:lnTo>
                <a:lnTo>
                  <a:pt x="414" y="340"/>
                </a:lnTo>
                <a:lnTo>
                  <a:pt x="405" y="356"/>
                </a:lnTo>
                <a:lnTo>
                  <a:pt x="438" y="396"/>
                </a:lnTo>
                <a:lnTo>
                  <a:pt x="421" y="405"/>
                </a:lnTo>
                <a:lnTo>
                  <a:pt x="414" y="396"/>
                </a:lnTo>
                <a:lnTo>
                  <a:pt x="364" y="412"/>
                </a:lnTo>
                <a:lnTo>
                  <a:pt x="356" y="427"/>
                </a:lnTo>
                <a:lnTo>
                  <a:pt x="349" y="412"/>
                </a:lnTo>
                <a:lnTo>
                  <a:pt x="349" y="396"/>
                </a:lnTo>
                <a:lnTo>
                  <a:pt x="267" y="446"/>
                </a:lnTo>
                <a:lnTo>
                  <a:pt x="267" y="461"/>
                </a:lnTo>
                <a:lnTo>
                  <a:pt x="250" y="469"/>
                </a:lnTo>
                <a:lnTo>
                  <a:pt x="227" y="452"/>
                </a:lnTo>
                <a:lnTo>
                  <a:pt x="250" y="437"/>
                </a:lnTo>
                <a:lnTo>
                  <a:pt x="243" y="412"/>
                </a:lnTo>
                <a:lnTo>
                  <a:pt x="210" y="405"/>
                </a:lnTo>
                <a:lnTo>
                  <a:pt x="219" y="421"/>
                </a:lnTo>
                <a:lnTo>
                  <a:pt x="219" y="461"/>
                </a:lnTo>
                <a:lnTo>
                  <a:pt x="227" y="477"/>
                </a:lnTo>
                <a:lnTo>
                  <a:pt x="219" y="493"/>
                </a:lnTo>
                <a:lnTo>
                  <a:pt x="194" y="486"/>
                </a:lnTo>
                <a:lnTo>
                  <a:pt x="162" y="509"/>
                </a:lnTo>
                <a:lnTo>
                  <a:pt x="178" y="542"/>
                </a:lnTo>
                <a:lnTo>
                  <a:pt x="128" y="526"/>
                </a:lnTo>
                <a:lnTo>
                  <a:pt x="122" y="533"/>
                </a:lnTo>
                <a:lnTo>
                  <a:pt x="138" y="558"/>
                </a:lnTo>
                <a:lnTo>
                  <a:pt x="122" y="558"/>
                </a:lnTo>
                <a:lnTo>
                  <a:pt x="97" y="542"/>
                </a:lnTo>
                <a:lnTo>
                  <a:pt x="97" y="493"/>
                </a:lnTo>
                <a:lnTo>
                  <a:pt x="73" y="477"/>
                </a:lnTo>
                <a:lnTo>
                  <a:pt x="63" y="461"/>
                </a:lnTo>
                <a:lnTo>
                  <a:pt x="81" y="469"/>
                </a:lnTo>
                <a:lnTo>
                  <a:pt x="147" y="493"/>
                </a:lnTo>
                <a:lnTo>
                  <a:pt x="187" y="469"/>
                </a:lnTo>
                <a:lnTo>
                  <a:pt x="178" y="446"/>
                </a:lnTo>
                <a:lnTo>
                  <a:pt x="128" y="396"/>
                </a:lnTo>
                <a:lnTo>
                  <a:pt x="81" y="380"/>
                </a:lnTo>
                <a:lnTo>
                  <a:pt x="81" y="372"/>
                </a:lnTo>
                <a:lnTo>
                  <a:pt x="63" y="364"/>
                </a:lnTo>
                <a:lnTo>
                  <a:pt x="48" y="372"/>
                </a:lnTo>
                <a:lnTo>
                  <a:pt x="23" y="396"/>
                </a:lnTo>
                <a:lnTo>
                  <a:pt x="23" y="421"/>
                </a:lnTo>
                <a:lnTo>
                  <a:pt x="41" y="437"/>
                </a:lnTo>
                <a:lnTo>
                  <a:pt x="32" y="461"/>
                </a:lnTo>
                <a:lnTo>
                  <a:pt x="41" y="501"/>
                </a:lnTo>
                <a:lnTo>
                  <a:pt x="32" y="526"/>
                </a:lnTo>
                <a:lnTo>
                  <a:pt x="48" y="551"/>
                </a:lnTo>
                <a:lnTo>
                  <a:pt x="41" y="566"/>
                </a:lnTo>
                <a:lnTo>
                  <a:pt x="57" y="583"/>
                </a:lnTo>
                <a:lnTo>
                  <a:pt x="57" y="591"/>
                </a:lnTo>
                <a:lnTo>
                  <a:pt x="32" y="632"/>
                </a:lnTo>
                <a:lnTo>
                  <a:pt x="8" y="648"/>
                </a:lnTo>
                <a:lnTo>
                  <a:pt x="16" y="648"/>
                </a:lnTo>
                <a:lnTo>
                  <a:pt x="32" y="663"/>
                </a:lnTo>
                <a:lnTo>
                  <a:pt x="16" y="679"/>
                </a:lnTo>
                <a:lnTo>
                  <a:pt x="8" y="688"/>
                </a:lnTo>
                <a:lnTo>
                  <a:pt x="0" y="688"/>
                </a:lnTo>
                <a:lnTo>
                  <a:pt x="8" y="713"/>
                </a:lnTo>
                <a:lnTo>
                  <a:pt x="8" y="720"/>
                </a:lnTo>
                <a:lnTo>
                  <a:pt x="8" y="736"/>
                </a:lnTo>
                <a:lnTo>
                  <a:pt x="16" y="753"/>
                </a:lnTo>
                <a:lnTo>
                  <a:pt x="41" y="760"/>
                </a:lnTo>
                <a:lnTo>
                  <a:pt x="48" y="769"/>
                </a:lnTo>
                <a:lnTo>
                  <a:pt x="48" y="785"/>
                </a:lnTo>
                <a:lnTo>
                  <a:pt x="63" y="810"/>
                </a:lnTo>
                <a:lnTo>
                  <a:pt x="73" y="810"/>
                </a:lnTo>
                <a:lnTo>
                  <a:pt x="63" y="825"/>
                </a:lnTo>
                <a:lnTo>
                  <a:pt x="57" y="818"/>
                </a:lnTo>
                <a:lnTo>
                  <a:pt x="57" y="825"/>
                </a:lnTo>
                <a:lnTo>
                  <a:pt x="63" y="841"/>
                </a:lnTo>
                <a:lnTo>
                  <a:pt x="88" y="841"/>
                </a:lnTo>
                <a:lnTo>
                  <a:pt x="97" y="850"/>
                </a:lnTo>
                <a:lnTo>
                  <a:pt x="88" y="850"/>
                </a:lnTo>
                <a:lnTo>
                  <a:pt x="97" y="859"/>
                </a:lnTo>
                <a:lnTo>
                  <a:pt x="105" y="859"/>
                </a:lnTo>
                <a:lnTo>
                  <a:pt x="113" y="874"/>
                </a:lnTo>
                <a:lnTo>
                  <a:pt x="122" y="882"/>
                </a:lnTo>
                <a:lnTo>
                  <a:pt x="128" y="874"/>
                </a:lnTo>
                <a:lnTo>
                  <a:pt x="170" y="899"/>
                </a:lnTo>
                <a:lnTo>
                  <a:pt x="162" y="931"/>
                </a:lnTo>
                <a:lnTo>
                  <a:pt x="153" y="922"/>
                </a:lnTo>
                <a:lnTo>
                  <a:pt x="147" y="931"/>
                </a:lnTo>
                <a:lnTo>
                  <a:pt x="147" y="947"/>
                </a:lnTo>
                <a:lnTo>
                  <a:pt x="153" y="939"/>
                </a:lnTo>
                <a:lnTo>
                  <a:pt x="162" y="947"/>
                </a:lnTo>
                <a:lnTo>
                  <a:pt x="138" y="955"/>
                </a:lnTo>
                <a:lnTo>
                  <a:pt x="147" y="962"/>
                </a:lnTo>
                <a:lnTo>
                  <a:pt x="128" y="980"/>
                </a:lnTo>
                <a:lnTo>
                  <a:pt x="162" y="1012"/>
                </a:lnTo>
                <a:lnTo>
                  <a:pt x="202" y="1012"/>
                </a:lnTo>
                <a:lnTo>
                  <a:pt x="219" y="1021"/>
                </a:lnTo>
                <a:lnTo>
                  <a:pt x="234" y="1021"/>
                </a:lnTo>
                <a:lnTo>
                  <a:pt x="250" y="1036"/>
                </a:lnTo>
                <a:lnTo>
                  <a:pt x="259" y="1044"/>
                </a:lnTo>
                <a:lnTo>
                  <a:pt x="267" y="1044"/>
                </a:lnTo>
                <a:lnTo>
                  <a:pt x="275" y="1036"/>
                </a:lnTo>
                <a:lnTo>
                  <a:pt x="259" y="1021"/>
                </a:lnTo>
                <a:lnTo>
                  <a:pt x="259" y="1002"/>
                </a:lnTo>
                <a:lnTo>
                  <a:pt x="250" y="987"/>
                </a:lnTo>
                <a:lnTo>
                  <a:pt x="267" y="962"/>
                </a:lnTo>
                <a:lnTo>
                  <a:pt x="275" y="971"/>
                </a:lnTo>
                <a:lnTo>
                  <a:pt x="284" y="962"/>
                </a:lnTo>
                <a:lnTo>
                  <a:pt x="284" y="955"/>
                </a:lnTo>
                <a:lnTo>
                  <a:pt x="275" y="955"/>
                </a:lnTo>
                <a:lnTo>
                  <a:pt x="284" y="947"/>
                </a:lnTo>
                <a:lnTo>
                  <a:pt x="275" y="931"/>
                </a:lnTo>
                <a:lnTo>
                  <a:pt x="259" y="931"/>
                </a:lnTo>
                <a:lnTo>
                  <a:pt x="250" y="915"/>
                </a:lnTo>
                <a:lnTo>
                  <a:pt x="259" y="874"/>
                </a:lnTo>
                <a:lnTo>
                  <a:pt x="275" y="890"/>
                </a:lnTo>
                <a:lnTo>
                  <a:pt x="284" y="890"/>
                </a:lnTo>
                <a:lnTo>
                  <a:pt x="275" y="874"/>
                </a:lnTo>
                <a:lnTo>
                  <a:pt x="299" y="850"/>
                </a:lnTo>
                <a:lnTo>
                  <a:pt x="315" y="859"/>
                </a:lnTo>
                <a:lnTo>
                  <a:pt x="324" y="850"/>
                </a:lnTo>
                <a:lnTo>
                  <a:pt x="340" y="859"/>
                </a:lnTo>
                <a:lnTo>
                  <a:pt x="364" y="874"/>
                </a:lnTo>
                <a:lnTo>
                  <a:pt x="381" y="865"/>
                </a:lnTo>
                <a:lnTo>
                  <a:pt x="398" y="865"/>
                </a:lnTo>
                <a:lnTo>
                  <a:pt x="405" y="874"/>
                </a:lnTo>
                <a:lnTo>
                  <a:pt x="438" y="874"/>
                </a:lnTo>
                <a:lnTo>
                  <a:pt x="446" y="859"/>
                </a:lnTo>
                <a:lnTo>
                  <a:pt x="421" y="850"/>
                </a:lnTo>
                <a:lnTo>
                  <a:pt x="438" y="841"/>
                </a:lnTo>
                <a:lnTo>
                  <a:pt x="429" y="834"/>
                </a:lnTo>
                <a:lnTo>
                  <a:pt x="438" y="825"/>
                </a:lnTo>
                <a:lnTo>
                  <a:pt x="438" y="800"/>
                </a:lnTo>
                <a:lnTo>
                  <a:pt x="454" y="810"/>
                </a:lnTo>
                <a:lnTo>
                  <a:pt x="526" y="785"/>
                </a:lnTo>
                <a:lnTo>
                  <a:pt x="526" y="778"/>
                </a:lnTo>
                <a:lnTo>
                  <a:pt x="535" y="778"/>
                </a:lnTo>
                <a:lnTo>
                  <a:pt x="560" y="778"/>
                </a:lnTo>
                <a:lnTo>
                  <a:pt x="567" y="794"/>
                </a:lnTo>
                <a:lnTo>
                  <a:pt x="567" y="800"/>
                </a:lnTo>
                <a:lnTo>
                  <a:pt x="576" y="800"/>
                </a:lnTo>
                <a:lnTo>
                  <a:pt x="591" y="810"/>
                </a:lnTo>
                <a:lnTo>
                  <a:pt x="591" y="818"/>
                </a:lnTo>
                <a:lnTo>
                  <a:pt x="608" y="818"/>
                </a:lnTo>
                <a:lnTo>
                  <a:pt x="625" y="800"/>
                </a:lnTo>
                <a:lnTo>
                  <a:pt x="640" y="794"/>
                </a:lnTo>
                <a:lnTo>
                  <a:pt x="648" y="818"/>
                </a:lnTo>
                <a:lnTo>
                  <a:pt x="682" y="874"/>
                </a:lnTo>
                <a:lnTo>
                  <a:pt x="688" y="859"/>
                </a:lnTo>
                <a:lnTo>
                  <a:pt x="697" y="874"/>
                </a:lnTo>
                <a:lnTo>
                  <a:pt x="722" y="865"/>
                </a:lnTo>
                <a:lnTo>
                  <a:pt x="747" y="890"/>
                </a:lnTo>
                <a:lnTo>
                  <a:pt x="762" y="899"/>
                </a:lnTo>
                <a:lnTo>
                  <a:pt x="762" y="890"/>
                </a:lnTo>
                <a:lnTo>
                  <a:pt x="778" y="907"/>
                </a:lnTo>
                <a:lnTo>
                  <a:pt x="787" y="899"/>
                </a:lnTo>
                <a:lnTo>
                  <a:pt x="827" y="874"/>
                </a:lnTo>
                <a:lnTo>
                  <a:pt x="859" y="882"/>
                </a:lnTo>
                <a:lnTo>
                  <a:pt x="875" y="890"/>
                </a:lnTo>
                <a:lnTo>
                  <a:pt x="908" y="890"/>
                </a:lnTo>
                <a:lnTo>
                  <a:pt x="908" y="859"/>
                </a:lnTo>
                <a:lnTo>
                  <a:pt x="924" y="850"/>
                </a:lnTo>
                <a:lnTo>
                  <a:pt x="958" y="859"/>
                </a:lnTo>
                <a:lnTo>
                  <a:pt x="973" y="882"/>
                </a:lnTo>
                <a:lnTo>
                  <a:pt x="983" y="882"/>
                </a:lnTo>
                <a:lnTo>
                  <a:pt x="998" y="874"/>
                </a:lnTo>
                <a:lnTo>
                  <a:pt x="1046" y="899"/>
                </a:lnTo>
                <a:lnTo>
                  <a:pt x="1070" y="907"/>
                </a:lnTo>
                <a:lnTo>
                  <a:pt x="1103" y="899"/>
                </a:lnTo>
                <a:lnTo>
                  <a:pt x="1120" y="882"/>
                </a:lnTo>
                <a:lnTo>
                  <a:pt x="1144" y="890"/>
                </a:lnTo>
                <a:lnTo>
                  <a:pt x="1160" y="899"/>
                </a:lnTo>
                <a:lnTo>
                  <a:pt x="1185" y="890"/>
                </a:lnTo>
                <a:lnTo>
                  <a:pt x="1192" y="859"/>
                </a:lnTo>
                <a:lnTo>
                  <a:pt x="1200" y="850"/>
                </a:lnTo>
                <a:lnTo>
                  <a:pt x="1200" y="841"/>
                </a:lnTo>
                <a:lnTo>
                  <a:pt x="1192" y="841"/>
                </a:lnTo>
                <a:lnTo>
                  <a:pt x="1200" y="825"/>
                </a:lnTo>
                <a:lnTo>
                  <a:pt x="1232" y="818"/>
                </a:lnTo>
                <a:lnTo>
                  <a:pt x="1257" y="825"/>
                </a:lnTo>
                <a:lnTo>
                  <a:pt x="1272" y="841"/>
                </a:lnTo>
                <a:lnTo>
                  <a:pt x="1290" y="899"/>
                </a:lnTo>
                <a:lnTo>
                  <a:pt x="1306" y="899"/>
                </a:lnTo>
                <a:lnTo>
                  <a:pt x="1331" y="915"/>
                </a:lnTo>
                <a:lnTo>
                  <a:pt x="1331" y="931"/>
                </a:lnTo>
                <a:lnTo>
                  <a:pt x="1347" y="931"/>
                </a:lnTo>
                <a:lnTo>
                  <a:pt x="1379" y="922"/>
                </a:lnTo>
                <a:lnTo>
                  <a:pt x="1379" y="939"/>
                </a:lnTo>
                <a:lnTo>
                  <a:pt x="1356" y="987"/>
                </a:lnTo>
                <a:lnTo>
                  <a:pt x="1347" y="980"/>
                </a:lnTo>
                <a:lnTo>
                  <a:pt x="1331" y="987"/>
                </a:lnTo>
                <a:lnTo>
                  <a:pt x="1331" y="1027"/>
                </a:lnTo>
                <a:lnTo>
                  <a:pt x="1337" y="1012"/>
                </a:lnTo>
                <a:lnTo>
                  <a:pt x="1347" y="1012"/>
                </a:lnTo>
                <a:lnTo>
                  <a:pt x="1347" y="1021"/>
                </a:lnTo>
                <a:lnTo>
                  <a:pt x="1356" y="1027"/>
                </a:lnTo>
                <a:lnTo>
                  <a:pt x="1379" y="1012"/>
                </a:lnTo>
                <a:lnTo>
                  <a:pt x="1452" y="922"/>
                </a:lnTo>
                <a:lnTo>
                  <a:pt x="1452" y="865"/>
                </a:lnTo>
                <a:lnTo>
                  <a:pt x="1461" y="850"/>
                </a:lnTo>
                <a:lnTo>
                  <a:pt x="1461" y="825"/>
                </a:lnTo>
                <a:lnTo>
                  <a:pt x="1443" y="800"/>
                </a:lnTo>
                <a:lnTo>
                  <a:pt x="1436" y="800"/>
                </a:lnTo>
                <a:lnTo>
                  <a:pt x="1428" y="818"/>
                </a:lnTo>
                <a:lnTo>
                  <a:pt x="1411" y="818"/>
                </a:lnTo>
                <a:lnTo>
                  <a:pt x="1419" y="800"/>
                </a:lnTo>
                <a:lnTo>
                  <a:pt x="1411" y="800"/>
                </a:lnTo>
                <a:lnTo>
                  <a:pt x="1403" y="794"/>
                </a:lnTo>
                <a:lnTo>
                  <a:pt x="1387" y="794"/>
                </a:lnTo>
                <a:lnTo>
                  <a:pt x="1387" y="785"/>
                </a:lnTo>
                <a:lnTo>
                  <a:pt x="1484" y="688"/>
                </a:lnTo>
                <a:lnTo>
                  <a:pt x="1518" y="679"/>
                </a:lnTo>
                <a:lnTo>
                  <a:pt x="1524" y="688"/>
                </a:lnTo>
                <a:lnTo>
                  <a:pt x="1533" y="679"/>
                </a:lnTo>
                <a:lnTo>
                  <a:pt x="1558" y="688"/>
                </a:lnTo>
                <a:lnTo>
                  <a:pt x="1565" y="672"/>
                </a:lnTo>
                <a:lnTo>
                  <a:pt x="1590" y="679"/>
                </a:lnTo>
                <a:lnTo>
                  <a:pt x="1598" y="679"/>
                </a:lnTo>
                <a:lnTo>
                  <a:pt x="1590" y="688"/>
                </a:lnTo>
                <a:lnTo>
                  <a:pt x="1590" y="695"/>
                </a:lnTo>
                <a:lnTo>
                  <a:pt x="1638" y="688"/>
                </a:lnTo>
                <a:lnTo>
                  <a:pt x="1630" y="679"/>
                </a:lnTo>
                <a:lnTo>
                  <a:pt x="1663" y="623"/>
                </a:lnTo>
                <a:lnTo>
                  <a:pt x="1704" y="614"/>
                </a:lnTo>
                <a:lnTo>
                  <a:pt x="1704" y="632"/>
                </a:lnTo>
                <a:lnTo>
                  <a:pt x="1704" y="648"/>
                </a:lnTo>
                <a:lnTo>
                  <a:pt x="1744" y="623"/>
                </a:lnTo>
                <a:lnTo>
                  <a:pt x="1744" y="598"/>
                </a:lnTo>
                <a:lnTo>
                  <a:pt x="1760" y="598"/>
                </a:lnTo>
                <a:lnTo>
                  <a:pt x="1754" y="608"/>
                </a:lnTo>
                <a:lnTo>
                  <a:pt x="1744" y="648"/>
                </a:lnTo>
                <a:lnTo>
                  <a:pt x="1729" y="655"/>
                </a:lnTo>
                <a:lnTo>
                  <a:pt x="1679" y="713"/>
                </a:lnTo>
                <a:lnTo>
                  <a:pt x="1663" y="720"/>
                </a:lnTo>
                <a:lnTo>
                  <a:pt x="1646" y="778"/>
                </a:lnTo>
                <a:lnTo>
                  <a:pt x="1663" y="874"/>
                </a:lnTo>
                <a:lnTo>
                  <a:pt x="1679" y="859"/>
                </a:lnTo>
                <a:lnTo>
                  <a:pt x="1704" y="825"/>
                </a:lnTo>
                <a:lnTo>
                  <a:pt x="1704" y="800"/>
                </a:lnTo>
                <a:lnTo>
                  <a:pt x="1711" y="800"/>
                </a:lnTo>
                <a:lnTo>
                  <a:pt x="1729" y="794"/>
                </a:lnTo>
                <a:lnTo>
                  <a:pt x="1729" y="769"/>
                </a:lnTo>
                <a:lnTo>
                  <a:pt x="1735" y="760"/>
                </a:lnTo>
                <a:lnTo>
                  <a:pt x="1744" y="760"/>
                </a:lnTo>
                <a:lnTo>
                  <a:pt x="1744" y="745"/>
                </a:lnTo>
                <a:lnTo>
                  <a:pt x="1744" y="728"/>
                </a:lnTo>
                <a:lnTo>
                  <a:pt x="1729" y="713"/>
                </a:lnTo>
                <a:lnTo>
                  <a:pt x="1744" y="688"/>
                </a:lnTo>
                <a:lnTo>
                  <a:pt x="1744" y="672"/>
                </a:lnTo>
                <a:lnTo>
                  <a:pt x="1760" y="672"/>
                </a:lnTo>
                <a:lnTo>
                  <a:pt x="1785" y="655"/>
                </a:lnTo>
                <a:lnTo>
                  <a:pt x="1785" y="672"/>
                </a:lnTo>
                <a:lnTo>
                  <a:pt x="1794" y="663"/>
                </a:lnTo>
                <a:lnTo>
                  <a:pt x="1817" y="655"/>
                </a:lnTo>
                <a:lnTo>
                  <a:pt x="1834" y="672"/>
                </a:lnTo>
                <a:lnTo>
                  <a:pt x="1841" y="655"/>
                </a:lnTo>
                <a:lnTo>
                  <a:pt x="1922" y="598"/>
                </a:lnTo>
                <a:lnTo>
                  <a:pt x="1946" y="608"/>
                </a:lnTo>
                <a:lnTo>
                  <a:pt x="1956" y="598"/>
                </a:lnTo>
                <a:lnTo>
                  <a:pt x="1938" y="551"/>
                </a:lnTo>
                <a:lnTo>
                  <a:pt x="1931" y="551"/>
                </a:lnTo>
                <a:lnTo>
                  <a:pt x="1931" y="533"/>
                </a:lnTo>
                <a:lnTo>
                  <a:pt x="1938" y="533"/>
                </a:lnTo>
                <a:lnTo>
                  <a:pt x="1956" y="526"/>
                </a:lnTo>
                <a:lnTo>
                  <a:pt x="1971" y="509"/>
                </a:lnTo>
                <a:lnTo>
                  <a:pt x="1963" y="493"/>
                </a:lnTo>
                <a:lnTo>
                  <a:pt x="1971" y="486"/>
                </a:lnTo>
                <a:lnTo>
                  <a:pt x="1980" y="509"/>
                </a:lnTo>
                <a:lnTo>
                  <a:pt x="1996" y="509"/>
                </a:lnTo>
                <a:lnTo>
                  <a:pt x="2011" y="526"/>
                </a:lnTo>
                <a:lnTo>
                  <a:pt x="2053" y="551"/>
                </a:lnTo>
                <a:lnTo>
                  <a:pt x="2061" y="526"/>
                </a:lnTo>
                <a:lnTo>
                  <a:pt x="2061" y="509"/>
                </a:lnTo>
                <a:lnTo>
                  <a:pt x="2077" y="509"/>
                </a:lnTo>
                <a:lnTo>
                  <a:pt x="2093" y="493"/>
                </a:lnTo>
                <a:lnTo>
                  <a:pt x="2068" y="469"/>
                </a:lnTo>
                <a:lnTo>
                  <a:pt x="2028" y="461"/>
                </a:lnTo>
                <a:lnTo>
                  <a:pt x="1956" y="396"/>
                </a:lnTo>
                <a:lnTo>
                  <a:pt x="1906" y="364"/>
                </a:lnTo>
                <a:lnTo>
                  <a:pt x="1841" y="356"/>
                </a:lnTo>
                <a:lnTo>
                  <a:pt x="1841" y="396"/>
                </a:lnTo>
                <a:lnTo>
                  <a:pt x="1825" y="405"/>
                </a:lnTo>
                <a:lnTo>
                  <a:pt x="1809" y="387"/>
                </a:lnTo>
                <a:lnTo>
                  <a:pt x="1809" y="372"/>
                </a:lnTo>
                <a:lnTo>
                  <a:pt x="1817" y="372"/>
                </a:lnTo>
                <a:lnTo>
                  <a:pt x="1825" y="364"/>
                </a:lnTo>
                <a:lnTo>
                  <a:pt x="1809" y="364"/>
                </a:lnTo>
                <a:lnTo>
                  <a:pt x="1794" y="380"/>
                </a:lnTo>
                <a:lnTo>
                  <a:pt x="1754" y="372"/>
                </a:lnTo>
                <a:lnTo>
                  <a:pt x="1711" y="372"/>
                </a:lnTo>
                <a:lnTo>
                  <a:pt x="1695" y="364"/>
                </a:lnTo>
                <a:lnTo>
                  <a:pt x="1704" y="349"/>
                </a:lnTo>
                <a:lnTo>
                  <a:pt x="1688" y="324"/>
                </a:lnTo>
                <a:lnTo>
                  <a:pt x="1655" y="315"/>
                </a:lnTo>
                <a:lnTo>
                  <a:pt x="1605" y="331"/>
                </a:lnTo>
                <a:lnTo>
                  <a:pt x="1598" y="307"/>
                </a:lnTo>
                <a:lnTo>
                  <a:pt x="1583" y="307"/>
                </a:lnTo>
                <a:lnTo>
                  <a:pt x="1573" y="299"/>
                </a:lnTo>
                <a:lnTo>
                  <a:pt x="1573" y="275"/>
                </a:lnTo>
                <a:lnTo>
                  <a:pt x="1518" y="259"/>
                </a:lnTo>
                <a:lnTo>
                  <a:pt x="1452" y="243"/>
                </a:lnTo>
                <a:lnTo>
                  <a:pt x="1436" y="275"/>
                </a:lnTo>
                <a:lnTo>
                  <a:pt x="1452" y="299"/>
                </a:lnTo>
                <a:lnTo>
                  <a:pt x="1396" y="299"/>
                </a:lnTo>
                <a:lnTo>
                  <a:pt x="1379" y="307"/>
                </a:lnTo>
                <a:lnTo>
                  <a:pt x="1356" y="284"/>
                </a:lnTo>
                <a:lnTo>
                  <a:pt x="1337" y="331"/>
                </a:lnTo>
                <a:lnTo>
                  <a:pt x="1322" y="324"/>
                </a:lnTo>
                <a:lnTo>
                  <a:pt x="1306" y="290"/>
                </a:lnTo>
                <a:lnTo>
                  <a:pt x="1315" y="250"/>
                </a:lnTo>
                <a:lnTo>
                  <a:pt x="1297" y="225"/>
                </a:lnTo>
                <a:lnTo>
                  <a:pt x="1250" y="210"/>
                </a:lnTo>
                <a:lnTo>
                  <a:pt x="1232" y="210"/>
                </a:lnTo>
                <a:lnTo>
                  <a:pt x="1225" y="225"/>
                </a:lnTo>
                <a:lnTo>
                  <a:pt x="1232" y="243"/>
                </a:lnTo>
                <a:lnTo>
                  <a:pt x="1167" y="235"/>
                </a:lnTo>
                <a:lnTo>
                  <a:pt x="1175" y="210"/>
                </a:lnTo>
                <a:lnTo>
                  <a:pt x="1135" y="201"/>
                </a:lnTo>
                <a:lnTo>
                  <a:pt x="1111" y="218"/>
                </a:lnTo>
                <a:lnTo>
                  <a:pt x="1063" y="194"/>
                </a:lnTo>
              </a:path>
            </a:pathLst>
          </a:custGeom>
          <a:solidFill>
            <a:srgbClr val="33CCFF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38" name="Freeform 58"/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4381500" y="3076575"/>
            <a:ext cx="538163" cy="627063"/>
          </a:xfrm>
          <a:custGeom>
            <a:avLst/>
            <a:gdLst>
              <a:gd name="T0" fmla="*/ 2147483647 w 343"/>
              <a:gd name="T1" fmla="*/ 2147483647 h 399"/>
              <a:gd name="T2" fmla="*/ 2147483647 w 343"/>
              <a:gd name="T3" fmla="*/ 2147483647 h 399"/>
              <a:gd name="T4" fmla="*/ 2147483647 w 343"/>
              <a:gd name="T5" fmla="*/ 2147483647 h 399"/>
              <a:gd name="T6" fmla="*/ 2147483647 w 343"/>
              <a:gd name="T7" fmla="*/ 2147483647 h 399"/>
              <a:gd name="T8" fmla="*/ 0 w 343"/>
              <a:gd name="T9" fmla="*/ 2147483647 h 399"/>
              <a:gd name="T10" fmla="*/ 0 w 343"/>
              <a:gd name="T11" fmla="*/ 2147483647 h 399"/>
              <a:gd name="T12" fmla="*/ 2147483647 w 343"/>
              <a:gd name="T13" fmla="*/ 2147483647 h 399"/>
              <a:gd name="T14" fmla="*/ 2147483647 w 343"/>
              <a:gd name="T15" fmla="*/ 2147483647 h 399"/>
              <a:gd name="T16" fmla="*/ 2147483647 w 343"/>
              <a:gd name="T17" fmla="*/ 2147483647 h 399"/>
              <a:gd name="T18" fmla="*/ 2147483647 w 343"/>
              <a:gd name="T19" fmla="*/ 2147483647 h 399"/>
              <a:gd name="T20" fmla="*/ 2147483647 w 343"/>
              <a:gd name="T21" fmla="*/ 2147483647 h 399"/>
              <a:gd name="T22" fmla="*/ 2147483647 w 343"/>
              <a:gd name="T23" fmla="*/ 2147483647 h 399"/>
              <a:gd name="T24" fmla="*/ 2147483647 w 343"/>
              <a:gd name="T25" fmla="*/ 2147483647 h 399"/>
              <a:gd name="T26" fmla="*/ 2147483647 w 343"/>
              <a:gd name="T27" fmla="*/ 2147483647 h 399"/>
              <a:gd name="T28" fmla="*/ 2147483647 w 343"/>
              <a:gd name="T29" fmla="*/ 2147483647 h 399"/>
              <a:gd name="T30" fmla="*/ 2147483647 w 343"/>
              <a:gd name="T31" fmla="*/ 2147483647 h 399"/>
              <a:gd name="T32" fmla="*/ 2147483647 w 343"/>
              <a:gd name="T33" fmla="*/ 2147483647 h 399"/>
              <a:gd name="T34" fmla="*/ 2147483647 w 343"/>
              <a:gd name="T35" fmla="*/ 0 h 399"/>
              <a:gd name="T36" fmla="*/ 2147483647 w 343"/>
              <a:gd name="T37" fmla="*/ 2147483647 h 399"/>
              <a:gd name="T38" fmla="*/ 2147483647 w 343"/>
              <a:gd name="T39" fmla="*/ 2147483647 h 399"/>
              <a:gd name="T40" fmla="*/ 2147483647 w 343"/>
              <a:gd name="T41" fmla="*/ 2147483647 h 399"/>
              <a:gd name="T42" fmla="*/ 2147483647 w 343"/>
              <a:gd name="T43" fmla="*/ 2147483647 h 399"/>
              <a:gd name="T44" fmla="*/ 2147483647 w 343"/>
              <a:gd name="T45" fmla="*/ 2147483647 h 399"/>
              <a:gd name="T46" fmla="*/ 2147483647 w 343"/>
              <a:gd name="T47" fmla="*/ 2147483647 h 399"/>
              <a:gd name="T48" fmla="*/ 2147483647 w 343"/>
              <a:gd name="T49" fmla="*/ 2147483647 h 399"/>
              <a:gd name="T50" fmla="*/ 2147483647 w 343"/>
              <a:gd name="T51" fmla="*/ 2147483647 h 399"/>
              <a:gd name="T52" fmla="*/ 2147483647 w 343"/>
              <a:gd name="T53" fmla="*/ 2147483647 h 399"/>
              <a:gd name="T54" fmla="*/ 2147483647 w 343"/>
              <a:gd name="T55" fmla="*/ 2147483647 h 399"/>
              <a:gd name="T56" fmla="*/ 2147483647 w 343"/>
              <a:gd name="T57" fmla="*/ 2147483647 h 399"/>
              <a:gd name="T58" fmla="*/ 2147483647 w 343"/>
              <a:gd name="T59" fmla="*/ 2147483647 h 399"/>
              <a:gd name="T60" fmla="*/ 2147483647 w 343"/>
              <a:gd name="T61" fmla="*/ 2147483647 h 399"/>
              <a:gd name="T62" fmla="*/ 2147483647 w 343"/>
              <a:gd name="T63" fmla="*/ 2147483647 h 399"/>
              <a:gd name="T64" fmla="*/ 2147483647 w 343"/>
              <a:gd name="T65" fmla="*/ 2147483647 h 399"/>
              <a:gd name="T66" fmla="*/ 2147483647 w 343"/>
              <a:gd name="T67" fmla="*/ 2147483647 h 399"/>
              <a:gd name="T68" fmla="*/ 2147483647 w 343"/>
              <a:gd name="T69" fmla="*/ 2147483647 h 399"/>
              <a:gd name="T70" fmla="*/ 2147483647 w 343"/>
              <a:gd name="T71" fmla="*/ 2147483647 h 399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343"/>
              <a:gd name="T109" fmla="*/ 0 h 399"/>
              <a:gd name="T110" fmla="*/ 343 w 343"/>
              <a:gd name="T111" fmla="*/ 399 h 399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343" h="399">
                <a:moveTo>
                  <a:pt x="81" y="380"/>
                </a:moveTo>
                <a:lnTo>
                  <a:pt x="81" y="373"/>
                </a:lnTo>
                <a:lnTo>
                  <a:pt x="74" y="364"/>
                </a:lnTo>
                <a:lnTo>
                  <a:pt x="74" y="373"/>
                </a:lnTo>
                <a:lnTo>
                  <a:pt x="65" y="373"/>
                </a:lnTo>
                <a:lnTo>
                  <a:pt x="40" y="398"/>
                </a:lnTo>
                <a:lnTo>
                  <a:pt x="25" y="398"/>
                </a:lnTo>
                <a:lnTo>
                  <a:pt x="9" y="388"/>
                </a:lnTo>
                <a:lnTo>
                  <a:pt x="9" y="340"/>
                </a:lnTo>
                <a:lnTo>
                  <a:pt x="0" y="324"/>
                </a:lnTo>
                <a:lnTo>
                  <a:pt x="9" y="308"/>
                </a:lnTo>
                <a:lnTo>
                  <a:pt x="0" y="299"/>
                </a:lnTo>
                <a:lnTo>
                  <a:pt x="34" y="276"/>
                </a:lnTo>
                <a:lnTo>
                  <a:pt x="40" y="268"/>
                </a:lnTo>
                <a:lnTo>
                  <a:pt x="59" y="259"/>
                </a:lnTo>
                <a:lnTo>
                  <a:pt x="81" y="218"/>
                </a:lnTo>
                <a:lnTo>
                  <a:pt x="99" y="203"/>
                </a:lnTo>
                <a:lnTo>
                  <a:pt x="114" y="162"/>
                </a:lnTo>
                <a:lnTo>
                  <a:pt x="131" y="122"/>
                </a:lnTo>
                <a:lnTo>
                  <a:pt x="146" y="106"/>
                </a:lnTo>
                <a:lnTo>
                  <a:pt x="122" y="112"/>
                </a:lnTo>
                <a:lnTo>
                  <a:pt x="106" y="122"/>
                </a:lnTo>
                <a:lnTo>
                  <a:pt x="114" y="106"/>
                </a:lnTo>
                <a:lnTo>
                  <a:pt x="122" y="90"/>
                </a:lnTo>
                <a:lnTo>
                  <a:pt x="146" y="72"/>
                </a:lnTo>
                <a:lnTo>
                  <a:pt x="146" y="90"/>
                </a:lnTo>
                <a:lnTo>
                  <a:pt x="156" y="81"/>
                </a:lnTo>
                <a:lnTo>
                  <a:pt x="156" y="65"/>
                </a:lnTo>
                <a:lnTo>
                  <a:pt x="171" y="57"/>
                </a:lnTo>
                <a:lnTo>
                  <a:pt x="179" y="41"/>
                </a:lnTo>
                <a:lnTo>
                  <a:pt x="196" y="41"/>
                </a:lnTo>
                <a:lnTo>
                  <a:pt x="211" y="34"/>
                </a:lnTo>
                <a:lnTo>
                  <a:pt x="236" y="9"/>
                </a:lnTo>
                <a:lnTo>
                  <a:pt x="251" y="16"/>
                </a:lnTo>
                <a:lnTo>
                  <a:pt x="268" y="0"/>
                </a:lnTo>
                <a:lnTo>
                  <a:pt x="293" y="0"/>
                </a:lnTo>
                <a:lnTo>
                  <a:pt x="308" y="9"/>
                </a:lnTo>
                <a:lnTo>
                  <a:pt x="342" y="34"/>
                </a:lnTo>
                <a:lnTo>
                  <a:pt x="326" y="41"/>
                </a:lnTo>
                <a:lnTo>
                  <a:pt x="308" y="41"/>
                </a:lnTo>
                <a:lnTo>
                  <a:pt x="326" y="49"/>
                </a:lnTo>
                <a:lnTo>
                  <a:pt x="333" y="57"/>
                </a:lnTo>
                <a:lnTo>
                  <a:pt x="308" y="81"/>
                </a:lnTo>
                <a:lnTo>
                  <a:pt x="317" y="57"/>
                </a:lnTo>
                <a:lnTo>
                  <a:pt x="293" y="41"/>
                </a:lnTo>
                <a:lnTo>
                  <a:pt x="276" y="49"/>
                </a:lnTo>
                <a:lnTo>
                  <a:pt x="268" y="81"/>
                </a:lnTo>
                <a:lnTo>
                  <a:pt x="261" y="90"/>
                </a:lnTo>
                <a:lnTo>
                  <a:pt x="227" y="90"/>
                </a:lnTo>
                <a:lnTo>
                  <a:pt x="211" y="72"/>
                </a:lnTo>
                <a:lnTo>
                  <a:pt x="202" y="81"/>
                </a:lnTo>
                <a:lnTo>
                  <a:pt x="196" y="81"/>
                </a:lnTo>
                <a:lnTo>
                  <a:pt x="196" y="97"/>
                </a:lnTo>
                <a:lnTo>
                  <a:pt x="179" y="97"/>
                </a:lnTo>
                <a:lnTo>
                  <a:pt x="171" y="97"/>
                </a:lnTo>
                <a:lnTo>
                  <a:pt x="171" y="112"/>
                </a:lnTo>
                <a:lnTo>
                  <a:pt x="162" y="112"/>
                </a:lnTo>
                <a:lnTo>
                  <a:pt x="156" y="122"/>
                </a:lnTo>
                <a:lnTo>
                  <a:pt x="146" y="137"/>
                </a:lnTo>
                <a:lnTo>
                  <a:pt x="146" y="154"/>
                </a:lnTo>
                <a:lnTo>
                  <a:pt x="131" y="178"/>
                </a:lnTo>
                <a:lnTo>
                  <a:pt x="122" y="203"/>
                </a:lnTo>
                <a:lnTo>
                  <a:pt x="114" y="218"/>
                </a:lnTo>
                <a:lnTo>
                  <a:pt x="122" y="236"/>
                </a:lnTo>
                <a:lnTo>
                  <a:pt x="106" y="243"/>
                </a:lnTo>
                <a:lnTo>
                  <a:pt x="99" y="251"/>
                </a:lnTo>
                <a:lnTo>
                  <a:pt x="90" y="283"/>
                </a:lnTo>
                <a:lnTo>
                  <a:pt x="99" y="317"/>
                </a:lnTo>
                <a:lnTo>
                  <a:pt x="99" y="348"/>
                </a:lnTo>
                <a:lnTo>
                  <a:pt x="90" y="357"/>
                </a:lnTo>
                <a:lnTo>
                  <a:pt x="90" y="380"/>
                </a:lnTo>
                <a:lnTo>
                  <a:pt x="81" y="380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39" name="Freeform 60"/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2763838" y="5492750"/>
            <a:ext cx="168275" cy="914400"/>
          </a:xfrm>
          <a:custGeom>
            <a:avLst/>
            <a:gdLst>
              <a:gd name="T0" fmla="*/ 2147483647 w 107"/>
              <a:gd name="T1" fmla="*/ 0 h 583"/>
              <a:gd name="T2" fmla="*/ 2147483647 w 107"/>
              <a:gd name="T3" fmla="*/ 2147483647 h 583"/>
              <a:gd name="T4" fmla="*/ 2147483647 w 107"/>
              <a:gd name="T5" fmla="*/ 2147483647 h 583"/>
              <a:gd name="T6" fmla="*/ 2147483647 w 107"/>
              <a:gd name="T7" fmla="*/ 2147483647 h 583"/>
              <a:gd name="T8" fmla="*/ 2147483647 w 107"/>
              <a:gd name="T9" fmla="*/ 2147483647 h 583"/>
              <a:gd name="T10" fmla="*/ 2147483647 w 107"/>
              <a:gd name="T11" fmla="*/ 2147483647 h 583"/>
              <a:gd name="T12" fmla="*/ 2147483647 w 107"/>
              <a:gd name="T13" fmla="*/ 2147483647 h 583"/>
              <a:gd name="T14" fmla="*/ 2147483647 w 107"/>
              <a:gd name="T15" fmla="*/ 2147483647 h 583"/>
              <a:gd name="T16" fmla="*/ 2147483647 w 107"/>
              <a:gd name="T17" fmla="*/ 2147483647 h 583"/>
              <a:gd name="T18" fmla="*/ 2147483647 w 107"/>
              <a:gd name="T19" fmla="*/ 2147483647 h 583"/>
              <a:gd name="T20" fmla="*/ 2147483647 w 107"/>
              <a:gd name="T21" fmla="*/ 2147483647 h 583"/>
              <a:gd name="T22" fmla="*/ 2147483647 w 107"/>
              <a:gd name="T23" fmla="*/ 2147483647 h 583"/>
              <a:gd name="T24" fmla="*/ 2147483647 w 107"/>
              <a:gd name="T25" fmla="*/ 2147483647 h 583"/>
              <a:gd name="T26" fmla="*/ 2147483647 w 107"/>
              <a:gd name="T27" fmla="*/ 2147483647 h 583"/>
              <a:gd name="T28" fmla="*/ 2147483647 w 107"/>
              <a:gd name="T29" fmla="*/ 2147483647 h 583"/>
              <a:gd name="T30" fmla="*/ 2147483647 w 107"/>
              <a:gd name="T31" fmla="*/ 2147483647 h 583"/>
              <a:gd name="T32" fmla="*/ 2147483647 w 107"/>
              <a:gd name="T33" fmla="*/ 2147483647 h 583"/>
              <a:gd name="T34" fmla="*/ 2147483647 w 107"/>
              <a:gd name="T35" fmla="*/ 2147483647 h 583"/>
              <a:gd name="T36" fmla="*/ 2147483647 w 107"/>
              <a:gd name="T37" fmla="*/ 2147483647 h 583"/>
              <a:gd name="T38" fmla="*/ 2147483647 w 107"/>
              <a:gd name="T39" fmla="*/ 2147483647 h 583"/>
              <a:gd name="T40" fmla="*/ 2147483647 w 107"/>
              <a:gd name="T41" fmla="*/ 2147483647 h 583"/>
              <a:gd name="T42" fmla="*/ 2147483647 w 107"/>
              <a:gd name="T43" fmla="*/ 2147483647 h 583"/>
              <a:gd name="T44" fmla="*/ 2147483647 w 107"/>
              <a:gd name="T45" fmla="*/ 2147483647 h 583"/>
              <a:gd name="T46" fmla="*/ 2147483647 w 107"/>
              <a:gd name="T47" fmla="*/ 2147483647 h 583"/>
              <a:gd name="T48" fmla="*/ 2147483647 w 107"/>
              <a:gd name="T49" fmla="*/ 2147483647 h 583"/>
              <a:gd name="T50" fmla="*/ 2147483647 w 107"/>
              <a:gd name="T51" fmla="*/ 2147483647 h 583"/>
              <a:gd name="T52" fmla="*/ 2147483647 w 107"/>
              <a:gd name="T53" fmla="*/ 2147483647 h 583"/>
              <a:gd name="T54" fmla="*/ 2147483647 w 107"/>
              <a:gd name="T55" fmla="*/ 2147483647 h 583"/>
              <a:gd name="T56" fmla="*/ 0 w 107"/>
              <a:gd name="T57" fmla="*/ 2147483647 h 583"/>
              <a:gd name="T58" fmla="*/ 2147483647 w 107"/>
              <a:gd name="T59" fmla="*/ 2147483647 h 583"/>
              <a:gd name="T60" fmla="*/ 2147483647 w 107"/>
              <a:gd name="T61" fmla="*/ 2147483647 h 583"/>
              <a:gd name="T62" fmla="*/ 2147483647 w 107"/>
              <a:gd name="T63" fmla="*/ 2147483647 h 583"/>
              <a:gd name="T64" fmla="*/ 2147483647 w 107"/>
              <a:gd name="T65" fmla="*/ 2147483647 h 583"/>
              <a:gd name="T66" fmla="*/ 2147483647 w 107"/>
              <a:gd name="T67" fmla="*/ 2147483647 h 583"/>
              <a:gd name="T68" fmla="*/ 2147483647 w 107"/>
              <a:gd name="T69" fmla="*/ 2147483647 h 583"/>
              <a:gd name="T70" fmla="*/ 2147483647 w 107"/>
              <a:gd name="T71" fmla="*/ 2147483647 h 583"/>
              <a:gd name="T72" fmla="*/ 2147483647 w 107"/>
              <a:gd name="T73" fmla="*/ 2147483647 h 583"/>
              <a:gd name="T74" fmla="*/ 2147483647 w 107"/>
              <a:gd name="T75" fmla="*/ 2147483647 h 583"/>
              <a:gd name="T76" fmla="*/ 2147483647 w 107"/>
              <a:gd name="T77" fmla="*/ 2147483647 h 583"/>
              <a:gd name="T78" fmla="*/ 2147483647 w 107"/>
              <a:gd name="T79" fmla="*/ 2147483647 h 583"/>
              <a:gd name="T80" fmla="*/ 2147483647 w 107"/>
              <a:gd name="T81" fmla="*/ 2147483647 h 583"/>
              <a:gd name="T82" fmla="*/ 2147483647 w 107"/>
              <a:gd name="T83" fmla="*/ 2147483647 h 583"/>
              <a:gd name="T84" fmla="*/ 2147483647 w 107"/>
              <a:gd name="T85" fmla="*/ 2147483647 h 58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07"/>
              <a:gd name="T130" fmla="*/ 0 h 583"/>
              <a:gd name="T131" fmla="*/ 107 w 107"/>
              <a:gd name="T132" fmla="*/ 583 h 583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07" h="583">
                <a:moveTo>
                  <a:pt x="66" y="7"/>
                </a:moveTo>
                <a:lnTo>
                  <a:pt x="82" y="0"/>
                </a:lnTo>
                <a:lnTo>
                  <a:pt x="89" y="24"/>
                </a:lnTo>
                <a:lnTo>
                  <a:pt x="89" y="32"/>
                </a:lnTo>
                <a:lnTo>
                  <a:pt x="97" y="72"/>
                </a:lnTo>
                <a:lnTo>
                  <a:pt x="106" y="72"/>
                </a:lnTo>
                <a:lnTo>
                  <a:pt x="106" y="90"/>
                </a:lnTo>
                <a:lnTo>
                  <a:pt x="89" y="97"/>
                </a:lnTo>
                <a:lnTo>
                  <a:pt x="97" y="121"/>
                </a:lnTo>
                <a:lnTo>
                  <a:pt x="82" y="146"/>
                </a:lnTo>
                <a:lnTo>
                  <a:pt x="66" y="193"/>
                </a:lnTo>
                <a:lnTo>
                  <a:pt x="72" y="227"/>
                </a:lnTo>
                <a:lnTo>
                  <a:pt x="66" y="252"/>
                </a:lnTo>
                <a:lnTo>
                  <a:pt x="66" y="268"/>
                </a:lnTo>
                <a:lnTo>
                  <a:pt x="57" y="275"/>
                </a:lnTo>
                <a:lnTo>
                  <a:pt x="57" y="308"/>
                </a:lnTo>
                <a:lnTo>
                  <a:pt x="48" y="323"/>
                </a:lnTo>
                <a:lnTo>
                  <a:pt x="48" y="357"/>
                </a:lnTo>
                <a:lnTo>
                  <a:pt x="48" y="373"/>
                </a:lnTo>
                <a:lnTo>
                  <a:pt x="48" y="405"/>
                </a:lnTo>
                <a:lnTo>
                  <a:pt x="57" y="405"/>
                </a:lnTo>
                <a:lnTo>
                  <a:pt x="57" y="414"/>
                </a:lnTo>
                <a:lnTo>
                  <a:pt x="48" y="445"/>
                </a:lnTo>
                <a:lnTo>
                  <a:pt x="41" y="460"/>
                </a:lnTo>
                <a:lnTo>
                  <a:pt x="41" y="477"/>
                </a:lnTo>
                <a:lnTo>
                  <a:pt x="32" y="502"/>
                </a:lnTo>
                <a:lnTo>
                  <a:pt x="32" y="519"/>
                </a:lnTo>
                <a:lnTo>
                  <a:pt x="32" y="526"/>
                </a:lnTo>
                <a:lnTo>
                  <a:pt x="41" y="519"/>
                </a:lnTo>
                <a:lnTo>
                  <a:pt x="41" y="542"/>
                </a:lnTo>
                <a:lnTo>
                  <a:pt x="48" y="551"/>
                </a:lnTo>
                <a:lnTo>
                  <a:pt x="72" y="551"/>
                </a:lnTo>
                <a:lnTo>
                  <a:pt x="89" y="551"/>
                </a:lnTo>
                <a:lnTo>
                  <a:pt x="89" y="559"/>
                </a:lnTo>
                <a:lnTo>
                  <a:pt x="82" y="559"/>
                </a:lnTo>
                <a:lnTo>
                  <a:pt x="66" y="566"/>
                </a:lnTo>
                <a:lnTo>
                  <a:pt x="66" y="582"/>
                </a:lnTo>
                <a:lnTo>
                  <a:pt x="57" y="582"/>
                </a:lnTo>
                <a:lnTo>
                  <a:pt x="48" y="575"/>
                </a:lnTo>
                <a:lnTo>
                  <a:pt x="57" y="575"/>
                </a:lnTo>
                <a:lnTo>
                  <a:pt x="57" y="566"/>
                </a:lnTo>
                <a:lnTo>
                  <a:pt x="41" y="575"/>
                </a:lnTo>
                <a:lnTo>
                  <a:pt x="32" y="566"/>
                </a:lnTo>
                <a:lnTo>
                  <a:pt x="32" y="559"/>
                </a:lnTo>
                <a:lnTo>
                  <a:pt x="23" y="559"/>
                </a:lnTo>
                <a:lnTo>
                  <a:pt x="17" y="551"/>
                </a:lnTo>
                <a:lnTo>
                  <a:pt x="17" y="559"/>
                </a:lnTo>
                <a:lnTo>
                  <a:pt x="8" y="551"/>
                </a:lnTo>
                <a:lnTo>
                  <a:pt x="8" y="542"/>
                </a:lnTo>
                <a:lnTo>
                  <a:pt x="17" y="534"/>
                </a:lnTo>
                <a:lnTo>
                  <a:pt x="17" y="526"/>
                </a:lnTo>
                <a:lnTo>
                  <a:pt x="17" y="534"/>
                </a:lnTo>
                <a:lnTo>
                  <a:pt x="8" y="542"/>
                </a:lnTo>
                <a:lnTo>
                  <a:pt x="17" y="534"/>
                </a:lnTo>
                <a:lnTo>
                  <a:pt x="17" y="526"/>
                </a:lnTo>
                <a:lnTo>
                  <a:pt x="17" y="510"/>
                </a:lnTo>
                <a:lnTo>
                  <a:pt x="8" y="510"/>
                </a:lnTo>
                <a:lnTo>
                  <a:pt x="0" y="502"/>
                </a:lnTo>
                <a:lnTo>
                  <a:pt x="0" y="494"/>
                </a:lnTo>
                <a:lnTo>
                  <a:pt x="8" y="470"/>
                </a:lnTo>
                <a:lnTo>
                  <a:pt x="8" y="460"/>
                </a:lnTo>
                <a:lnTo>
                  <a:pt x="17" y="477"/>
                </a:lnTo>
                <a:lnTo>
                  <a:pt x="23" y="454"/>
                </a:lnTo>
                <a:lnTo>
                  <a:pt x="8" y="445"/>
                </a:lnTo>
                <a:lnTo>
                  <a:pt x="0" y="445"/>
                </a:lnTo>
                <a:lnTo>
                  <a:pt x="8" y="429"/>
                </a:lnTo>
                <a:lnTo>
                  <a:pt x="17" y="429"/>
                </a:lnTo>
                <a:lnTo>
                  <a:pt x="17" y="405"/>
                </a:lnTo>
                <a:lnTo>
                  <a:pt x="23" y="395"/>
                </a:lnTo>
                <a:lnTo>
                  <a:pt x="23" y="414"/>
                </a:lnTo>
                <a:lnTo>
                  <a:pt x="41" y="364"/>
                </a:lnTo>
                <a:lnTo>
                  <a:pt x="41" y="357"/>
                </a:lnTo>
                <a:lnTo>
                  <a:pt x="32" y="357"/>
                </a:lnTo>
                <a:lnTo>
                  <a:pt x="23" y="348"/>
                </a:lnTo>
                <a:lnTo>
                  <a:pt x="23" y="323"/>
                </a:lnTo>
                <a:lnTo>
                  <a:pt x="32" y="315"/>
                </a:lnTo>
                <a:lnTo>
                  <a:pt x="23" y="292"/>
                </a:lnTo>
                <a:lnTo>
                  <a:pt x="32" y="283"/>
                </a:lnTo>
                <a:lnTo>
                  <a:pt x="57" y="209"/>
                </a:lnTo>
                <a:lnTo>
                  <a:pt x="48" y="186"/>
                </a:lnTo>
                <a:lnTo>
                  <a:pt x="57" y="171"/>
                </a:lnTo>
                <a:lnTo>
                  <a:pt x="57" y="153"/>
                </a:lnTo>
                <a:lnTo>
                  <a:pt x="66" y="121"/>
                </a:lnTo>
                <a:lnTo>
                  <a:pt x="66" y="72"/>
                </a:lnTo>
                <a:lnTo>
                  <a:pt x="72" y="49"/>
                </a:lnTo>
                <a:lnTo>
                  <a:pt x="66" y="7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40" name="Freeform 61"/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2798763" y="6370638"/>
            <a:ext cx="107950" cy="100012"/>
          </a:xfrm>
          <a:custGeom>
            <a:avLst/>
            <a:gdLst>
              <a:gd name="T0" fmla="*/ 2147483647 w 67"/>
              <a:gd name="T1" fmla="*/ 2147483647 h 64"/>
              <a:gd name="T2" fmla="*/ 2147483647 w 67"/>
              <a:gd name="T3" fmla="*/ 0 h 64"/>
              <a:gd name="T4" fmla="*/ 2147483647 w 67"/>
              <a:gd name="T5" fmla="*/ 2147483647 h 64"/>
              <a:gd name="T6" fmla="*/ 2147483647 w 67"/>
              <a:gd name="T7" fmla="*/ 2147483647 h 64"/>
              <a:gd name="T8" fmla="*/ 2147483647 w 67"/>
              <a:gd name="T9" fmla="*/ 2147483647 h 64"/>
              <a:gd name="T10" fmla="*/ 2147483647 w 67"/>
              <a:gd name="T11" fmla="*/ 2147483647 h 64"/>
              <a:gd name="T12" fmla="*/ 2147483647 w 67"/>
              <a:gd name="T13" fmla="*/ 2147483647 h 64"/>
              <a:gd name="T14" fmla="*/ 0 w 67"/>
              <a:gd name="T15" fmla="*/ 2147483647 h 64"/>
              <a:gd name="T16" fmla="*/ 2147483647 w 67"/>
              <a:gd name="T17" fmla="*/ 2147483647 h 64"/>
              <a:gd name="T18" fmla="*/ 2147483647 w 67"/>
              <a:gd name="T19" fmla="*/ 2147483647 h 64"/>
              <a:gd name="T20" fmla="*/ 2147483647 w 67"/>
              <a:gd name="T21" fmla="*/ 2147483647 h 64"/>
              <a:gd name="T22" fmla="*/ 2147483647 w 67"/>
              <a:gd name="T23" fmla="*/ 2147483647 h 64"/>
              <a:gd name="T24" fmla="*/ 2147483647 w 67"/>
              <a:gd name="T25" fmla="*/ 2147483647 h 64"/>
              <a:gd name="T26" fmla="*/ 2147483647 w 67"/>
              <a:gd name="T27" fmla="*/ 2147483647 h 64"/>
              <a:gd name="T28" fmla="*/ 2147483647 w 67"/>
              <a:gd name="T29" fmla="*/ 2147483647 h 64"/>
              <a:gd name="T30" fmla="*/ 2147483647 w 67"/>
              <a:gd name="T31" fmla="*/ 2147483647 h 64"/>
              <a:gd name="T32" fmla="*/ 2147483647 w 67"/>
              <a:gd name="T33" fmla="*/ 2147483647 h 6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67"/>
              <a:gd name="T52" fmla="*/ 0 h 64"/>
              <a:gd name="T53" fmla="*/ 67 w 67"/>
              <a:gd name="T54" fmla="*/ 64 h 64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67" h="64">
                <a:moveTo>
                  <a:pt x="66" y="48"/>
                </a:moveTo>
                <a:lnTo>
                  <a:pt x="66" y="0"/>
                </a:lnTo>
                <a:lnTo>
                  <a:pt x="49" y="7"/>
                </a:lnTo>
                <a:lnTo>
                  <a:pt x="49" y="23"/>
                </a:lnTo>
                <a:lnTo>
                  <a:pt x="43" y="32"/>
                </a:lnTo>
                <a:lnTo>
                  <a:pt x="34" y="32"/>
                </a:lnTo>
                <a:lnTo>
                  <a:pt x="9" y="16"/>
                </a:lnTo>
                <a:lnTo>
                  <a:pt x="0" y="23"/>
                </a:lnTo>
                <a:lnTo>
                  <a:pt x="9" y="32"/>
                </a:lnTo>
                <a:lnTo>
                  <a:pt x="18" y="32"/>
                </a:lnTo>
                <a:lnTo>
                  <a:pt x="18" y="40"/>
                </a:lnTo>
                <a:lnTo>
                  <a:pt x="25" y="40"/>
                </a:lnTo>
                <a:lnTo>
                  <a:pt x="25" y="48"/>
                </a:lnTo>
                <a:lnTo>
                  <a:pt x="43" y="57"/>
                </a:lnTo>
                <a:lnTo>
                  <a:pt x="49" y="57"/>
                </a:lnTo>
                <a:lnTo>
                  <a:pt x="59" y="63"/>
                </a:lnTo>
                <a:lnTo>
                  <a:pt x="66" y="48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41" name="Freeform 62"/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2903538" y="6370638"/>
            <a:ext cx="79375" cy="114300"/>
          </a:xfrm>
          <a:custGeom>
            <a:avLst/>
            <a:gdLst>
              <a:gd name="T0" fmla="*/ 0 w 50"/>
              <a:gd name="T1" fmla="*/ 2147483647 h 73"/>
              <a:gd name="T2" fmla="*/ 0 w 50"/>
              <a:gd name="T3" fmla="*/ 0 h 73"/>
              <a:gd name="T4" fmla="*/ 2147483647 w 50"/>
              <a:gd name="T5" fmla="*/ 2147483647 h 73"/>
              <a:gd name="T6" fmla="*/ 2147483647 w 50"/>
              <a:gd name="T7" fmla="*/ 2147483647 h 73"/>
              <a:gd name="T8" fmla="*/ 2147483647 w 50"/>
              <a:gd name="T9" fmla="*/ 2147483647 h 73"/>
              <a:gd name="T10" fmla="*/ 2147483647 w 50"/>
              <a:gd name="T11" fmla="*/ 2147483647 h 73"/>
              <a:gd name="T12" fmla="*/ 2147483647 w 50"/>
              <a:gd name="T13" fmla="*/ 2147483647 h 73"/>
              <a:gd name="T14" fmla="*/ 2147483647 w 50"/>
              <a:gd name="T15" fmla="*/ 2147483647 h 73"/>
              <a:gd name="T16" fmla="*/ 0 w 50"/>
              <a:gd name="T17" fmla="*/ 2147483647 h 7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0"/>
              <a:gd name="T28" fmla="*/ 0 h 73"/>
              <a:gd name="T29" fmla="*/ 50 w 50"/>
              <a:gd name="T30" fmla="*/ 73 h 7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0" h="73">
                <a:moveTo>
                  <a:pt x="0" y="48"/>
                </a:moveTo>
                <a:lnTo>
                  <a:pt x="0" y="0"/>
                </a:lnTo>
                <a:lnTo>
                  <a:pt x="8" y="23"/>
                </a:lnTo>
                <a:lnTo>
                  <a:pt x="33" y="40"/>
                </a:lnTo>
                <a:lnTo>
                  <a:pt x="49" y="48"/>
                </a:lnTo>
                <a:lnTo>
                  <a:pt x="42" y="57"/>
                </a:lnTo>
                <a:lnTo>
                  <a:pt x="17" y="63"/>
                </a:lnTo>
                <a:lnTo>
                  <a:pt x="8" y="72"/>
                </a:lnTo>
                <a:lnTo>
                  <a:pt x="0" y="48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42" name="Freeform 63"/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2813050" y="5580063"/>
            <a:ext cx="398463" cy="779462"/>
          </a:xfrm>
          <a:custGeom>
            <a:avLst/>
            <a:gdLst>
              <a:gd name="T0" fmla="*/ 2147483647 w 253"/>
              <a:gd name="T1" fmla="*/ 2147483647 h 496"/>
              <a:gd name="T2" fmla="*/ 2147483647 w 253"/>
              <a:gd name="T3" fmla="*/ 2147483647 h 496"/>
              <a:gd name="T4" fmla="*/ 2147483647 w 253"/>
              <a:gd name="T5" fmla="*/ 2147483647 h 496"/>
              <a:gd name="T6" fmla="*/ 2147483647 w 253"/>
              <a:gd name="T7" fmla="*/ 2147483647 h 496"/>
              <a:gd name="T8" fmla="*/ 2147483647 w 253"/>
              <a:gd name="T9" fmla="*/ 2147483647 h 496"/>
              <a:gd name="T10" fmla="*/ 2147483647 w 253"/>
              <a:gd name="T11" fmla="*/ 2147483647 h 496"/>
              <a:gd name="T12" fmla="*/ 2147483647 w 253"/>
              <a:gd name="T13" fmla="*/ 2147483647 h 496"/>
              <a:gd name="T14" fmla="*/ 2147483647 w 253"/>
              <a:gd name="T15" fmla="*/ 0 h 496"/>
              <a:gd name="T16" fmla="*/ 2147483647 w 253"/>
              <a:gd name="T17" fmla="*/ 0 h 496"/>
              <a:gd name="T18" fmla="*/ 2147483647 w 253"/>
              <a:gd name="T19" fmla="*/ 2147483647 h 496"/>
              <a:gd name="T20" fmla="*/ 2147483647 w 253"/>
              <a:gd name="T21" fmla="*/ 2147483647 h 496"/>
              <a:gd name="T22" fmla="*/ 2147483647 w 253"/>
              <a:gd name="T23" fmla="*/ 2147483647 h 496"/>
              <a:gd name="T24" fmla="*/ 2147483647 w 253"/>
              <a:gd name="T25" fmla="*/ 2147483647 h 496"/>
              <a:gd name="T26" fmla="*/ 2147483647 w 253"/>
              <a:gd name="T27" fmla="*/ 2147483647 h 496"/>
              <a:gd name="T28" fmla="*/ 2147483647 w 253"/>
              <a:gd name="T29" fmla="*/ 2147483647 h 496"/>
              <a:gd name="T30" fmla="*/ 2147483647 w 253"/>
              <a:gd name="T31" fmla="*/ 2147483647 h 496"/>
              <a:gd name="T32" fmla="*/ 2147483647 w 253"/>
              <a:gd name="T33" fmla="*/ 2147483647 h 496"/>
              <a:gd name="T34" fmla="*/ 2147483647 w 253"/>
              <a:gd name="T35" fmla="*/ 2147483647 h 496"/>
              <a:gd name="T36" fmla="*/ 2147483647 w 253"/>
              <a:gd name="T37" fmla="*/ 2147483647 h 496"/>
              <a:gd name="T38" fmla="*/ 0 w 253"/>
              <a:gd name="T39" fmla="*/ 2147483647 h 496"/>
              <a:gd name="T40" fmla="*/ 2147483647 w 253"/>
              <a:gd name="T41" fmla="*/ 2147483647 h 496"/>
              <a:gd name="T42" fmla="*/ 2147483647 w 253"/>
              <a:gd name="T43" fmla="*/ 2147483647 h 496"/>
              <a:gd name="T44" fmla="*/ 2147483647 w 253"/>
              <a:gd name="T45" fmla="*/ 2147483647 h 496"/>
              <a:gd name="T46" fmla="*/ 2147483647 w 253"/>
              <a:gd name="T47" fmla="*/ 2147483647 h 496"/>
              <a:gd name="T48" fmla="*/ 2147483647 w 253"/>
              <a:gd name="T49" fmla="*/ 2147483647 h 496"/>
              <a:gd name="T50" fmla="*/ 2147483647 w 253"/>
              <a:gd name="T51" fmla="*/ 2147483647 h 496"/>
              <a:gd name="T52" fmla="*/ 2147483647 w 253"/>
              <a:gd name="T53" fmla="*/ 2147483647 h 496"/>
              <a:gd name="T54" fmla="*/ 2147483647 w 253"/>
              <a:gd name="T55" fmla="*/ 2147483647 h 496"/>
              <a:gd name="T56" fmla="*/ 2147483647 w 253"/>
              <a:gd name="T57" fmla="*/ 2147483647 h 496"/>
              <a:gd name="T58" fmla="*/ 2147483647 w 253"/>
              <a:gd name="T59" fmla="*/ 2147483647 h 496"/>
              <a:gd name="T60" fmla="*/ 2147483647 w 253"/>
              <a:gd name="T61" fmla="*/ 2147483647 h 496"/>
              <a:gd name="T62" fmla="*/ 2147483647 w 253"/>
              <a:gd name="T63" fmla="*/ 2147483647 h 496"/>
              <a:gd name="T64" fmla="*/ 2147483647 w 253"/>
              <a:gd name="T65" fmla="*/ 2147483647 h 496"/>
              <a:gd name="T66" fmla="*/ 2147483647 w 253"/>
              <a:gd name="T67" fmla="*/ 2147483647 h 496"/>
              <a:gd name="T68" fmla="*/ 2147483647 w 253"/>
              <a:gd name="T69" fmla="*/ 2147483647 h 496"/>
              <a:gd name="T70" fmla="*/ 2147483647 w 253"/>
              <a:gd name="T71" fmla="*/ 2147483647 h 496"/>
              <a:gd name="T72" fmla="*/ 2147483647 w 253"/>
              <a:gd name="T73" fmla="*/ 2147483647 h 496"/>
              <a:gd name="T74" fmla="*/ 2147483647 w 253"/>
              <a:gd name="T75" fmla="*/ 2147483647 h 496"/>
              <a:gd name="T76" fmla="*/ 2147483647 w 253"/>
              <a:gd name="T77" fmla="*/ 2147483647 h 49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253"/>
              <a:gd name="T118" fmla="*/ 0 h 496"/>
              <a:gd name="T119" fmla="*/ 253 w 253"/>
              <a:gd name="T120" fmla="*/ 496 h 49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253" h="496">
                <a:moveTo>
                  <a:pt x="187" y="178"/>
                </a:moveTo>
                <a:lnTo>
                  <a:pt x="202" y="122"/>
                </a:lnTo>
                <a:lnTo>
                  <a:pt x="236" y="81"/>
                </a:lnTo>
                <a:lnTo>
                  <a:pt x="252" y="74"/>
                </a:lnTo>
                <a:lnTo>
                  <a:pt x="244" y="50"/>
                </a:lnTo>
                <a:lnTo>
                  <a:pt x="236" y="50"/>
                </a:lnTo>
                <a:lnTo>
                  <a:pt x="236" y="65"/>
                </a:lnTo>
                <a:lnTo>
                  <a:pt x="221" y="74"/>
                </a:lnTo>
                <a:lnTo>
                  <a:pt x="211" y="81"/>
                </a:lnTo>
                <a:lnTo>
                  <a:pt x="187" y="74"/>
                </a:lnTo>
                <a:lnTo>
                  <a:pt x="196" y="57"/>
                </a:lnTo>
                <a:lnTo>
                  <a:pt x="196" y="50"/>
                </a:lnTo>
                <a:lnTo>
                  <a:pt x="179" y="34"/>
                </a:lnTo>
                <a:lnTo>
                  <a:pt x="155" y="34"/>
                </a:lnTo>
                <a:lnTo>
                  <a:pt x="139" y="10"/>
                </a:lnTo>
                <a:lnTo>
                  <a:pt x="122" y="0"/>
                </a:lnTo>
                <a:lnTo>
                  <a:pt x="115" y="10"/>
                </a:lnTo>
                <a:lnTo>
                  <a:pt x="90" y="0"/>
                </a:lnTo>
                <a:lnTo>
                  <a:pt x="74" y="16"/>
                </a:lnTo>
                <a:lnTo>
                  <a:pt x="74" y="34"/>
                </a:lnTo>
                <a:lnTo>
                  <a:pt x="57" y="41"/>
                </a:lnTo>
                <a:lnTo>
                  <a:pt x="65" y="65"/>
                </a:lnTo>
                <a:lnTo>
                  <a:pt x="50" y="90"/>
                </a:lnTo>
                <a:lnTo>
                  <a:pt x="34" y="137"/>
                </a:lnTo>
                <a:lnTo>
                  <a:pt x="40" y="171"/>
                </a:lnTo>
                <a:lnTo>
                  <a:pt x="34" y="196"/>
                </a:lnTo>
                <a:lnTo>
                  <a:pt x="34" y="212"/>
                </a:lnTo>
                <a:lnTo>
                  <a:pt x="25" y="219"/>
                </a:lnTo>
                <a:lnTo>
                  <a:pt x="25" y="252"/>
                </a:lnTo>
                <a:lnTo>
                  <a:pt x="16" y="267"/>
                </a:lnTo>
                <a:lnTo>
                  <a:pt x="16" y="301"/>
                </a:lnTo>
                <a:lnTo>
                  <a:pt x="16" y="317"/>
                </a:lnTo>
                <a:lnTo>
                  <a:pt x="16" y="349"/>
                </a:lnTo>
                <a:lnTo>
                  <a:pt x="25" y="349"/>
                </a:lnTo>
                <a:lnTo>
                  <a:pt x="25" y="358"/>
                </a:lnTo>
                <a:lnTo>
                  <a:pt x="16" y="389"/>
                </a:lnTo>
                <a:lnTo>
                  <a:pt x="9" y="404"/>
                </a:lnTo>
                <a:lnTo>
                  <a:pt x="9" y="421"/>
                </a:lnTo>
                <a:lnTo>
                  <a:pt x="0" y="446"/>
                </a:lnTo>
                <a:lnTo>
                  <a:pt x="0" y="463"/>
                </a:lnTo>
                <a:lnTo>
                  <a:pt x="0" y="470"/>
                </a:lnTo>
                <a:lnTo>
                  <a:pt x="9" y="463"/>
                </a:lnTo>
                <a:lnTo>
                  <a:pt x="9" y="486"/>
                </a:lnTo>
                <a:lnTo>
                  <a:pt x="16" y="495"/>
                </a:lnTo>
                <a:lnTo>
                  <a:pt x="40" y="495"/>
                </a:lnTo>
                <a:lnTo>
                  <a:pt x="57" y="495"/>
                </a:lnTo>
                <a:lnTo>
                  <a:pt x="50" y="470"/>
                </a:lnTo>
                <a:lnTo>
                  <a:pt x="57" y="463"/>
                </a:lnTo>
                <a:lnTo>
                  <a:pt x="65" y="454"/>
                </a:lnTo>
                <a:lnTo>
                  <a:pt x="74" y="429"/>
                </a:lnTo>
                <a:lnTo>
                  <a:pt x="99" y="414"/>
                </a:lnTo>
                <a:lnTo>
                  <a:pt x="99" y="398"/>
                </a:lnTo>
                <a:lnTo>
                  <a:pt x="90" y="398"/>
                </a:lnTo>
                <a:lnTo>
                  <a:pt x="74" y="381"/>
                </a:lnTo>
                <a:lnTo>
                  <a:pt x="74" y="373"/>
                </a:lnTo>
                <a:lnTo>
                  <a:pt x="82" y="364"/>
                </a:lnTo>
                <a:lnTo>
                  <a:pt x="99" y="358"/>
                </a:lnTo>
                <a:lnTo>
                  <a:pt x="99" y="349"/>
                </a:lnTo>
                <a:lnTo>
                  <a:pt x="106" y="349"/>
                </a:lnTo>
                <a:lnTo>
                  <a:pt x="106" y="333"/>
                </a:lnTo>
                <a:lnTo>
                  <a:pt x="115" y="324"/>
                </a:lnTo>
                <a:lnTo>
                  <a:pt x="115" y="317"/>
                </a:lnTo>
                <a:lnTo>
                  <a:pt x="122" y="317"/>
                </a:lnTo>
                <a:lnTo>
                  <a:pt x="122" y="308"/>
                </a:lnTo>
                <a:lnTo>
                  <a:pt x="106" y="308"/>
                </a:lnTo>
                <a:lnTo>
                  <a:pt x="106" y="284"/>
                </a:lnTo>
                <a:lnTo>
                  <a:pt x="122" y="292"/>
                </a:lnTo>
                <a:lnTo>
                  <a:pt x="139" y="284"/>
                </a:lnTo>
                <a:lnTo>
                  <a:pt x="147" y="259"/>
                </a:lnTo>
                <a:lnTo>
                  <a:pt x="139" y="252"/>
                </a:lnTo>
                <a:lnTo>
                  <a:pt x="147" y="252"/>
                </a:lnTo>
                <a:lnTo>
                  <a:pt x="162" y="252"/>
                </a:lnTo>
                <a:lnTo>
                  <a:pt x="202" y="243"/>
                </a:lnTo>
                <a:lnTo>
                  <a:pt x="211" y="219"/>
                </a:lnTo>
                <a:lnTo>
                  <a:pt x="211" y="212"/>
                </a:lnTo>
                <a:lnTo>
                  <a:pt x="202" y="202"/>
                </a:lnTo>
                <a:lnTo>
                  <a:pt x="202" y="196"/>
                </a:lnTo>
                <a:lnTo>
                  <a:pt x="187" y="187"/>
                </a:lnTo>
                <a:lnTo>
                  <a:pt x="187" y="178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43" name="Freeform 64"/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3057525" y="6330950"/>
            <a:ext cx="66675" cy="41275"/>
          </a:xfrm>
          <a:custGeom>
            <a:avLst/>
            <a:gdLst>
              <a:gd name="T0" fmla="*/ 0 w 42"/>
              <a:gd name="T1" fmla="*/ 2147483647 h 26"/>
              <a:gd name="T2" fmla="*/ 2147483647 w 42"/>
              <a:gd name="T3" fmla="*/ 2147483647 h 26"/>
              <a:gd name="T4" fmla="*/ 2147483647 w 42"/>
              <a:gd name="T5" fmla="*/ 2147483647 h 26"/>
              <a:gd name="T6" fmla="*/ 2147483647 w 42"/>
              <a:gd name="T7" fmla="*/ 2147483647 h 26"/>
              <a:gd name="T8" fmla="*/ 2147483647 w 42"/>
              <a:gd name="T9" fmla="*/ 0 h 26"/>
              <a:gd name="T10" fmla="*/ 2147483647 w 42"/>
              <a:gd name="T11" fmla="*/ 0 h 26"/>
              <a:gd name="T12" fmla="*/ 2147483647 w 42"/>
              <a:gd name="T13" fmla="*/ 0 h 26"/>
              <a:gd name="T14" fmla="*/ 0 w 42"/>
              <a:gd name="T15" fmla="*/ 2147483647 h 2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2"/>
              <a:gd name="T25" fmla="*/ 0 h 26"/>
              <a:gd name="T26" fmla="*/ 42 w 42"/>
              <a:gd name="T27" fmla="*/ 26 h 2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2" h="26">
                <a:moveTo>
                  <a:pt x="0" y="8"/>
                </a:moveTo>
                <a:lnTo>
                  <a:pt x="16" y="17"/>
                </a:lnTo>
                <a:lnTo>
                  <a:pt x="24" y="25"/>
                </a:lnTo>
                <a:lnTo>
                  <a:pt x="41" y="8"/>
                </a:lnTo>
                <a:lnTo>
                  <a:pt x="41" y="0"/>
                </a:lnTo>
                <a:lnTo>
                  <a:pt x="16" y="0"/>
                </a:lnTo>
                <a:lnTo>
                  <a:pt x="7" y="0"/>
                </a:lnTo>
                <a:lnTo>
                  <a:pt x="0" y="8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44" name="Freeform 65"/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2813050" y="4233863"/>
            <a:ext cx="41275" cy="25400"/>
          </a:xfrm>
          <a:custGeom>
            <a:avLst/>
            <a:gdLst>
              <a:gd name="T0" fmla="*/ 0 w 26"/>
              <a:gd name="T1" fmla="*/ 2147483647 h 17"/>
              <a:gd name="T2" fmla="*/ 2147483647 w 26"/>
              <a:gd name="T3" fmla="*/ 2147483647 h 17"/>
              <a:gd name="T4" fmla="*/ 2147483647 w 26"/>
              <a:gd name="T5" fmla="*/ 0 h 17"/>
              <a:gd name="T6" fmla="*/ 2147483647 w 26"/>
              <a:gd name="T7" fmla="*/ 0 h 17"/>
              <a:gd name="T8" fmla="*/ 0 w 26"/>
              <a:gd name="T9" fmla="*/ 2147483647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6"/>
              <a:gd name="T16" fmla="*/ 0 h 17"/>
              <a:gd name="T17" fmla="*/ 26 w 26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6" h="17">
                <a:moveTo>
                  <a:pt x="0" y="16"/>
                </a:moveTo>
                <a:lnTo>
                  <a:pt x="9" y="16"/>
                </a:lnTo>
                <a:lnTo>
                  <a:pt x="25" y="0"/>
                </a:lnTo>
                <a:lnTo>
                  <a:pt x="16" y="0"/>
                </a:lnTo>
                <a:lnTo>
                  <a:pt x="0" y="16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45" name="Freeform 66"/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2813050" y="4233863"/>
            <a:ext cx="41275" cy="25400"/>
          </a:xfrm>
          <a:custGeom>
            <a:avLst/>
            <a:gdLst>
              <a:gd name="T0" fmla="*/ 0 w 26"/>
              <a:gd name="T1" fmla="*/ 2147483647 h 17"/>
              <a:gd name="T2" fmla="*/ 2147483647 w 26"/>
              <a:gd name="T3" fmla="*/ 2147483647 h 17"/>
              <a:gd name="T4" fmla="*/ 2147483647 w 26"/>
              <a:gd name="T5" fmla="*/ 0 h 17"/>
              <a:gd name="T6" fmla="*/ 2147483647 w 26"/>
              <a:gd name="T7" fmla="*/ 0 h 17"/>
              <a:gd name="T8" fmla="*/ 0 w 26"/>
              <a:gd name="T9" fmla="*/ 2147483647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6"/>
              <a:gd name="T16" fmla="*/ 0 h 17"/>
              <a:gd name="T17" fmla="*/ 26 w 26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6" h="17">
                <a:moveTo>
                  <a:pt x="0" y="16"/>
                </a:moveTo>
                <a:lnTo>
                  <a:pt x="9" y="16"/>
                </a:lnTo>
                <a:lnTo>
                  <a:pt x="25" y="0"/>
                </a:lnTo>
                <a:lnTo>
                  <a:pt x="16" y="0"/>
                </a:lnTo>
                <a:lnTo>
                  <a:pt x="0" y="16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46" name="Freeform 67"/>
          <p:cNvSpPr>
            <a:spLocks/>
          </p:cNvSpPr>
          <p:nvPr>
            <p:custDataLst>
              <p:tags r:id="rId57"/>
            </p:custDataLst>
          </p:nvPr>
        </p:nvSpPr>
        <p:spPr bwMode="gray">
          <a:xfrm>
            <a:off x="2994025" y="3978275"/>
            <a:ext cx="52388" cy="30163"/>
          </a:xfrm>
          <a:custGeom>
            <a:avLst/>
            <a:gdLst>
              <a:gd name="T0" fmla="*/ 0 w 33"/>
              <a:gd name="T1" fmla="*/ 0 h 18"/>
              <a:gd name="T2" fmla="*/ 2147483647 w 33"/>
              <a:gd name="T3" fmla="*/ 2147483647 h 18"/>
              <a:gd name="T4" fmla="*/ 2147483647 w 33"/>
              <a:gd name="T5" fmla="*/ 2147483647 h 18"/>
              <a:gd name="T6" fmla="*/ 2147483647 w 33"/>
              <a:gd name="T7" fmla="*/ 2147483647 h 18"/>
              <a:gd name="T8" fmla="*/ 0 w 33"/>
              <a:gd name="T9" fmla="*/ 0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3"/>
              <a:gd name="T16" fmla="*/ 0 h 18"/>
              <a:gd name="T17" fmla="*/ 33 w 33"/>
              <a:gd name="T18" fmla="*/ 18 h 1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3" h="18">
                <a:moveTo>
                  <a:pt x="0" y="0"/>
                </a:moveTo>
                <a:lnTo>
                  <a:pt x="16" y="17"/>
                </a:lnTo>
                <a:lnTo>
                  <a:pt x="32" y="17"/>
                </a:lnTo>
                <a:lnTo>
                  <a:pt x="16" y="9"/>
                </a:lnTo>
                <a:lnTo>
                  <a:pt x="0" y="0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47" name="Freeform 68"/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2994025" y="3978275"/>
            <a:ext cx="52388" cy="30163"/>
          </a:xfrm>
          <a:custGeom>
            <a:avLst/>
            <a:gdLst>
              <a:gd name="T0" fmla="*/ 0 w 33"/>
              <a:gd name="T1" fmla="*/ 0 h 18"/>
              <a:gd name="T2" fmla="*/ 2147483647 w 33"/>
              <a:gd name="T3" fmla="*/ 2147483647 h 18"/>
              <a:gd name="T4" fmla="*/ 2147483647 w 33"/>
              <a:gd name="T5" fmla="*/ 2147483647 h 18"/>
              <a:gd name="T6" fmla="*/ 2147483647 w 33"/>
              <a:gd name="T7" fmla="*/ 2147483647 h 18"/>
              <a:gd name="T8" fmla="*/ 0 w 33"/>
              <a:gd name="T9" fmla="*/ 0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3"/>
              <a:gd name="T16" fmla="*/ 0 h 18"/>
              <a:gd name="T17" fmla="*/ 33 w 33"/>
              <a:gd name="T18" fmla="*/ 18 h 1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3" h="18">
                <a:moveTo>
                  <a:pt x="0" y="0"/>
                </a:moveTo>
                <a:lnTo>
                  <a:pt x="16" y="17"/>
                </a:lnTo>
                <a:lnTo>
                  <a:pt x="32" y="17"/>
                </a:lnTo>
                <a:lnTo>
                  <a:pt x="16" y="9"/>
                </a:lnTo>
                <a:lnTo>
                  <a:pt x="0" y="0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48" name="Freeform 69"/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2994025" y="4068763"/>
            <a:ext cx="52388" cy="39687"/>
          </a:xfrm>
          <a:custGeom>
            <a:avLst/>
            <a:gdLst>
              <a:gd name="T0" fmla="*/ 0 w 33"/>
              <a:gd name="T1" fmla="*/ 2147483647 h 25"/>
              <a:gd name="T2" fmla="*/ 2147483647 w 33"/>
              <a:gd name="T3" fmla="*/ 2147483647 h 25"/>
              <a:gd name="T4" fmla="*/ 2147483647 w 33"/>
              <a:gd name="T5" fmla="*/ 2147483647 h 25"/>
              <a:gd name="T6" fmla="*/ 2147483647 w 33"/>
              <a:gd name="T7" fmla="*/ 2147483647 h 25"/>
              <a:gd name="T8" fmla="*/ 2147483647 w 33"/>
              <a:gd name="T9" fmla="*/ 2147483647 h 25"/>
              <a:gd name="T10" fmla="*/ 2147483647 w 33"/>
              <a:gd name="T11" fmla="*/ 0 h 25"/>
              <a:gd name="T12" fmla="*/ 0 w 33"/>
              <a:gd name="T13" fmla="*/ 2147483647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3"/>
              <a:gd name="T22" fmla="*/ 0 h 25"/>
              <a:gd name="T23" fmla="*/ 33 w 33"/>
              <a:gd name="T24" fmla="*/ 25 h 2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3" h="25">
                <a:moveTo>
                  <a:pt x="0" y="8"/>
                </a:moveTo>
                <a:lnTo>
                  <a:pt x="24" y="24"/>
                </a:lnTo>
                <a:lnTo>
                  <a:pt x="24" y="15"/>
                </a:lnTo>
                <a:lnTo>
                  <a:pt x="32" y="8"/>
                </a:lnTo>
                <a:lnTo>
                  <a:pt x="16" y="8"/>
                </a:lnTo>
                <a:lnTo>
                  <a:pt x="7" y="0"/>
                </a:lnTo>
                <a:lnTo>
                  <a:pt x="0" y="8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49" name="Freeform 70"/>
          <p:cNvSpPr>
            <a:spLocks/>
          </p:cNvSpPr>
          <p:nvPr>
            <p:custDataLst>
              <p:tags r:id="rId60"/>
            </p:custDataLst>
          </p:nvPr>
        </p:nvSpPr>
        <p:spPr bwMode="gray">
          <a:xfrm>
            <a:off x="2994025" y="4068763"/>
            <a:ext cx="52388" cy="39687"/>
          </a:xfrm>
          <a:custGeom>
            <a:avLst/>
            <a:gdLst>
              <a:gd name="T0" fmla="*/ 0 w 33"/>
              <a:gd name="T1" fmla="*/ 2147483647 h 25"/>
              <a:gd name="T2" fmla="*/ 2147483647 w 33"/>
              <a:gd name="T3" fmla="*/ 2147483647 h 25"/>
              <a:gd name="T4" fmla="*/ 2147483647 w 33"/>
              <a:gd name="T5" fmla="*/ 2147483647 h 25"/>
              <a:gd name="T6" fmla="*/ 2147483647 w 33"/>
              <a:gd name="T7" fmla="*/ 2147483647 h 25"/>
              <a:gd name="T8" fmla="*/ 2147483647 w 33"/>
              <a:gd name="T9" fmla="*/ 2147483647 h 25"/>
              <a:gd name="T10" fmla="*/ 2147483647 w 33"/>
              <a:gd name="T11" fmla="*/ 0 h 25"/>
              <a:gd name="T12" fmla="*/ 0 w 33"/>
              <a:gd name="T13" fmla="*/ 2147483647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3"/>
              <a:gd name="T22" fmla="*/ 0 h 25"/>
              <a:gd name="T23" fmla="*/ 33 w 33"/>
              <a:gd name="T24" fmla="*/ 25 h 2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3" h="25">
                <a:moveTo>
                  <a:pt x="0" y="8"/>
                </a:moveTo>
                <a:lnTo>
                  <a:pt x="24" y="24"/>
                </a:lnTo>
                <a:lnTo>
                  <a:pt x="24" y="15"/>
                </a:lnTo>
                <a:lnTo>
                  <a:pt x="32" y="8"/>
                </a:lnTo>
                <a:lnTo>
                  <a:pt x="16" y="8"/>
                </a:lnTo>
                <a:lnTo>
                  <a:pt x="7" y="0"/>
                </a:lnTo>
                <a:lnTo>
                  <a:pt x="0" y="8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50" name="Freeform 71"/>
          <p:cNvSpPr>
            <a:spLocks/>
          </p:cNvSpPr>
          <p:nvPr>
            <p:custDataLst>
              <p:tags r:id="rId61"/>
            </p:custDataLst>
          </p:nvPr>
        </p:nvSpPr>
        <p:spPr bwMode="gray">
          <a:xfrm>
            <a:off x="3094038" y="3930650"/>
            <a:ext cx="130175" cy="152400"/>
          </a:xfrm>
          <a:custGeom>
            <a:avLst/>
            <a:gdLst>
              <a:gd name="T0" fmla="*/ 0 w 83"/>
              <a:gd name="T1" fmla="*/ 2147483647 h 97"/>
              <a:gd name="T2" fmla="*/ 0 w 83"/>
              <a:gd name="T3" fmla="*/ 2147483647 h 97"/>
              <a:gd name="T4" fmla="*/ 2147483647 w 83"/>
              <a:gd name="T5" fmla="*/ 2147483647 h 97"/>
              <a:gd name="T6" fmla="*/ 2147483647 w 83"/>
              <a:gd name="T7" fmla="*/ 2147483647 h 97"/>
              <a:gd name="T8" fmla="*/ 2147483647 w 83"/>
              <a:gd name="T9" fmla="*/ 2147483647 h 97"/>
              <a:gd name="T10" fmla="*/ 2147483647 w 83"/>
              <a:gd name="T11" fmla="*/ 2147483647 h 97"/>
              <a:gd name="T12" fmla="*/ 2147483647 w 83"/>
              <a:gd name="T13" fmla="*/ 2147483647 h 97"/>
              <a:gd name="T14" fmla="*/ 2147483647 w 83"/>
              <a:gd name="T15" fmla="*/ 2147483647 h 97"/>
              <a:gd name="T16" fmla="*/ 2147483647 w 83"/>
              <a:gd name="T17" fmla="*/ 2147483647 h 97"/>
              <a:gd name="T18" fmla="*/ 2147483647 w 83"/>
              <a:gd name="T19" fmla="*/ 2147483647 h 97"/>
              <a:gd name="T20" fmla="*/ 2147483647 w 83"/>
              <a:gd name="T21" fmla="*/ 2147483647 h 97"/>
              <a:gd name="T22" fmla="*/ 2147483647 w 83"/>
              <a:gd name="T23" fmla="*/ 2147483647 h 97"/>
              <a:gd name="T24" fmla="*/ 2147483647 w 83"/>
              <a:gd name="T25" fmla="*/ 2147483647 h 97"/>
              <a:gd name="T26" fmla="*/ 2147483647 w 83"/>
              <a:gd name="T27" fmla="*/ 2147483647 h 97"/>
              <a:gd name="T28" fmla="*/ 2147483647 w 83"/>
              <a:gd name="T29" fmla="*/ 2147483647 h 97"/>
              <a:gd name="T30" fmla="*/ 2147483647 w 83"/>
              <a:gd name="T31" fmla="*/ 2147483647 h 97"/>
              <a:gd name="T32" fmla="*/ 2147483647 w 83"/>
              <a:gd name="T33" fmla="*/ 2147483647 h 97"/>
              <a:gd name="T34" fmla="*/ 2147483647 w 83"/>
              <a:gd name="T35" fmla="*/ 0 h 97"/>
              <a:gd name="T36" fmla="*/ 2147483647 w 83"/>
              <a:gd name="T37" fmla="*/ 2147483647 h 97"/>
              <a:gd name="T38" fmla="*/ 2147483647 w 83"/>
              <a:gd name="T39" fmla="*/ 2147483647 h 97"/>
              <a:gd name="T40" fmla="*/ 2147483647 w 83"/>
              <a:gd name="T41" fmla="*/ 2147483647 h 97"/>
              <a:gd name="T42" fmla="*/ 0 w 83"/>
              <a:gd name="T43" fmla="*/ 2147483647 h 97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83"/>
              <a:gd name="T67" fmla="*/ 0 h 97"/>
              <a:gd name="T68" fmla="*/ 83 w 83"/>
              <a:gd name="T69" fmla="*/ 97 h 97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83" h="97">
                <a:moveTo>
                  <a:pt x="0" y="72"/>
                </a:moveTo>
                <a:lnTo>
                  <a:pt x="0" y="80"/>
                </a:lnTo>
                <a:lnTo>
                  <a:pt x="48" y="80"/>
                </a:lnTo>
                <a:lnTo>
                  <a:pt x="48" y="88"/>
                </a:lnTo>
                <a:lnTo>
                  <a:pt x="57" y="80"/>
                </a:lnTo>
                <a:lnTo>
                  <a:pt x="73" y="88"/>
                </a:lnTo>
                <a:lnTo>
                  <a:pt x="73" y="96"/>
                </a:lnTo>
                <a:lnTo>
                  <a:pt x="82" y="96"/>
                </a:lnTo>
                <a:lnTo>
                  <a:pt x="82" y="80"/>
                </a:lnTo>
                <a:lnTo>
                  <a:pt x="65" y="72"/>
                </a:lnTo>
                <a:lnTo>
                  <a:pt x="73" y="63"/>
                </a:lnTo>
                <a:lnTo>
                  <a:pt x="65" y="56"/>
                </a:lnTo>
                <a:lnTo>
                  <a:pt x="73" y="48"/>
                </a:lnTo>
                <a:lnTo>
                  <a:pt x="48" y="48"/>
                </a:lnTo>
                <a:lnTo>
                  <a:pt x="42" y="40"/>
                </a:lnTo>
                <a:lnTo>
                  <a:pt x="48" y="31"/>
                </a:lnTo>
                <a:lnTo>
                  <a:pt x="42" y="31"/>
                </a:lnTo>
                <a:lnTo>
                  <a:pt x="48" y="0"/>
                </a:lnTo>
                <a:lnTo>
                  <a:pt x="32" y="6"/>
                </a:lnTo>
                <a:lnTo>
                  <a:pt x="8" y="56"/>
                </a:lnTo>
                <a:lnTo>
                  <a:pt x="8" y="63"/>
                </a:lnTo>
                <a:lnTo>
                  <a:pt x="0" y="72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51" name="Freeform 72"/>
          <p:cNvSpPr>
            <a:spLocks/>
          </p:cNvSpPr>
          <p:nvPr>
            <p:custDataLst>
              <p:tags r:id="rId62"/>
            </p:custDataLst>
          </p:nvPr>
        </p:nvSpPr>
        <p:spPr bwMode="gray">
          <a:xfrm>
            <a:off x="6075363" y="4549775"/>
            <a:ext cx="65087" cy="28575"/>
          </a:xfrm>
          <a:custGeom>
            <a:avLst/>
            <a:gdLst>
              <a:gd name="T0" fmla="*/ 2147483647 w 41"/>
              <a:gd name="T1" fmla="*/ 0 h 17"/>
              <a:gd name="T2" fmla="*/ 2147483647 w 41"/>
              <a:gd name="T3" fmla="*/ 0 h 17"/>
              <a:gd name="T4" fmla="*/ 0 w 41"/>
              <a:gd name="T5" fmla="*/ 2147483647 h 17"/>
              <a:gd name="T6" fmla="*/ 0 w 41"/>
              <a:gd name="T7" fmla="*/ 2147483647 h 17"/>
              <a:gd name="T8" fmla="*/ 2147483647 w 41"/>
              <a:gd name="T9" fmla="*/ 2147483647 h 17"/>
              <a:gd name="T10" fmla="*/ 2147483647 w 41"/>
              <a:gd name="T11" fmla="*/ 2147483647 h 17"/>
              <a:gd name="T12" fmla="*/ 2147483647 w 41"/>
              <a:gd name="T13" fmla="*/ 0 h 1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1"/>
              <a:gd name="T22" fmla="*/ 0 h 17"/>
              <a:gd name="T23" fmla="*/ 41 w 41"/>
              <a:gd name="T24" fmla="*/ 17 h 1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1" h="17">
                <a:moveTo>
                  <a:pt x="33" y="0"/>
                </a:moveTo>
                <a:lnTo>
                  <a:pt x="8" y="0"/>
                </a:lnTo>
                <a:lnTo>
                  <a:pt x="0" y="9"/>
                </a:lnTo>
                <a:lnTo>
                  <a:pt x="0" y="16"/>
                </a:lnTo>
                <a:lnTo>
                  <a:pt x="33" y="16"/>
                </a:lnTo>
                <a:lnTo>
                  <a:pt x="40" y="16"/>
                </a:lnTo>
                <a:lnTo>
                  <a:pt x="33" y="0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52" name="Freeform 73"/>
          <p:cNvSpPr>
            <a:spLocks/>
          </p:cNvSpPr>
          <p:nvPr>
            <p:custDataLst>
              <p:tags r:id="rId63"/>
            </p:custDataLst>
          </p:nvPr>
        </p:nvSpPr>
        <p:spPr bwMode="gray">
          <a:xfrm>
            <a:off x="6075363" y="4549775"/>
            <a:ext cx="65087" cy="28575"/>
          </a:xfrm>
          <a:custGeom>
            <a:avLst/>
            <a:gdLst>
              <a:gd name="T0" fmla="*/ 2147483647 w 41"/>
              <a:gd name="T1" fmla="*/ 0 h 17"/>
              <a:gd name="T2" fmla="*/ 2147483647 w 41"/>
              <a:gd name="T3" fmla="*/ 0 h 17"/>
              <a:gd name="T4" fmla="*/ 0 w 41"/>
              <a:gd name="T5" fmla="*/ 2147483647 h 17"/>
              <a:gd name="T6" fmla="*/ 0 w 41"/>
              <a:gd name="T7" fmla="*/ 2147483647 h 17"/>
              <a:gd name="T8" fmla="*/ 2147483647 w 41"/>
              <a:gd name="T9" fmla="*/ 2147483647 h 17"/>
              <a:gd name="T10" fmla="*/ 2147483647 w 41"/>
              <a:gd name="T11" fmla="*/ 2147483647 h 17"/>
              <a:gd name="T12" fmla="*/ 2147483647 w 41"/>
              <a:gd name="T13" fmla="*/ 0 h 1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1"/>
              <a:gd name="T22" fmla="*/ 0 h 17"/>
              <a:gd name="T23" fmla="*/ 41 w 41"/>
              <a:gd name="T24" fmla="*/ 17 h 1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1" h="17">
                <a:moveTo>
                  <a:pt x="33" y="0"/>
                </a:moveTo>
                <a:lnTo>
                  <a:pt x="8" y="0"/>
                </a:lnTo>
                <a:lnTo>
                  <a:pt x="0" y="9"/>
                </a:lnTo>
                <a:lnTo>
                  <a:pt x="0" y="16"/>
                </a:lnTo>
                <a:lnTo>
                  <a:pt x="33" y="16"/>
                </a:lnTo>
                <a:lnTo>
                  <a:pt x="40" y="16"/>
                </a:lnTo>
                <a:lnTo>
                  <a:pt x="33" y="0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53" name="Freeform 74"/>
          <p:cNvSpPr>
            <a:spLocks/>
          </p:cNvSpPr>
          <p:nvPr>
            <p:custDataLst>
              <p:tags r:id="rId64"/>
            </p:custDataLst>
          </p:nvPr>
        </p:nvSpPr>
        <p:spPr bwMode="gray">
          <a:xfrm>
            <a:off x="5656263" y="4360863"/>
            <a:ext cx="587375" cy="612775"/>
          </a:xfrm>
          <a:custGeom>
            <a:avLst/>
            <a:gdLst>
              <a:gd name="T0" fmla="*/ 2147483647 w 374"/>
              <a:gd name="T1" fmla="*/ 2147483647 h 390"/>
              <a:gd name="T2" fmla="*/ 2147483647 w 374"/>
              <a:gd name="T3" fmla="*/ 2147483647 h 390"/>
              <a:gd name="T4" fmla="*/ 2147483647 w 374"/>
              <a:gd name="T5" fmla="*/ 2147483647 h 390"/>
              <a:gd name="T6" fmla="*/ 2147483647 w 374"/>
              <a:gd name="T7" fmla="*/ 2147483647 h 390"/>
              <a:gd name="T8" fmla="*/ 2147483647 w 374"/>
              <a:gd name="T9" fmla="*/ 2147483647 h 390"/>
              <a:gd name="T10" fmla="*/ 2147483647 w 374"/>
              <a:gd name="T11" fmla="*/ 2147483647 h 390"/>
              <a:gd name="T12" fmla="*/ 2147483647 w 374"/>
              <a:gd name="T13" fmla="*/ 2147483647 h 390"/>
              <a:gd name="T14" fmla="*/ 2147483647 w 374"/>
              <a:gd name="T15" fmla="*/ 2147483647 h 390"/>
              <a:gd name="T16" fmla="*/ 2147483647 w 374"/>
              <a:gd name="T17" fmla="*/ 2147483647 h 390"/>
              <a:gd name="T18" fmla="*/ 2147483647 w 374"/>
              <a:gd name="T19" fmla="*/ 2147483647 h 390"/>
              <a:gd name="T20" fmla="*/ 2147483647 w 374"/>
              <a:gd name="T21" fmla="*/ 2147483647 h 390"/>
              <a:gd name="T22" fmla="*/ 2147483647 w 374"/>
              <a:gd name="T23" fmla="*/ 2147483647 h 390"/>
              <a:gd name="T24" fmla="*/ 2147483647 w 374"/>
              <a:gd name="T25" fmla="*/ 2147483647 h 390"/>
              <a:gd name="T26" fmla="*/ 2147483647 w 374"/>
              <a:gd name="T27" fmla="*/ 2147483647 h 390"/>
              <a:gd name="T28" fmla="*/ 2147483647 w 374"/>
              <a:gd name="T29" fmla="*/ 2147483647 h 390"/>
              <a:gd name="T30" fmla="*/ 2147483647 w 374"/>
              <a:gd name="T31" fmla="*/ 2147483647 h 390"/>
              <a:gd name="T32" fmla="*/ 2147483647 w 374"/>
              <a:gd name="T33" fmla="*/ 2147483647 h 390"/>
              <a:gd name="T34" fmla="*/ 2147483647 w 374"/>
              <a:gd name="T35" fmla="*/ 2147483647 h 390"/>
              <a:gd name="T36" fmla="*/ 2147483647 w 374"/>
              <a:gd name="T37" fmla="*/ 2147483647 h 390"/>
              <a:gd name="T38" fmla="*/ 2147483647 w 374"/>
              <a:gd name="T39" fmla="*/ 2147483647 h 390"/>
              <a:gd name="T40" fmla="*/ 2147483647 w 374"/>
              <a:gd name="T41" fmla="*/ 2147483647 h 390"/>
              <a:gd name="T42" fmla="*/ 2147483647 w 374"/>
              <a:gd name="T43" fmla="*/ 2147483647 h 390"/>
              <a:gd name="T44" fmla="*/ 2147483647 w 374"/>
              <a:gd name="T45" fmla="*/ 2147483647 h 390"/>
              <a:gd name="T46" fmla="*/ 2147483647 w 374"/>
              <a:gd name="T47" fmla="*/ 2147483647 h 390"/>
              <a:gd name="T48" fmla="*/ 2147483647 w 374"/>
              <a:gd name="T49" fmla="*/ 2147483647 h 390"/>
              <a:gd name="T50" fmla="*/ 2147483647 w 374"/>
              <a:gd name="T51" fmla="*/ 2147483647 h 390"/>
              <a:gd name="T52" fmla="*/ 2147483647 w 374"/>
              <a:gd name="T53" fmla="*/ 2147483647 h 390"/>
              <a:gd name="T54" fmla="*/ 2147483647 w 374"/>
              <a:gd name="T55" fmla="*/ 2147483647 h 390"/>
              <a:gd name="T56" fmla="*/ 2147483647 w 374"/>
              <a:gd name="T57" fmla="*/ 2147483647 h 390"/>
              <a:gd name="T58" fmla="*/ 2147483647 w 374"/>
              <a:gd name="T59" fmla="*/ 2147483647 h 390"/>
              <a:gd name="T60" fmla="*/ 2147483647 w 374"/>
              <a:gd name="T61" fmla="*/ 2147483647 h 390"/>
              <a:gd name="T62" fmla="*/ 2147483647 w 374"/>
              <a:gd name="T63" fmla="*/ 2147483647 h 390"/>
              <a:gd name="T64" fmla="*/ 2147483647 w 374"/>
              <a:gd name="T65" fmla="*/ 2147483647 h 390"/>
              <a:gd name="T66" fmla="*/ 2147483647 w 374"/>
              <a:gd name="T67" fmla="*/ 2147483647 h 390"/>
              <a:gd name="T68" fmla="*/ 2147483647 w 374"/>
              <a:gd name="T69" fmla="*/ 2147483647 h 390"/>
              <a:gd name="T70" fmla="*/ 2147483647 w 374"/>
              <a:gd name="T71" fmla="*/ 2147483647 h 390"/>
              <a:gd name="T72" fmla="*/ 2147483647 w 374"/>
              <a:gd name="T73" fmla="*/ 2147483647 h 390"/>
              <a:gd name="T74" fmla="*/ 2147483647 w 374"/>
              <a:gd name="T75" fmla="*/ 0 h 390"/>
              <a:gd name="T76" fmla="*/ 2147483647 w 374"/>
              <a:gd name="T77" fmla="*/ 2147483647 h 390"/>
              <a:gd name="T78" fmla="*/ 2147483647 w 374"/>
              <a:gd name="T79" fmla="*/ 2147483647 h 390"/>
              <a:gd name="T80" fmla="*/ 2147483647 w 374"/>
              <a:gd name="T81" fmla="*/ 2147483647 h 390"/>
              <a:gd name="T82" fmla="*/ 2147483647 w 374"/>
              <a:gd name="T83" fmla="*/ 2147483647 h 390"/>
              <a:gd name="T84" fmla="*/ 2147483647 w 374"/>
              <a:gd name="T85" fmla="*/ 2147483647 h 390"/>
              <a:gd name="T86" fmla="*/ 2147483647 w 374"/>
              <a:gd name="T87" fmla="*/ 2147483647 h 390"/>
              <a:gd name="T88" fmla="*/ 2147483647 w 374"/>
              <a:gd name="T89" fmla="*/ 2147483647 h 390"/>
              <a:gd name="T90" fmla="*/ 2147483647 w 374"/>
              <a:gd name="T91" fmla="*/ 2147483647 h 390"/>
              <a:gd name="T92" fmla="*/ 2147483647 w 374"/>
              <a:gd name="T93" fmla="*/ 2147483647 h 390"/>
              <a:gd name="T94" fmla="*/ 2147483647 w 374"/>
              <a:gd name="T95" fmla="*/ 2147483647 h 39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374"/>
              <a:gd name="T145" fmla="*/ 0 h 390"/>
              <a:gd name="T146" fmla="*/ 374 w 374"/>
              <a:gd name="T147" fmla="*/ 390 h 390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374" h="390">
                <a:moveTo>
                  <a:pt x="342" y="105"/>
                </a:moveTo>
                <a:lnTo>
                  <a:pt x="358" y="105"/>
                </a:lnTo>
                <a:lnTo>
                  <a:pt x="373" y="121"/>
                </a:lnTo>
                <a:lnTo>
                  <a:pt x="373" y="137"/>
                </a:lnTo>
                <a:lnTo>
                  <a:pt x="358" y="137"/>
                </a:lnTo>
                <a:lnTo>
                  <a:pt x="349" y="146"/>
                </a:lnTo>
                <a:lnTo>
                  <a:pt x="333" y="178"/>
                </a:lnTo>
                <a:lnTo>
                  <a:pt x="326" y="187"/>
                </a:lnTo>
                <a:lnTo>
                  <a:pt x="318" y="202"/>
                </a:lnTo>
                <a:lnTo>
                  <a:pt x="318" y="211"/>
                </a:lnTo>
                <a:lnTo>
                  <a:pt x="308" y="187"/>
                </a:lnTo>
                <a:lnTo>
                  <a:pt x="308" y="178"/>
                </a:lnTo>
                <a:lnTo>
                  <a:pt x="301" y="187"/>
                </a:lnTo>
                <a:lnTo>
                  <a:pt x="293" y="187"/>
                </a:lnTo>
                <a:lnTo>
                  <a:pt x="293" y="178"/>
                </a:lnTo>
                <a:lnTo>
                  <a:pt x="308" y="162"/>
                </a:lnTo>
                <a:lnTo>
                  <a:pt x="276" y="162"/>
                </a:lnTo>
                <a:lnTo>
                  <a:pt x="276" y="146"/>
                </a:lnTo>
                <a:lnTo>
                  <a:pt x="268" y="146"/>
                </a:lnTo>
                <a:lnTo>
                  <a:pt x="261" y="146"/>
                </a:lnTo>
                <a:lnTo>
                  <a:pt x="261" y="153"/>
                </a:lnTo>
                <a:lnTo>
                  <a:pt x="252" y="170"/>
                </a:lnTo>
                <a:lnTo>
                  <a:pt x="261" y="170"/>
                </a:lnTo>
                <a:lnTo>
                  <a:pt x="268" y="211"/>
                </a:lnTo>
                <a:lnTo>
                  <a:pt x="261" y="211"/>
                </a:lnTo>
                <a:lnTo>
                  <a:pt x="261" y="202"/>
                </a:lnTo>
                <a:lnTo>
                  <a:pt x="243" y="211"/>
                </a:lnTo>
                <a:lnTo>
                  <a:pt x="236" y="236"/>
                </a:lnTo>
                <a:lnTo>
                  <a:pt x="221" y="242"/>
                </a:lnTo>
                <a:lnTo>
                  <a:pt x="180" y="276"/>
                </a:lnTo>
                <a:lnTo>
                  <a:pt x="180" y="283"/>
                </a:lnTo>
                <a:lnTo>
                  <a:pt x="171" y="283"/>
                </a:lnTo>
                <a:lnTo>
                  <a:pt x="162" y="292"/>
                </a:lnTo>
                <a:lnTo>
                  <a:pt x="156" y="292"/>
                </a:lnTo>
                <a:lnTo>
                  <a:pt x="156" y="299"/>
                </a:lnTo>
                <a:lnTo>
                  <a:pt x="156" y="324"/>
                </a:lnTo>
                <a:lnTo>
                  <a:pt x="147" y="339"/>
                </a:lnTo>
                <a:lnTo>
                  <a:pt x="147" y="364"/>
                </a:lnTo>
                <a:lnTo>
                  <a:pt x="139" y="373"/>
                </a:lnTo>
                <a:lnTo>
                  <a:pt x="131" y="380"/>
                </a:lnTo>
                <a:lnTo>
                  <a:pt x="122" y="389"/>
                </a:lnTo>
                <a:lnTo>
                  <a:pt x="106" y="380"/>
                </a:lnTo>
                <a:lnTo>
                  <a:pt x="82" y="307"/>
                </a:lnTo>
                <a:lnTo>
                  <a:pt x="65" y="283"/>
                </a:lnTo>
                <a:lnTo>
                  <a:pt x="59" y="236"/>
                </a:lnTo>
                <a:lnTo>
                  <a:pt x="59" y="202"/>
                </a:lnTo>
                <a:lnTo>
                  <a:pt x="50" y="218"/>
                </a:lnTo>
                <a:lnTo>
                  <a:pt x="34" y="227"/>
                </a:lnTo>
                <a:lnTo>
                  <a:pt x="9" y="202"/>
                </a:lnTo>
                <a:lnTo>
                  <a:pt x="25" y="202"/>
                </a:lnTo>
                <a:lnTo>
                  <a:pt x="25" y="195"/>
                </a:lnTo>
                <a:lnTo>
                  <a:pt x="19" y="195"/>
                </a:lnTo>
                <a:lnTo>
                  <a:pt x="0" y="187"/>
                </a:lnTo>
                <a:lnTo>
                  <a:pt x="9" y="178"/>
                </a:lnTo>
                <a:lnTo>
                  <a:pt x="34" y="178"/>
                </a:lnTo>
                <a:lnTo>
                  <a:pt x="34" y="170"/>
                </a:lnTo>
                <a:lnTo>
                  <a:pt x="34" y="153"/>
                </a:lnTo>
                <a:lnTo>
                  <a:pt x="25" y="153"/>
                </a:lnTo>
                <a:lnTo>
                  <a:pt x="25" y="146"/>
                </a:lnTo>
                <a:lnTo>
                  <a:pt x="19" y="146"/>
                </a:lnTo>
                <a:lnTo>
                  <a:pt x="19" y="130"/>
                </a:lnTo>
                <a:lnTo>
                  <a:pt x="25" y="121"/>
                </a:lnTo>
                <a:lnTo>
                  <a:pt x="34" y="130"/>
                </a:lnTo>
                <a:lnTo>
                  <a:pt x="50" y="121"/>
                </a:lnTo>
                <a:lnTo>
                  <a:pt x="90" y="74"/>
                </a:lnTo>
                <a:lnTo>
                  <a:pt x="82" y="65"/>
                </a:lnTo>
                <a:lnTo>
                  <a:pt x="90" y="65"/>
                </a:lnTo>
                <a:lnTo>
                  <a:pt x="90" y="56"/>
                </a:lnTo>
                <a:lnTo>
                  <a:pt x="74" y="50"/>
                </a:lnTo>
                <a:lnTo>
                  <a:pt x="82" y="33"/>
                </a:lnTo>
                <a:lnTo>
                  <a:pt x="74" y="25"/>
                </a:lnTo>
                <a:lnTo>
                  <a:pt x="82" y="16"/>
                </a:lnTo>
                <a:lnTo>
                  <a:pt x="99" y="25"/>
                </a:lnTo>
                <a:lnTo>
                  <a:pt x="114" y="16"/>
                </a:lnTo>
                <a:lnTo>
                  <a:pt x="122" y="8"/>
                </a:lnTo>
                <a:lnTo>
                  <a:pt x="147" y="0"/>
                </a:lnTo>
                <a:lnTo>
                  <a:pt x="156" y="8"/>
                </a:lnTo>
                <a:lnTo>
                  <a:pt x="156" y="25"/>
                </a:lnTo>
                <a:lnTo>
                  <a:pt x="139" y="40"/>
                </a:lnTo>
                <a:lnTo>
                  <a:pt x="147" y="56"/>
                </a:lnTo>
                <a:lnTo>
                  <a:pt x="131" y="56"/>
                </a:lnTo>
                <a:lnTo>
                  <a:pt x="139" y="81"/>
                </a:lnTo>
                <a:lnTo>
                  <a:pt x="162" y="90"/>
                </a:lnTo>
                <a:lnTo>
                  <a:pt x="156" y="113"/>
                </a:lnTo>
                <a:lnTo>
                  <a:pt x="171" y="121"/>
                </a:lnTo>
                <a:lnTo>
                  <a:pt x="243" y="146"/>
                </a:lnTo>
                <a:lnTo>
                  <a:pt x="252" y="146"/>
                </a:lnTo>
                <a:lnTo>
                  <a:pt x="252" y="137"/>
                </a:lnTo>
                <a:lnTo>
                  <a:pt x="252" y="121"/>
                </a:lnTo>
                <a:lnTo>
                  <a:pt x="261" y="121"/>
                </a:lnTo>
                <a:lnTo>
                  <a:pt x="268" y="130"/>
                </a:lnTo>
                <a:lnTo>
                  <a:pt x="268" y="137"/>
                </a:lnTo>
                <a:lnTo>
                  <a:pt x="301" y="137"/>
                </a:lnTo>
                <a:lnTo>
                  <a:pt x="308" y="137"/>
                </a:lnTo>
                <a:lnTo>
                  <a:pt x="301" y="121"/>
                </a:lnTo>
                <a:lnTo>
                  <a:pt x="342" y="105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54" name="Freeform 75"/>
          <p:cNvSpPr>
            <a:spLocks/>
          </p:cNvSpPr>
          <p:nvPr>
            <p:custDataLst>
              <p:tags r:id="rId65"/>
            </p:custDataLst>
          </p:nvPr>
        </p:nvSpPr>
        <p:spPr bwMode="gray">
          <a:xfrm>
            <a:off x="6051550" y="3916363"/>
            <a:ext cx="641350" cy="306387"/>
          </a:xfrm>
          <a:custGeom>
            <a:avLst/>
            <a:gdLst>
              <a:gd name="T0" fmla="*/ 2147483647 w 408"/>
              <a:gd name="T1" fmla="*/ 2147483647 h 195"/>
              <a:gd name="T2" fmla="*/ 2147483647 w 408"/>
              <a:gd name="T3" fmla="*/ 2147483647 h 195"/>
              <a:gd name="T4" fmla="*/ 2147483647 w 408"/>
              <a:gd name="T5" fmla="*/ 2147483647 h 195"/>
              <a:gd name="T6" fmla="*/ 2147483647 w 408"/>
              <a:gd name="T7" fmla="*/ 2147483647 h 195"/>
              <a:gd name="T8" fmla="*/ 2147483647 w 408"/>
              <a:gd name="T9" fmla="*/ 2147483647 h 195"/>
              <a:gd name="T10" fmla="*/ 2147483647 w 408"/>
              <a:gd name="T11" fmla="*/ 0 h 195"/>
              <a:gd name="T12" fmla="*/ 2147483647 w 408"/>
              <a:gd name="T13" fmla="*/ 2147483647 h 195"/>
              <a:gd name="T14" fmla="*/ 2147483647 w 408"/>
              <a:gd name="T15" fmla="*/ 2147483647 h 195"/>
              <a:gd name="T16" fmla="*/ 2147483647 w 408"/>
              <a:gd name="T17" fmla="*/ 2147483647 h 195"/>
              <a:gd name="T18" fmla="*/ 2147483647 w 408"/>
              <a:gd name="T19" fmla="*/ 2147483647 h 195"/>
              <a:gd name="T20" fmla="*/ 2147483647 w 408"/>
              <a:gd name="T21" fmla="*/ 2147483647 h 195"/>
              <a:gd name="T22" fmla="*/ 2147483647 w 408"/>
              <a:gd name="T23" fmla="*/ 2147483647 h 195"/>
              <a:gd name="T24" fmla="*/ 2147483647 w 408"/>
              <a:gd name="T25" fmla="*/ 2147483647 h 195"/>
              <a:gd name="T26" fmla="*/ 0 w 408"/>
              <a:gd name="T27" fmla="*/ 2147483647 h 195"/>
              <a:gd name="T28" fmla="*/ 2147483647 w 408"/>
              <a:gd name="T29" fmla="*/ 2147483647 h 195"/>
              <a:gd name="T30" fmla="*/ 2147483647 w 408"/>
              <a:gd name="T31" fmla="*/ 2147483647 h 195"/>
              <a:gd name="T32" fmla="*/ 2147483647 w 408"/>
              <a:gd name="T33" fmla="*/ 2147483647 h 195"/>
              <a:gd name="T34" fmla="*/ 2147483647 w 408"/>
              <a:gd name="T35" fmla="*/ 2147483647 h 195"/>
              <a:gd name="T36" fmla="*/ 2147483647 w 408"/>
              <a:gd name="T37" fmla="*/ 2147483647 h 195"/>
              <a:gd name="T38" fmla="*/ 2147483647 w 408"/>
              <a:gd name="T39" fmla="*/ 2147483647 h 195"/>
              <a:gd name="T40" fmla="*/ 2147483647 w 408"/>
              <a:gd name="T41" fmla="*/ 2147483647 h 195"/>
              <a:gd name="T42" fmla="*/ 2147483647 w 408"/>
              <a:gd name="T43" fmla="*/ 2147483647 h 195"/>
              <a:gd name="T44" fmla="*/ 2147483647 w 408"/>
              <a:gd name="T45" fmla="*/ 2147483647 h 195"/>
              <a:gd name="T46" fmla="*/ 2147483647 w 408"/>
              <a:gd name="T47" fmla="*/ 2147483647 h 195"/>
              <a:gd name="T48" fmla="*/ 2147483647 w 408"/>
              <a:gd name="T49" fmla="*/ 2147483647 h 195"/>
              <a:gd name="T50" fmla="*/ 2147483647 w 408"/>
              <a:gd name="T51" fmla="*/ 2147483647 h 195"/>
              <a:gd name="T52" fmla="*/ 2147483647 w 408"/>
              <a:gd name="T53" fmla="*/ 2147483647 h 195"/>
              <a:gd name="T54" fmla="*/ 2147483647 w 408"/>
              <a:gd name="T55" fmla="*/ 2147483647 h 195"/>
              <a:gd name="T56" fmla="*/ 2147483647 w 408"/>
              <a:gd name="T57" fmla="*/ 2147483647 h 195"/>
              <a:gd name="T58" fmla="*/ 2147483647 w 408"/>
              <a:gd name="T59" fmla="*/ 2147483647 h 195"/>
              <a:gd name="T60" fmla="*/ 2147483647 w 408"/>
              <a:gd name="T61" fmla="*/ 2147483647 h 195"/>
              <a:gd name="T62" fmla="*/ 2147483647 w 408"/>
              <a:gd name="T63" fmla="*/ 2147483647 h 195"/>
              <a:gd name="T64" fmla="*/ 2147483647 w 408"/>
              <a:gd name="T65" fmla="*/ 2147483647 h 195"/>
              <a:gd name="T66" fmla="*/ 2147483647 w 408"/>
              <a:gd name="T67" fmla="*/ 2147483647 h 195"/>
              <a:gd name="T68" fmla="*/ 2147483647 w 408"/>
              <a:gd name="T69" fmla="*/ 2147483647 h 195"/>
              <a:gd name="T70" fmla="*/ 2147483647 w 408"/>
              <a:gd name="T71" fmla="*/ 2147483647 h 195"/>
              <a:gd name="T72" fmla="*/ 2147483647 w 408"/>
              <a:gd name="T73" fmla="*/ 2147483647 h 195"/>
              <a:gd name="T74" fmla="*/ 2147483647 w 408"/>
              <a:gd name="T75" fmla="*/ 2147483647 h 195"/>
              <a:gd name="T76" fmla="*/ 2147483647 w 408"/>
              <a:gd name="T77" fmla="*/ 2147483647 h 195"/>
              <a:gd name="T78" fmla="*/ 2147483647 w 408"/>
              <a:gd name="T79" fmla="*/ 2147483647 h 195"/>
              <a:gd name="T80" fmla="*/ 2147483647 w 408"/>
              <a:gd name="T81" fmla="*/ 2147483647 h 195"/>
              <a:gd name="T82" fmla="*/ 2147483647 w 408"/>
              <a:gd name="T83" fmla="*/ 2147483647 h 195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408"/>
              <a:gd name="T127" fmla="*/ 0 h 195"/>
              <a:gd name="T128" fmla="*/ 408 w 408"/>
              <a:gd name="T129" fmla="*/ 195 h 195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408" h="195">
                <a:moveTo>
                  <a:pt x="268" y="49"/>
                </a:moveTo>
                <a:lnTo>
                  <a:pt x="220" y="24"/>
                </a:lnTo>
                <a:lnTo>
                  <a:pt x="205" y="32"/>
                </a:lnTo>
                <a:lnTo>
                  <a:pt x="195" y="32"/>
                </a:lnTo>
                <a:lnTo>
                  <a:pt x="180" y="9"/>
                </a:lnTo>
                <a:lnTo>
                  <a:pt x="146" y="0"/>
                </a:lnTo>
                <a:lnTo>
                  <a:pt x="130" y="9"/>
                </a:lnTo>
                <a:lnTo>
                  <a:pt x="130" y="24"/>
                </a:lnTo>
                <a:lnTo>
                  <a:pt x="130" y="40"/>
                </a:lnTo>
                <a:lnTo>
                  <a:pt x="97" y="40"/>
                </a:lnTo>
                <a:lnTo>
                  <a:pt x="81" y="32"/>
                </a:lnTo>
                <a:lnTo>
                  <a:pt x="49" y="24"/>
                </a:lnTo>
                <a:lnTo>
                  <a:pt x="9" y="49"/>
                </a:lnTo>
                <a:lnTo>
                  <a:pt x="0" y="57"/>
                </a:lnTo>
                <a:lnTo>
                  <a:pt x="16" y="81"/>
                </a:lnTo>
                <a:lnTo>
                  <a:pt x="34" y="81"/>
                </a:lnTo>
                <a:lnTo>
                  <a:pt x="41" y="97"/>
                </a:lnTo>
                <a:lnTo>
                  <a:pt x="41" y="130"/>
                </a:lnTo>
                <a:lnTo>
                  <a:pt x="90" y="146"/>
                </a:lnTo>
                <a:lnTo>
                  <a:pt x="115" y="171"/>
                </a:lnTo>
                <a:lnTo>
                  <a:pt x="162" y="171"/>
                </a:lnTo>
                <a:lnTo>
                  <a:pt x="186" y="186"/>
                </a:lnTo>
                <a:lnTo>
                  <a:pt x="220" y="194"/>
                </a:lnTo>
                <a:lnTo>
                  <a:pt x="252" y="177"/>
                </a:lnTo>
                <a:lnTo>
                  <a:pt x="285" y="177"/>
                </a:lnTo>
                <a:lnTo>
                  <a:pt x="308" y="152"/>
                </a:lnTo>
                <a:lnTo>
                  <a:pt x="302" y="146"/>
                </a:lnTo>
                <a:lnTo>
                  <a:pt x="317" y="130"/>
                </a:lnTo>
                <a:lnTo>
                  <a:pt x="333" y="137"/>
                </a:lnTo>
                <a:lnTo>
                  <a:pt x="357" y="121"/>
                </a:lnTo>
                <a:lnTo>
                  <a:pt x="373" y="105"/>
                </a:lnTo>
                <a:lnTo>
                  <a:pt x="407" y="105"/>
                </a:lnTo>
                <a:lnTo>
                  <a:pt x="397" y="89"/>
                </a:lnTo>
                <a:lnTo>
                  <a:pt x="389" y="81"/>
                </a:lnTo>
                <a:lnTo>
                  <a:pt x="373" y="89"/>
                </a:lnTo>
                <a:lnTo>
                  <a:pt x="357" y="89"/>
                </a:lnTo>
                <a:lnTo>
                  <a:pt x="357" y="57"/>
                </a:lnTo>
                <a:lnTo>
                  <a:pt x="366" y="40"/>
                </a:lnTo>
                <a:lnTo>
                  <a:pt x="342" y="32"/>
                </a:lnTo>
                <a:lnTo>
                  <a:pt x="325" y="49"/>
                </a:lnTo>
                <a:lnTo>
                  <a:pt x="292" y="57"/>
                </a:lnTo>
                <a:lnTo>
                  <a:pt x="268" y="49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55" name="Freeform 76"/>
          <p:cNvSpPr>
            <a:spLocks/>
          </p:cNvSpPr>
          <p:nvPr>
            <p:custDataLst>
              <p:tags r:id="rId66"/>
            </p:custDataLst>
          </p:nvPr>
        </p:nvSpPr>
        <p:spPr bwMode="gray">
          <a:xfrm>
            <a:off x="4699000" y="3141663"/>
            <a:ext cx="220663" cy="482600"/>
          </a:xfrm>
          <a:custGeom>
            <a:avLst/>
            <a:gdLst>
              <a:gd name="T0" fmla="*/ 2147483647 w 141"/>
              <a:gd name="T1" fmla="*/ 2147483647 h 308"/>
              <a:gd name="T2" fmla="*/ 2147483647 w 141"/>
              <a:gd name="T3" fmla="*/ 2147483647 h 308"/>
              <a:gd name="T4" fmla="*/ 2147483647 w 141"/>
              <a:gd name="T5" fmla="*/ 2147483647 h 308"/>
              <a:gd name="T6" fmla="*/ 2147483647 w 141"/>
              <a:gd name="T7" fmla="*/ 2147483647 h 308"/>
              <a:gd name="T8" fmla="*/ 2147483647 w 141"/>
              <a:gd name="T9" fmla="*/ 2147483647 h 308"/>
              <a:gd name="T10" fmla="*/ 2147483647 w 141"/>
              <a:gd name="T11" fmla="*/ 2147483647 h 308"/>
              <a:gd name="T12" fmla="*/ 2147483647 w 141"/>
              <a:gd name="T13" fmla="*/ 2147483647 h 308"/>
              <a:gd name="T14" fmla="*/ 2147483647 w 141"/>
              <a:gd name="T15" fmla="*/ 2147483647 h 308"/>
              <a:gd name="T16" fmla="*/ 2147483647 w 141"/>
              <a:gd name="T17" fmla="*/ 2147483647 h 308"/>
              <a:gd name="T18" fmla="*/ 2147483647 w 141"/>
              <a:gd name="T19" fmla="*/ 2147483647 h 308"/>
              <a:gd name="T20" fmla="*/ 2147483647 w 141"/>
              <a:gd name="T21" fmla="*/ 2147483647 h 308"/>
              <a:gd name="T22" fmla="*/ 2147483647 w 141"/>
              <a:gd name="T23" fmla="*/ 2147483647 h 308"/>
              <a:gd name="T24" fmla="*/ 2147483647 w 141"/>
              <a:gd name="T25" fmla="*/ 2147483647 h 308"/>
              <a:gd name="T26" fmla="*/ 2147483647 w 141"/>
              <a:gd name="T27" fmla="*/ 2147483647 h 308"/>
              <a:gd name="T28" fmla="*/ 2147483647 w 141"/>
              <a:gd name="T29" fmla="*/ 2147483647 h 308"/>
              <a:gd name="T30" fmla="*/ 2147483647 w 141"/>
              <a:gd name="T31" fmla="*/ 2147483647 h 308"/>
              <a:gd name="T32" fmla="*/ 2147483647 w 141"/>
              <a:gd name="T33" fmla="*/ 2147483647 h 308"/>
              <a:gd name="T34" fmla="*/ 2147483647 w 141"/>
              <a:gd name="T35" fmla="*/ 2147483647 h 308"/>
              <a:gd name="T36" fmla="*/ 2147483647 w 141"/>
              <a:gd name="T37" fmla="*/ 2147483647 h 308"/>
              <a:gd name="T38" fmla="*/ 2147483647 w 141"/>
              <a:gd name="T39" fmla="*/ 2147483647 h 308"/>
              <a:gd name="T40" fmla="*/ 2147483647 w 141"/>
              <a:gd name="T41" fmla="*/ 2147483647 h 308"/>
              <a:gd name="T42" fmla="*/ 2147483647 w 141"/>
              <a:gd name="T43" fmla="*/ 2147483647 h 308"/>
              <a:gd name="T44" fmla="*/ 2147483647 w 141"/>
              <a:gd name="T45" fmla="*/ 2147483647 h 308"/>
              <a:gd name="T46" fmla="*/ 2147483647 w 141"/>
              <a:gd name="T47" fmla="*/ 2147483647 h 308"/>
              <a:gd name="T48" fmla="*/ 0 w 141"/>
              <a:gd name="T49" fmla="*/ 2147483647 h 308"/>
              <a:gd name="T50" fmla="*/ 2147483647 w 141"/>
              <a:gd name="T51" fmla="*/ 2147483647 h 308"/>
              <a:gd name="T52" fmla="*/ 2147483647 w 141"/>
              <a:gd name="T53" fmla="*/ 2147483647 h 308"/>
              <a:gd name="T54" fmla="*/ 2147483647 w 141"/>
              <a:gd name="T55" fmla="*/ 2147483647 h 308"/>
              <a:gd name="T56" fmla="*/ 2147483647 w 141"/>
              <a:gd name="T57" fmla="*/ 2147483647 h 308"/>
              <a:gd name="T58" fmla="*/ 2147483647 w 141"/>
              <a:gd name="T59" fmla="*/ 2147483647 h 308"/>
              <a:gd name="T60" fmla="*/ 2147483647 w 141"/>
              <a:gd name="T61" fmla="*/ 0 h 308"/>
              <a:gd name="T62" fmla="*/ 2147483647 w 141"/>
              <a:gd name="T63" fmla="*/ 2147483647 h 308"/>
              <a:gd name="T64" fmla="*/ 2147483647 w 141"/>
              <a:gd name="T65" fmla="*/ 2147483647 h 308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41"/>
              <a:gd name="T100" fmla="*/ 0 h 308"/>
              <a:gd name="T101" fmla="*/ 141 w 141"/>
              <a:gd name="T102" fmla="*/ 308 h 308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41" h="308">
                <a:moveTo>
                  <a:pt x="106" y="40"/>
                </a:moveTo>
                <a:lnTo>
                  <a:pt x="106" y="65"/>
                </a:lnTo>
                <a:lnTo>
                  <a:pt x="124" y="81"/>
                </a:lnTo>
                <a:lnTo>
                  <a:pt x="115" y="105"/>
                </a:lnTo>
                <a:lnTo>
                  <a:pt x="124" y="145"/>
                </a:lnTo>
                <a:lnTo>
                  <a:pt x="115" y="170"/>
                </a:lnTo>
                <a:lnTo>
                  <a:pt x="131" y="195"/>
                </a:lnTo>
                <a:lnTo>
                  <a:pt x="124" y="210"/>
                </a:lnTo>
                <a:lnTo>
                  <a:pt x="140" y="227"/>
                </a:lnTo>
                <a:lnTo>
                  <a:pt x="140" y="235"/>
                </a:lnTo>
                <a:lnTo>
                  <a:pt x="115" y="276"/>
                </a:lnTo>
                <a:lnTo>
                  <a:pt x="91" y="292"/>
                </a:lnTo>
                <a:lnTo>
                  <a:pt x="83" y="292"/>
                </a:lnTo>
                <a:lnTo>
                  <a:pt x="41" y="307"/>
                </a:lnTo>
                <a:lnTo>
                  <a:pt x="9" y="292"/>
                </a:lnTo>
                <a:lnTo>
                  <a:pt x="18" y="267"/>
                </a:lnTo>
                <a:lnTo>
                  <a:pt x="9" y="242"/>
                </a:lnTo>
                <a:lnTo>
                  <a:pt x="18" y="227"/>
                </a:lnTo>
                <a:lnTo>
                  <a:pt x="49" y="177"/>
                </a:lnTo>
                <a:lnTo>
                  <a:pt x="59" y="170"/>
                </a:lnTo>
                <a:lnTo>
                  <a:pt x="59" y="153"/>
                </a:lnTo>
                <a:lnTo>
                  <a:pt x="49" y="145"/>
                </a:lnTo>
                <a:lnTo>
                  <a:pt x="41" y="145"/>
                </a:lnTo>
                <a:lnTo>
                  <a:pt x="34" y="71"/>
                </a:lnTo>
                <a:lnTo>
                  <a:pt x="0" y="40"/>
                </a:lnTo>
                <a:lnTo>
                  <a:pt x="9" y="31"/>
                </a:lnTo>
                <a:lnTo>
                  <a:pt x="25" y="49"/>
                </a:lnTo>
                <a:lnTo>
                  <a:pt x="59" y="49"/>
                </a:lnTo>
                <a:lnTo>
                  <a:pt x="66" y="40"/>
                </a:lnTo>
                <a:lnTo>
                  <a:pt x="74" y="8"/>
                </a:lnTo>
                <a:lnTo>
                  <a:pt x="91" y="0"/>
                </a:lnTo>
                <a:lnTo>
                  <a:pt x="115" y="16"/>
                </a:lnTo>
                <a:lnTo>
                  <a:pt x="106" y="40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56" name="Freeform 77"/>
          <p:cNvSpPr>
            <a:spLocks/>
          </p:cNvSpPr>
          <p:nvPr>
            <p:custDataLst>
              <p:tags r:id="rId67"/>
            </p:custDataLst>
          </p:nvPr>
        </p:nvSpPr>
        <p:spPr bwMode="gray">
          <a:xfrm>
            <a:off x="1935163" y="4449763"/>
            <a:ext cx="603250" cy="395287"/>
          </a:xfrm>
          <a:custGeom>
            <a:avLst/>
            <a:gdLst>
              <a:gd name="T0" fmla="*/ 2147483647 w 383"/>
              <a:gd name="T1" fmla="*/ 2147483647 h 252"/>
              <a:gd name="T2" fmla="*/ 2147483647 w 383"/>
              <a:gd name="T3" fmla="*/ 2147483647 h 252"/>
              <a:gd name="T4" fmla="*/ 2147483647 w 383"/>
              <a:gd name="T5" fmla="*/ 2147483647 h 252"/>
              <a:gd name="T6" fmla="*/ 2147483647 w 383"/>
              <a:gd name="T7" fmla="*/ 2147483647 h 252"/>
              <a:gd name="T8" fmla="*/ 2147483647 w 383"/>
              <a:gd name="T9" fmla="*/ 2147483647 h 252"/>
              <a:gd name="T10" fmla="*/ 2147483647 w 383"/>
              <a:gd name="T11" fmla="*/ 2147483647 h 252"/>
              <a:gd name="T12" fmla="*/ 2147483647 w 383"/>
              <a:gd name="T13" fmla="*/ 2147483647 h 252"/>
              <a:gd name="T14" fmla="*/ 2147483647 w 383"/>
              <a:gd name="T15" fmla="*/ 2147483647 h 252"/>
              <a:gd name="T16" fmla="*/ 2147483647 w 383"/>
              <a:gd name="T17" fmla="*/ 2147483647 h 252"/>
              <a:gd name="T18" fmla="*/ 2147483647 w 383"/>
              <a:gd name="T19" fmla="*/ 2147483647 h 252"/>
              <a:gd name="T20" fmla="*/ 2147483647 w 383"/>
              <a:gd name="T21" fmla="*/ 2147483647 h 252"/>
              <a:gd name="T22" fmla="*/ 2147483647 w 383"/>
              <a:gd name="T23" fmla="*/ 2147483647 h 252"/>
              <a:gd name="T24" fmla="*/ 2147483647 w 383"/>
              <a:gd name="T25" fmla="*/ 2147483647 h 252"/>
              <a:gd name="T26" fmla="*/ 2147483647 w 383"/>
              <a:gd name="T27" fmla="*/ 2147483647 h 252"/>
              <a:gd name="T28" fmla="*/ 2147483647 w 383"/>
              <a:gd name="T29" fmla="*/ 2147483647 h 252"/>
              <a:gd name="T30" fmla="*/ 2147483647 w 383"/>
              <a:gd name="T31" fmla="*/ 2147483647 h 252"/>
              <a:gd name="T32" fmla="*/ 2147483647 w 383"/>
              <a:gd name="T33" fmla="*/ 2147483647 h 252"/>
              <a:gd name="T34" fmla="*/ 2147483647 w 383"/>
              <a:gd name="T35" fmla="*/ 2147483647 h 252"/>
              <a:gd name="T36" fmla="*/ 2147483647 w 383"/>
              <a:gd name="T37" fmla="*/ 2147483647 h 252"/>
              <a:gd name="T38" fmla="*/ 2147483647 w 383"/>
              <a:gd name="T39" fmla="*/ 2147483647 h 252"/>
              <a:gd name="T40" fmla="*/ 2147483647 w 383"/>
              <a:gd name="T41" fmla="*/ 2147483647 h 252"/>
              <a:gd name="T42" fmla="*/ 2147483647 w 383"/>
              <a:gd name="T43" fmla="*/ 2147483647 h 252"/>
              <a:gd name="T44" fmla="*/ 2147483647 w 383"/>
              <a:gd name="T45" fmla="*/ 2147483647 h 252"/>
              <a:gd name="T46" fmla="*/ 2147483647 w 383"/>
              <a:gd name="T47" fmla="*/ 2147483647 h 252"/>
              <a:gd name="T48" fmla="*/ 2147483647 w 383"/>
              <a:gd name="T49" fmla="*/ 2147483647 h 252"/>
              <a:gd name="T50" fmla="*/ 2147483647 w 383"/>
              <a:gd name="T51" fmla="*/ 2147483647 h 252"/>
              <a:gd name="T52" fmla="*/ 2147483647 w 383"/>
              <a:gd name="T53" fmla="*/ 2147483647 h 252"/>
              <a:gd name="T54" fmla="*/ 2147483647 w 383"/>
              <a:gd name="T55" fmla="*/ 2147483647 h 252"/>
              <a:gd name="T56" fmla="*/ 2147483647 w 383"/>
              <a:gd name="T57" fmla="*/ 2147483647 h 252"/>
              <a:gd name="T58" fmla="*/ 2147483647 w 383"/>
              <a:gd name="T59" fmla="*/ 2147483647 h 252"/>
              <a:gd name="T60" fmla="*/ 2147483647 w 383"/>
              <a:gd name="T61" fmla="*/ 0 h 252"/>
              <a:gd name="T62" fmla="*/ 2147483647 w 383"/>
              <a:gd name="T63" fmla="*/ 2147483647 h 252"/>
              <a:gd name="T64" fmla="*/ 2147483647 w 383"/>
              <a:gd name="T65" fmla="*/ 2147483647 h 252"/>
              <a:gd name="T66" fmla="*/ 2147483647 w 383"/>
              <a:gd name="T67" fmla="*/ 2147483647 h 252"/>
              <a:gd name="T68" fmla="*/ 2147483647 w 383"/>
              <a:gd name="T69" fmla="*/ 2147483647 h 252"/>
              <a:gd name="T70" fmla="*/ 2147483647 w 383"/>
              <a:gd name="T71" fmla="*/ 2147483647 h 252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383"/>
              <a:gd name="T109" fmla="*/ 0 h 252"/>
              <a:gd name="T110" fmla="*/ 383 w 383"/>
              <a:gd name="T111" fmla="*/ 252 h 252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383" h="252">
                <a:moveTo>
                  <a:pt x="251" y="97"/>
                </a:moveTo>
                <a:lnTo>
                  <a:pt x="243" y="114"/>
                </a:lnTo>
                <a:lnTo>
                  <a:pt x="243" y="146"/>
                </a:lnTo>
                <a:lnTo>
                  <a:pt x="251" y="155"/>
                </a:lnTo>
                <a:lnTo>
                  <a:pt x="251" y="162"/>
                </a:lnTo>
                <a:lnTo>
                  <a:pt x="268" y="196"/>
                </a:lnTo>
                <a:lnTo>
                  <a:pt x="292" y="203"/>
                </a:lnTo>
                <a:lnTo>
                  <a:pt x="317" y="196"/>
                </a:lnTo>
                <a:lnTo>
                  <a:pt x="332" y="196"/>
                </a:lnTo>
                <a:lnTo>
                  <a:pt x="323" y="196"/>
                </a:lnTo>
                <a:lnTo>
                  <a:pt x="332" y="186"/>
                </a:lnTo>
                <a:lnTo>
                  <a:pt x="341" y="162"/>
                </a:lnTo>
                <a:lnTo>
                  <a:pt x="348" y="162"/>
                </a:lnTo>
                <a:lnTo>
                  <a:pt x="373" y="155"/>
                </a:lnTo>
                <a:lnTo>
                  <a:pt x="382" y="162"/>
                </a:lnTo>
                <a:lnTo>
                  <a:pt x="373" y="196"/>
                </a:lnTo>
                <a:lnTo>
                  <a:pt x="373" y="203"/>
                </a:lnTo>
                <a:lnTo>
                  <a:pt x="364" y="196"/>
                </a:lnTo>
                <a:lnTo>
                  <a:pt x="357" y="203"/>
                </a:lnTo>
                <a:lnTo>
                  <a:pt x="332" y="203"/>
                </a:lnTo>
                <a:lnTo>
                  <a:pt x="323" y="211"/>
                </a:lnTo>
                <a:lnTo>
                  <a:pt x="341" y="227"/>
                </a:lnTo>
                <a:lnTo>
                  <a:pt x="323" y="227"/>
                </a:lnTo>
                <a:lnTo>
                  <a:pt x="317" y="251"/>
                </a:lnTo>
                <a:lnTo>
                  <a:pt x="292" y="227"/>
                </a:lnTo>
                <a:lnTo>
                  <a:pt x="276" y="227"/>
                </a:lnTo>
                <a:lnTo>
                  <a:pt x="268" y="236"/>
                </a:lnTo>
                <a:lnTo>
                  <a:pt x="243" y="227"/>
                </a:lnTo>
                <a:lnTo>
                  <a:pt x="202" y="211"/>
                </a:lnTo>
                <a:lnTo>
                  <a:pt x="195" y="203"/>
                </a:lnTo>
                <a:lnTo>
                  <a:pt x="171" y="203"/>
                </a:lnTo>
                <a:lnTo>
                  <a:pt x="155" y="186"/>
                </a:lnTo>
                <a:lnTo>
                  <a:pt x="146" y="171"/>
                </a:lnTo>
                <a:lnTo>
                  <a:pt x="155" y="162"/>
                </a:lnTo>
                <a:lnTo>
                  <a:pt x="146" y="146"/>
                </a:lnTo>
                <a:lnTo>
                  <a:pt x="114" y="106"/>
                </a:lnTo>
                <a:lnTo>
                  <a:pt x="96" y="97"/>
                </a:lnTo>
                <a:lnTo>
                  <a:pt x="96" y="90"/>
                </a:lnTo>
                <a:lnTo>
                  <a:pt x="81" y="74"/>
                </a:lnTo>
                <a:lnTo>
                  <a:pt x="81" y="65"/>
                </a:lnTo>
                <a:lnTo>
                  <a:pt x="72" y="65"/>
                </a:lnTo>
                <a:lnTo>
                  <a:pt x="64" y="49"/>
                </a:lnTo>
                <a:lnTo>
                  <a:pt x="49" y="18"/>
                </a:lnTo>
                <a:lnTo>
                  <a:pt x="40" y="18"/>
                </a:lnTo>
                <a:lnTo>
                  <a:pt x="24" y="9"/>
                </a:lnTo>
                <a:lnTo>
                  <a:pt x="32" y="34"/>
                </a:lnTo>
                <a:lnTo>
                  <a:pt x="72" y="90"/>
                </a:lnTo>
                <a:lnTo>
                  <a:pt x="81" y="122"/>
                </a:lnTo>
                <a:lnTo>
                  <a:pt x="89" y="122"/>
                </a:lnTo>
                <a:lnTo>
                  <a:pt x="96" y="131"/>
                </a:lnTo>
                <a:lnTo>
                  <a:pt x="89" y="139"/>
                </a:lnTo>
                <a:lnTo>
                  <a:pt x="81" y="131"/>
                </a:lnTo>
                <a:lnTo>
                  <a:pt x="56" y="114"/>
                </a:lnTo>
                <a:lnTo>
                  <a:pt x="64" y="106"/>
                </a:lnTo>
                <a:lnTo>
                  <a:pt x="56" y="90"/>
                </a:lnTo>
                <a:lnTo>
                  <a:pt x="32" y="81"/>
                </a:lnTo>
                <a:lnTo>
                  <a:pt x="24" y="65"/>
                </a:lnTo>
                <a:lnTo>
                  <a:pt x="32" y="74"/>
                </a:lnTo>
                <a:lnTo>
                  <a:pt x="40" y="57"/>
                </a:lnTo>
                <a:lnTo>
                  <a:pt x="16" y="41"/>
                </a:lnTo>
                <a:lnTo>
                  <a:pt x="0" y="0"/>
                </a:lnTo>
                <a:lnTo>
                  <a:pt x="24" y="0"/>
                </a:lnTo>
                <a:lnTo>
                  <a:pt x="72" y="18"/>
                </a:lnTo>
                <a:lnTo>
                  <a:pt x="137" y="9"/>
                </a:lnTo>
                <a:lnTo>
                  <a:pt x="155" y="25"/>
                </a:lnTo>
                <a:lnTo>
                  <a:pt x="155" y="41"/>
                </a:lnTo>
                <a:lnTo>
                  <a:pt x="171" y="49"/>
                </a:lnTo>
                <a:lnTo>
                  <a:pt x="179" y="49"/>
                </a:lnTo>
                <a:lnTo>
                  <a:pt x="186" y="41"/>
                </a:lnTo>
                <a:lnTo>
                  <a:pt x="195" y="41"/>
                </a:lnTo>
                <a:lnTo>
                  <a:pt x="226" y="90"/>
                </a:lnTo>
                <a:lnTo>
                  <a:pt x="251" y="97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57" name="Freeform 78"/>
          <p:cNvSpPr>
            <a:spLocks/>
          </p:cNvSpPr>
          <p:nvPr>
            <p:custDataLst>
              <p:tags r:id="rId68"/>
            </p:custDataLst>
          </p:nvPr>
        </p:nvSpPr>
        <p:spPr bwMode="gray">
          <a:xfrm>
            <a:off x="2497138" y="4756150"/>
            <a:ext cx="25400" cy="50800"/>
          </a:xfrm>
          <a:custGeom>
            <a:avLst/>
            <a:gdLst>
              <a:gd name="T0" fmla="*/ 0 w 17"/>
              <a:gd name="T1" fmla="*/ 2147483647 h 32"/>
              <a:gd name="T2" fmla="*/ 2147483647 w 17"/>
              <a:gd name="T3" fmla="*/ 2147483647 h 32"/>
              <a:gd name="T4" fmla="*/ 2147483647 w 17"/>
              <a:gd name="T5" fmla="*/ 0 h 32"/>
              <a:gd name="T6" fmla="*/ 0 w 17"/>
              <a:gd name="T7" fmla="*/ 2147483647 h 32"/>
              <a:gd name="T8" fmla="*/ 0 w 17"/>
              <a:gd name="T9" fmla="*/ 2147483647 h 3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32"/>
              <a:gd name="T17" fmla="*/ 17 w 17"/>
              <a:gd name="T18" fmla="*/ 32 h 3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32">
                <a:moveTo>
                  <a:pt x="0" y="31"/>
                </a:moveTo>
                <a:lnTo>
                  <a:pt x="16" y="31"/>
                </a:lnTo>
                <a:lnTo>
                  <a:pt x="16" y="0"/>
                </a:lnTo>
                <a:lnTo>
                  <a:pt x="0" y="7"/>
                </a:lnTo>
                <a:lnTo>
                  <a:pt x="0" y="31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58" name="Freeform 79"/>
          <p:cNvSpPr>
            <a:spLocks/>
          </p:cNvSpPr>
          <p:nvPr>
            <p:custDataLst>
              <p:tags r:id="rId69"/>
            </p:custDataLst>
          </p:nvPr>
        </p:nvSpPr>
        <p:spPr bwMode="gray">
          <a:xfrm>
            <a:off x="2433638" y="4767263"/>
            <a:ext cx="74612" cy="93662"/>
          </a:xfrm>
          <a:custGeom>
            <a:avLst/>
            <a:gdLst>
              <a:gd name="T0" fmla="*/ 2147483647 w 48"/>
              <a:gd name="T1" fmla="*/ 2147483647 h 59"/>
              <a:gd name="T2" fmla="*/ 2147483647 w 48"/>
              <a:gd name="T3" fmla="*/ 2147483647 h 59"/>
              <a:gd name="T4" fmla="*/ 2147483647 w 48"/>
              <a:gd name="T5" fmla="*/ 2147483647 h 59"/>
              <a:gd name="T6" fmla="*/ 2147483647 w 48"/>
              <a:gd name="T7" fmla="*/ 2147483647 h 59"/>
              <a:gd name="T8" fmla="*/ 0 w 48"/>
              <a:gd name="T9" fmla="*/ 2147483647 h 59"/>
              <a:gd name="T10" fmla="*/ 2147483647 w 48"/>
              <a:gd name="T11" fmla="*/ 2147483647 h 59"/>
              <a:gd name="T12" fmla="*/ 2147483647 w 48"/>
              <a:gd name="T13" fmla="*/ 2147483647 h 59"/>
              <a:gd name="T14" fmla="*/ 2147483647 w 48"/>
              <a:gd name="T15" fmla="*/ 2147483647 h 59"/>
              <a:gd name="T16" fmla="*/ 2147483647 w 48"/>
              <a:gd name="T17" fmla="*/ 0 h 59"/>
              <a:gd name="T18" fmla="*/ 2147483647 w 48"/>
              <a:gd name="T19" fmla="*/ 0 h 59"/>
              <a:gd name="T20" fmla="*/ 2147483647 w 48"/>
              <a:gd name="T21" fmla="*/ 2147483647 h 59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48"/>
              <a:gd name="T34" fmla="*/ 0 h 59"/>
              <a:gd name="T35" fmla="*/ 48 w 48"/>
              <a:gd name="T36" fmla="*/ 59 h 59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48" h="59">
                <a:moveTo>
                  <a:pt x="40" y="24"/>
                </a:moveTo>
                <a:lnTo>
                  <a:pt x="47" y="33"/>
                </a:lnTo>
                <a:lnTo>
                  <a:pt x="31" y="48"/>
                </a:lnTo>
                <a:lnTo>
                  <a:pt x="24" y="58"/>
                </a:lnTo>
                <a:lnTo>
                  <a:pt x="0" y="48"/>
                </a:lnTo>
                <a:lnTo>
                  <a:pt x="6" y="24"/>
                </a:lnTo>
                <a:lnTo>
                  <a:pt x="24" y="24"/>
                </a:lnTo>
                <a:lnTo>
                  <a:pt x="6" y="8"/>
                </a:lnTo>
                <a:lnTo>
                  <a:pt x="15" y="0"/>
                </a:lnTo>
                <a:lnTo>
                  <a:pt x="40" y="0"/>
                </a:lnTo>
                <a:lnTo>
                  <a:pt x="40" y="24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59" name="Freeform 80"/>
          <p:cNvSpPr>
            <a:spLocks/>
          </p:cNvSpPr>
          <p:nvPr>
            <p:custDataLst>
              <p:tags r:id="rId70"/>
            </p:custDataLst>
          </p:nvPr>
        </p:nvSpPr>
        <p:spPr bwMode="gray">
          <a:xfrm>
            <a:off x="2482850" y="4819650"/>
            <a:ext cx="128588" cy="52388"/>
          </a:xfrm>
          <a:custGeom>
            <a:avLst/>
            <a:gdLst>
              <a:gd name="T0" fmla="*/ 2147483647 w 82"/>
              <a:gd name="T1" fmla="*/ 0 h 33"/>
              <a:gd name="T2" fmla="*/ 2147483647 w 82"/>
              <a:gd name="T3" fmla="*/ 0 h 33"/>
              <a:gd name="T4" fmla="*/ 2147483647 w 82"/>
              <a:gd name="T5" fmla="*/ 2147483647 h 33"/>
              <a:gd name="T6" fmla="*/ 2147483647 w 82"/>
              <a:gd name="T7" fmla="*/ 2147483647 h 33"/>
              <a:gd name="T8" fmla="*/ 2147483647 w 82"/>
              <a:gd name="T9" fmla="*/ 2147483647 h 33"/>
              <a:gd name="T10" fmla="*/ 2147483647 w 82"/>
              <a:gd name="T11" fmla="*/ 2147483647 h 33"/>
              <a:gd name="T12" fmla="*/ 2147483647 w 82"/>
              <a:gd name="T13" fmla="*/ 2147483647 h 33"/>
              <a:gd name="T14" fmla="*/ 0 w 82"/>
              <a:gd name="T15" fmla="*/ 2147483647 h 33"/>
              <a:gd name="T16" fmla="*/ 2147483647 w 82"/>
              <a:gd name="T17" fmla="*/ 0 h 3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82"/>
              <a:gd name="T28" fmla="*/ 0 h 33"/>
              <a:gd name="T29" fmla="*/ 82 w 82"/>
              <a:gd name="T30" fmla="*/ 33 h 3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82" h="33">
                <a:moveTo>
                  <a:pt x="16" y="0"/>
                </a:moveTo>
                <a:lnTo>
                  <a:pt x="59" y="0"/>
                </a:lnTo>
                <a:lnTo>
                  <a:pt x="81" y="7"/>
                </a:lnTo>
                <a:lnTo>
                  <a:pt x="65" y="15"/>
                </a:lnTo>
                <a:lnTo>
                  <a:pt x="34" y="32"/>
                </a:lnTo>
                <a:lnTo>
                  <a:pt x="25" y="32"/>
                </a:lnTo>
                <a:lnTo>
                  <a:pt x="25" y="25"/>
                </a:lnTo>
                <a:lnTo>
                  <a:pt x="0" y="15"/>
                </a:lnTo>
                <a:lnTo>
                  <a:pt x="16" y="0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60" name="Freeform 81"/>
          <p:cNvSpPr>
            <a:spLocks/>
          </p:cNvSpPr>
          <p:nvPr>
            <p:custDataLst>
              <p:tags r:id="rId71"/>
            </p:custDataLst>
          </p:nvPr>
        </p:nvSpPr>
        <p:spPr bwMode="gray">
          <a:xfrm>
            <a:off x="2471738" y="4843463"/>
            <a:ext cx="50800" cy="28575"/>
          </a:xfrm>
          <a:custGeom>
            <a:avLst/>
            <a:gdLst>
              <a:gd name="T0" fmla="*/ 2147483647 w 33"/>
              <a:gd name="T1" fmla="*/ 0 h 18"/>
              <a:gd name="T2" fmla="*/ 0 w 33"/>
              <a:gd name="T3" fmla="*/ 2147483647 h 18"/>
              <a:gd name="T4" fmla="*/ 2147483647 w 33"/>
              <a:gd name="T5" fmla="*/ 2147483647 h 18"/>
              <a:gd name="T6" fmla="*/ 2147483647 w 33"/>
              <a:gd name="T7" fmla="*/ 2147483647 h 18"/>
              <a:gd name="T8" fmla="*/ 2147483647 w 33"/>
              <a:gd name="T9" fmla="*/ 2147483647 h 18"/>
              <a:gd name="T10" fmla="*/ 2147483647 w 33"/>
              <a:gd name="T11" fmla="*/ 0 h 1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3"/>
              <a:gd name="T19" fmla="*/ 0 h 18"/>
              <a:gd name="T20" fmla="*/ 33 w 33"/>
              <a:gd name="T21" fmla="*/ 18 h 1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3" h="18">
                <a:moveTo>
                  <a:pt x="7" y="0"/>
                </a:moveTo>
                <a:lnTo>
                  <a:pt x="0" y="10"/>
                </a:lnTo>
                <a:lnTo>
                  <a:pt x="7" y="17"/>
                </a:lnTo>
                <a:lnTo>
                  <a:pt x="32" y="17"/>
                </a:lnTo>
                <a:lnTo>
                  <a:pt x="32" y="10"/>
                </a:lnTo>
                <a:lnTo>
                  <a:pt x="7" y="0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61" name="Freeform 82"/>
          <p:cNvSpPr>
            <a:spLocks/>
          </p:cNvSpPr>
          <p:nvPr>
            <p:custDataLst>
              <p:tags r:id="rId72"/>
            </p:custDataLst>
          </p:nvPr>
        </p:nvSpPr>
        <p:spPr bwMode="gray">
          <a:xfrm>
            <a:off x="2536825" y="4830763"/>
            <a:ext cx="74613" cy="93662"/>
          </a:xfrm>
          <a:custGeom>
            <a:avLst/>
            <a:gdLst>
              <a:gd name="T0" fmla="*/ 2147483647 w 48"/>
              <a:gd name="T1" fmla="*/ 0 h 59"/>
              <a:gd name="T2" fmla="*/ 2147483647 w 48"/>
              <a:gd name="T3" fmla="*/ 2147483647 h 59"/>
              <a:gd name="T4" fmla="*/ 2147483647 w 48"/>
              <a:gd name="T5" fmla="*/ 2147483647 h 59"/>
              <a:gd name="T6" fmla="*/ 2147483647 w 48"/>
              <a:gd name="T7" fmla="*/ 2147483647 h 59"/>
              <a:gd name="T8" fmla="*/ 2147483647 w 48"/>
              <a:gd name="T9" fmla="*/ 2147483647 h 59"/>
              <a:gd name="T10" fmla="*/ 2147483647 w 48"/>
              <a:gd name="T11" fmla="*/ 2147483647 h 59"/>
              <a:gd name="T12" fmla="*/ 0 w 48"/>
              <a:gd name="T13" fmla="*/ 2147483647 h 59"/>
              <a:gd name="T14" fmla="*/ 0 w 48"/>
              <a:gd name="T15" fmla="*/ 2147483647 h 59"/>
              <a:gd name="T16" fmla="*/ 2147483647 w 48"/>
              <a:gd name="T17" fmla="*/ 2147483647 h 59"/>
              <a:gd name="T18" fmla="*/ 2147483647 w 48"/>
              <a:gd name="T19" fmla="*/ 0 h 5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8"/>
              <a:gd name="T31" fmla="*/ 0 h 59"/>
              <a:gd name="T32" fmla="*/ 48 w 48"/>
              <a:gd name="T33" fmla="*/ 59 h 5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8" h="59">
                <a:moveTo>
                  <a:pt x="47" y="0"/>
                </a:moveTo>
                <a:lnTo>
                  <a:pt x="47" y="8"/>
                </a:lnTo>
                <a:lnTo>
                  <a:pt x="40" y="50"/>
                </a:lnTo>
                <a:lnTo>
                  <a:pt x="47" y="58"/>
                </a:lnTo>
                <a:lnTo>
                  <a:pt x="40" y="58"/>
                </a:lnTo>
                <a:lnTo>
                  <a:pt x="15" y="50"/>
                </a:lnTo>
                <a:lnTo>
                  <a:pt x="0" y="33"/>
                </a:lnTo>
                <a:lnTo>
                  <a:pt x="0" y="25"/>
                </a:lnTo>
                <a:lnTo>
                  <a:pt x="31" y="8"/>
                </a:lnTo>
                <a:lnTo>
                  <a:pt x="47" y="0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62" name="Freeform 83"/>
          <p:cNvSpPr>
            <a:spLocks/>
          </p:cNvSpPr>
          <p:nvPr>
            <p:custDataLst>
              <p:tags r:id="rId73"/>
            </p:custDataLst>
          </p:nvPr>
        </p:nvSpPr>
        <p:spPr bwMode="gray">
          <a:xfrm>
            <a:off x="2559050" y="4908550"/>
            <a:ext cx="65088" cy="65088"/>
          </a:xfrm>
          <a:custGeom>
            <a:avLst/>
            <a:gdLst>
              <a:gd name="T0" fmla="*/ 2147483647 w 42"/>
              <a:gd name="T1" fmla="*/ 2147483647 h 41"/>
              <a:gd name="T2" fmla="*/ 2147483647 w 42"/>
              <a:gd name="T3" fmla="*/ 2147483647 h 41"/>
              <a:gd name="T4" fmla="*/ 2147483647 w 42"/>
              <a:gd name="T5" fmla="*/ 2147483647 h 41"/>
              <a:gd name="T6" fmla="*/ 2147483647 w 42"/>
              <a:gd name="T7" fmla="*/ 2147483647 h 41"/>
              <a:gd name="T8" fmla="*/ 2147483647 w 42"/>
              <a:gd name="T9" fmla="*/ 2147483647 h 41"/>
              <a:gd name="T10" fmla="*/ 0 w 42"/>
              <a:gd name="T11" fmla="*/ 0 h 41"/>
              <a:gd name="T12" fmla="*/ 0 w 42"/>
              <a:gd name="T13" fmla="*/ 2147483647 h 41"/>
              <a:gd name="T14" fmla="*/ 2147483647 w 42"/>
              <a:gd name="T15" fmla="*/ 2147483647 h 41"/>
              <a:gd name="T16" fmla="*/ 2147483647 w 42"/>
              <a:gd name="T17" fmla="*/ 2147483647 h 41"/>
              <a:gd name="T18" fmla="*/ 2147483647 w 42"/>
              <a:gd name="T19" fmla="*/ 2147483647 h 41"/>
              <a:gd name="T20" fmla="*/ 2147483647 w 42"/>
              <a:gd name="T21" fmla="*/ 2147483647 h 4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42"/>
              <a:gd name="T34" fmla="*/ 0 h 41"/>
              <a:gd name="T35" fmla="*/ 42 w 42"/>
              <a:gd name="T36" fmla="*/ 41 h 4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42" h="41">
                <a:moveTo>
                  <a:pt x="41" y="40"/>
                </a:moveTo>
                <a:lnTo>
                  <a:pt x="41" y="24"/>
                </a:lnTo>
                <a:lnTo>
                  <a:pt x="32" y="15"/>
                </a:lnTo>
                <a:lnTo>
                  <a:pt x="32" y="8"/>
                </a:lnTo>
                <a:lnTo>
                  <a:pt x="25" y="8"/>
                </a:lnTo>
                <a:lnTo>
                  <a:pt x="0" y="0"/>
                </a:lnTo>
                <a:lnTo>
                  <a:pt x="0" y="15"/>
                </a:lnTo>
                <a:lnTo>
                  <a:pt x="10" y="24"/>
                </a:lnTo>
                <a:lnTo>
                  <a:pt x="16" y="15"/>
                </a:lnTo>
                <a:lnTo>
                  <a:pt x="25" y="31"/>
                </a:lnTo>
                <a:lnTo>
                  <a:pt x="41" y="40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63" name="Freeform 84"/>
          <p:cNvSpPr>
            <a:spLocks/>
          </p:cNvSpPr>
          <p:nvPr>
            <p:custDataLst>
              <p:tags r:id="rId74"/>
            </p:custDataLst>
          </p:nvPr>
        </p:nvSpPr>
        <p:spPr bwMode="gray">
          <a:xfrm>
            <a:off x="2624138" y="4946650"/>
            <a:ext cx="65087" cy="50800"/>
          </a:xfrm>
          <a:custGeom>
            <a:avLst/>
            <a:gdLst>
              <a:gd name="T0" fmla="*/ 0 w 42"/>
              <a:gd name="T1" fmla="*/ 2147483647 h 32"/>
              <a:gd name="T2" fmla="*/ 2147483647 w 42"/>
              <a:gd name="T3" fmla="*/ 2147483647 h 32"/>
              <a:gd name="T4" fmla="*/ 2147483647 w 42"/>
              <a:gd name="T5" fmla="*/ 2147483647 h 32"/>
              <a:gd name="T6" fmla="*/ 2147483647 w 42"/>
              <a:gd name="T7" fmla="*/ 2147483647 h 32"/>
              <a:gd name="T8" fmla="*/ 2147483647 w 42"/>
              <a:gd name="T9" fmla="*/ 2147483647 h 32"/>
              <a:gd name="T10" fmla="*/ 2147483647 w 42"/>
              <a:gd name="T11" fmla="*/ 2147483647 h 32"/>
              <a:gd name="T12" fmla="*/ 2147483647 w 42"/>
              <a:gd name="T13" fmla="*/ 0 h 32"/>
              <a:gd name="T14" fmla="*/ 2147483647 w 42"/>
              <a:gd name="T15" fmla="*/ 2147483647 h 32"/>
              <a:gd name="T16" fmla="*/ 2147483647 w 42"/>
              <a:gd name="T17" fmla="*/ 2147483647 h 32"/>
              <a:gd name="T18" fmla="*/ 0 w 42"/>
              <a:gd name="T19" fmla="*/ 0 h 32"/>
              <a:gd name="T20" fmla="*/ 0 w 42"/>
              <a:gd name="T21" fmla="*/ 2147483647 h 3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42"/>
              <a:gd name="T34" fmla="*/ 0 h 32"/>
              <a:gd name="T35" fmla="*/ 42 w 42"/>
              <a:gd name="T36" fmla="*/ 32 h 32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42" h="32">
                <a:moveTo>
                  <a:pt x="0" y="16"/>
                </a:moveTo>
                <a:lnTo>
                  <a:pt x="24" y="25"/>
                </a:lnTo>
                <a:lnTo>
                  <a:pt x="24" y="31"/>
                </a:lnTo>
                <a:lnTo>
                  <a:pt x="32" y="25"/>
                </a:lnTo>
                <a:lnTo>
                  <a:pt x="24" y="16"/>
                </a:lnTo>
                <a:lnTo>
                  <a:pt x="41" y="7"/>
                </a:lnTo>
                <a:lnTo>
                  <a:pt x="32" y="0"/>
                </a:lnTo>
                <a:lnTo>
                  <a:pt x="16" y="7"/>
                </a:lnTo>
                <a:lnTo>
                  <a:pt x="9" y="7"/>
                </a:lnTo>
                <a:lnTo>
                  <a:pt x="0" y="0"/>
                </a:lnTo>
                <a:lnTo>
                  <a:pt x="0" y="16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64" name="Freeform 85"/>
          <p:cNvSpPr>
            <a:spLocks/>
          </p:cNvSpPr>
          <p:nvPr>
            <p:custDataLst>
              <p:tags r:id="rId75"/>
            </p:custDataLst>
          </p:nvPr>
        </p:nvSpPr>
        <p:spPr bwMode="gray">
          <a:xfrm>
            <a:off x="2689225" y="4946650"/>
            <a:ext cx="49213" cy="50800"/>
          </a:xfrm>
          <a:custGeom>
            <a:avLst/>
            <a:gdLst>
              <a:gd name="T0" fmla="*/ 2147483647 w 32"/>
              <a:gd name="T1" fmla="*/ 2147483647 h 32"/>
              <a:gd name="T2" fmla="*/ 2147483647 w 32"/>
              <a:gd name="T3" fmla="*/ 2147483647 h 32"/>
              <a:gd name="T4" fmla="*/ 2147483647 w 32"/>
              <a:gd name="T5" fmla="*/ 2147483647 h 32"/>
              <a:gd name="T6" fmla="*/ 2147483647 w 32"/>
              <a:gd name="T7" fmla="*/ 2147483647 h 32"/>
              <a:gd name="T8" fmla="*/ 2147483647 w 32"/>
              <a:gd name="T9" fmla="*/ 2147483647 h 32"/>
              <a:gd name="T10" fmla="*/ 0 w 32"/>
              <a:gd name="T11" fmla="*/ 2147483647 h 32"/>
              <a:gd name="T12" fmla="*/ 0 w 32"/>
              <a:gd name="T13" fmla="*/ 0 h 32"/>
              <a:gd name="T14" fmla="*/ 2147483647 w 32"/>
              <a:gd name="T15" fmla="*/ 0 h 32"/>
              <a:gd name="T16" fmla="*/ 2147483647 w 32"/>
              <a:gd name="T17" fmla="*/ 0 h 32"/>
              <a:gd name="T18" fmla="*/ 2147483647 w 32"/>
              <a:gd name="T19" fmla="*/ 2147483647 h 3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2"/>
              <a:gd name="T31" fmla="*/ 0 h 32"/>
              <a:gd name="T32" fmla="*/ 32 w 32"/>
              <a:gd name="T33" fmla="*/ 32 h 3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2" h="32">
                <a:moveTo>
                  <a:pt x="24" y="7"/>
                </a:moveTo>
                <a:lnTo>
                  <a:pt x="31" y="16"/>
                </a:lnTo>
                <a:lnTo>
                  <a:pt x="24" y="25"/>
                </a:lnTo>
                <a:lnTo>
                  <a:pt x="24" y="31"/>
                </a:lnTo>
                <a:lnTo>
                  <a:pt x="15" y="16"/>
                </a:lnTo>
                <a:lnTo>
                  <a:pt x="0" y="7"/>
                </a:lnTo>
                <a:lnTo>
                  <a:pt x="0" y="0"/>
                </a:lnTo>
                <a:lnTo>
                  <a:pt x="8" y="0"/>
                </a:lnTo>
                <a:lnTo>
                  <a:pt x="15" y="0"/>
                </a:lnTo>
                <a:lnTo>
                  <a:pt x="24" y="7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65" name="Freeform 86"/>
          <p:cNvSpPr>
            <a:spLocks/>
          </p:cNvSpPr>
          <p:nvPr>
            <p:custDataLst>
              <p:tags r:id="rId76"/>
            </p:custDataLst>
          </p:nvPr>
        </p:nvSpPr>
        <p:spPr bwMode="gray">
          <a:xfrm>
            <a:off x="2689225" y="4946650"/>
            <a:ext cx="49213" cy="50800"/>
          </a:xfrm>
          <a:custGeom>
            <a:avLst/>
            <a:gdLst>
              <a:gd name="T0" fmla="*/ 2147483647 w 32"/>
              <a:gd name="T1" fmla="*/ 2147483647 h 32"/>
              <a:gd name="T2" fmla="*/ 2147483647 w 32"/>
              <a:gd name="T3" fmla="*/ 2147483647 h 32"/>
              <a:gd name="T4" fmla="*/ 2147483647 w 32"/>
              <a:gd name="T5" fmla="*/ 2147483647 h 32"/>
              <a:gd name="T6" fmla="*/ 2147483647 w 32"/>
              <a:gd name="T7" fmla="*/ 2147483647 h 32"/>
              <a:gd name="T8" fmla="*/ 2147483647 w 32"/>
              <a:gd name="T9" fmla="*/ 2147483647 h 32"/>
              <a:gd name="T10" fmla="*/ 0 w 32"/>
              <a:gd name="T11" fmla="*/ 2147483647 h 32"/>
              <a:gd name="T12" fmla="*/ 0 w 32"/>
              <a:gd name="T13" fmla="*/ 0 h 32"/>
              <a:gd name="T14" fmla="*/ 2147483647 w 32"/>
              <a:gd name="T15" fmla="*/ 0 h 32"/>
              <a:gd name="T16" fmla="*/ 2147483647 w 32"/>
              <a:gd name="T17" fmla="*/ 0 h 32"/>
              <a:gd name="T18" fmla="*/ 2147483647 w 32"/>
              <a:gd name="T19" fmla="*/ 2147483647 h 3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2"/>
              <a:gd name="T31" fmla="*/ 0 h 32"/>
              <a:gd name="T32" fmla="*/ 32 w 32"/>
              <a:gd name="T33" fmla="*/ 32 h 3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2" h="32">
                <a:moveTo>
                  <a:pt x="24" y="7"/>
                </a:moveTo>
                <a:lnTo>
                  <a:pt x="31" y="16"/>
                </a:lnTo>
                <a:lnTo>
                  <a:pt x="24" y="25"/>
                </a:lnTo>
                <a:lnTo>
                  <a:pt x="24" y="31"/>
                </a:lnTo>
                <a:lnTo>
                  <a:pt x="15" y="16"/>
                </a:lnTo>
                <a:lnTo>
                  <a:pt x="0" y="7"/>
                </a:lnTo>
                <a:lnTo>
                  <a:pt x="0" y="0"/>
                </a:lnTo>
                <a:lnTo>
                  <a:pt x="8" y="0"/>
                </a:lnTo>
                <a:lnTo>
                  <a:pt x="15" y="0"/>
                </a:lnTo>
                <a:lnTo>
                  <a:pt x="24" y="7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66" name="Freeform 87"/>
          <p:cNvSpPr>
            <a:spLocks/>
          </p:cNvSpPr>
          <p:nvPr>
            <p:custDataLst>
              <p:tags r:id="rId77"/>
            </p:custDataLst>
          </p:nvPr>
        </p:nvSpPr>
        <p:spPr bwMode="gray">
          <a:xfrm>
            <a:off x="2674938" y="4946650"/>
            <a:ext cx="25400" cy="26988"/>
          </a:xfrm>
          <a:custGeom>
            <a:avLst/>
            <a:gdLst>
              <a:gd name="T0" fmla="*/ 2147483647 w 17"/>
              <a:gd name="T1" fmla="*/ 2147483647 h 17"/>
              <a:gd name="T2" fmla="*/ 2147483647 w 17"/>
              <a:gd name="T3" fmla="*/ 0 h 17"/>
              <a:gd name="T4" fmla="*/ 0 w 17"/>
              <a:gd name="T5" fmla="*/ 0 h 17"/>
              <a:gd name="T6" fmla="*/ 2147483647 w 17"/>
              <a:gd name="T7" fmla="*/ 2147483647 h 17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17"/>
              <a:gd name="T14" fmla="*/ 17 w 17"/>
              <a:gd name="T15" fmla="*/ 17 h 1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17">
                <a:moveTo>
                  <a:pt x="16" y="16"/>
                </a:moveTo>
                <a:lnTo>
                  <a:pt x="16" y="0"/>
                </a:lnTo>
                <a:lnTo>
                  <a:pt x="0" y="0"/>
                </a:lnTo>
                <a:lnTo>
                  <a:pt x="16" y="16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67" name="Freeform 88"/>
          <p:cNvSpPr>
            <a:spLocks/>
          </p:cNvSpPr>
          <p:nvPr>
            <p:custDataLst>
              <p:tags r:id="rId78"/>
            </p:custDataLst>
          </p:nvPr>
        </p:nvSpPr>
        <p:spPr bwMode="gray">
          <a:xfrm>
            <a:off x="2674938" y="4946650"/>
            <a:ext cx="25400" cy="26988"/>
          </a:xfrm>
          <a:custGeom>
            <a:avLst/>
            <a:gdLst>
              <a:gd name="T0" fmla="*/ 2147483647 w 17"/>
              <a:gd name="T1" fmla="*/ 2147483647 h 17"/>
              <a:gd name="T2" fmla="*/ 2147483647 w 17"/>
              <a:gd name="T3" fmla="*/ 0 h 17"/>
              <a:gd name="T4" fmla="*/ 0 w 17"/>
              <a:gd name="T5" fmla="*/ 0 h 17"/>
              <a:gd name="T6" fmla="*/ 2147483647 w 17"/>
              <a:gd name="T7" fmla="*/ 2147483647 h 17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17"/>
              <a:gd name="T14" fmla="*/ 17 w 17"/>
              <a:gd name="T15" fmla="*/ 17 h 1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17">
                <a:moveTo>
                  <a:pt x="16" y="16"/>
                </a:moveTo>
                <a:lnTo>
                  <a:pt x="16" y="0"/>
                </a:lnTo>
                <a:lnTo>
                  <a:pt x="0" y="0"/>
                </a:lnTo>
                <a:lnTo>
                  <a:pt x="16" y="16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68" name="Freeform 89"/>
          <p:cNvSpPr>
            <a:spLocks/>
          </p:cNvSpPr>
          <p:nvPr>
            <p:custDataLst>
              <p:tags r:id="rId79"/>
            </p:custDataLst>
          </p:nvPr>
        </p:nvSpPr>
        <p:spPr bwMode="gray">
          <a:xfrm>
            <a:off x="2674938" y="4946650"/>
            <a:ext cx="25400" cy="26988"/>
          </a:xfrm>
          <a:custGeom>
            <a:avLst/>
            <a:gdLst>
              <a:gd name="T0" fmla="*/ 2147483647 w 17"/>
              <a:gd name="T1" fmla="*/ 2147483647 h 17"/>
              <a:gd name="T2" fmla="*/ 2147483647 w 17"/>
              <a:gd name="T3" fmla="*/ 0 h 17"/>
              <a:gd name="T4" fmla="*/ 0 w 17"/>
              <a:gd name="T5" fmla="*/ 0 h 17"/>
              <a:gd name="T6" fmla="*/ 2147483647 w 17"/>
              <a:gd name="T7" fmla="*/ 2147483647 h 17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17"/>
              <a:gd name="T14" fmla="*/ 17 w 17"/>
              <a:gd name="T15" fmla="*/ 17 h 1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17">
                <a:moveTo>
                  <a:pt x="16" y="16"/>
                </a:moveTo>
                <a:lnTo>
                  <a:pt x="16" y="0"/>
                </a:lnTo>
                <a:lnTo>
                  <a:pt x="0" y="0"/>
                </a:lnTo>
                <a:lnTo>
                  <a:pt x="16" y="16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69" name="Freeform 90"/>
          <p:cNvSpPr>
            <a:spLocks/>
          </p:cNvSpPr>
          <p:nvPr>
            <p:custDataLst>
              <p:tags r:id="rId80"/>
            </p:custDataLst>
          </p:nvPr>
        </p:nvSpPr>
        <p:spPr bwMode="gray">
          <a:xfrm>
            <a:off x="2838450" y="4732338"/>
            <a:ext cx="79375" cy="49212"/>
          </a:xfrm>
          <a:custGeom>
            <a:avLst/>
            <a:gdLst>
              <a:gd name="T0" fmla="*/ 0 w 50"/>
              <a:gd name="T1" fmla="*/ 2147483647 h 32"/>
              <a:gd name="T2" fmla="*/ 0 w 50"/>
              <a:gd name="T3" fmla="*/ 0 h 32"/>
              <a:gd name="T4" fmla="*/ 2147483647 w 50"/>
              <a:gd name="T5" fmla="*/ 0 h 32"/>
              <a:gd name="T6" fmla="*/ 2147483647 w 50"/>
              <a:gd name="T7" fmla="*/ 2147483647 h 32"/>
              <a:gd name="T8" fmla="*/ 2147483647 w 50"/>
              <a:gd name="T9" fmla="*/ 2147483647 h 32"/>
              <a:gd name="T10" fmla="*/ 2147483647 w 50"/>
              <a:gd name="T11" fmla="*/ 2147483647 h 32"/>
              <a:gd name="T12" fmla="*/ 2147483647 w 50"/>
              <a:gd name="T13" fmla="*/ 2147483647 h 32"/>
              <a:gd name="T14" fmla="*/ 2147483647 w 50"/>
              <a:gd name="T15" fmla="*/ 2147483647 h 32"/>
              <a:gd name="T16" fmla="*/ 2147483647 w 50"/>
              <a:gd name="T17" fmla="*/ 2147483647 h 32"/>
              <a:gd name="T18" fmla="*/ 2147483647 w 50"/>
              <a:gd name="T19" fmla="*/ 2147483647 h 32"/>
              <a:gd name="T20" fmla="*/ 2147483647 w 50"/>
              <a:gd name="T21" fmla="*/ 2147483647 h 32"/>
              <a:gd name="T22" fmla="*/ 2147483647 w 50"/>
              <a:gd name="T23" fmla="*/ 2147483647 h 32"/>
              <a:gd name="T24" fmla="*/ 0 w 50"/>
              <a:gd name="T25" fmla="*/ 2147483647 h 3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50"/>
              <a:gd name="T40" fmla="*/ 0 h 32"/>
              <a:gd name="T41" fmla="*/ 50 w 50"/>
              <a:gd name="T42" fmla="*/ 32 h 3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50" h="32">
                <a:moveTo>
                  <a:pt x="0" y="23"/>
                </a:moveTo>
                <a:lnTo>
                  <a:pt x="0" y="0"/>
                </a:lnTo>
                <a:lnTo>
                  <a:pt x="24" y="0"/>
                </a:lnTo>
                <a:lnTo>
                  <a:pt x="24" y="6"/>
                </a:lnTo>
                <a:lnTo>
                  <a:pt x="34" y="6"/>
                </a:lnTo>
                <a:lnTo>
                  <a:pt x="49" y="16"/>
                </a:lnTo>
                <a:lnTo>
                  <a:pt x="41" y="23"/>
                </a:lnTo>
                <a:lnTo>
                  <a:pt x="41" y="16"/>
                </a:lnTo>
                <a:lnTo>
                  <a:pt x="18" y="23"/>
                </a:lnTo>
                <a:lnTo>
                  <a:pt x="18" y="16"/>
                </a:lnTo>
                <a:lnTo>
                  <a:pt x="9" y="23"/>
                </a:lnTo>
                <a:lnTo>
                  <a:pt x="9" y="31"/>
                </a:lnTo>
                <a:lnTo>
                  <a:pt x="0" y="23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70" name="Freeform 91"/>
          <p:cNvSpPr>
            <a:spLocks/>
          </p:cNvSpPr>
          <p:nvPr>
            <p:custDataLst>
              <p:tags r:id="rId81"/>
            </p:custDataLst>
          </p:nvPr>
        </p:nvSpPr>
        <p:spPr bwMode="gray">
          <a:xfrm>
            <a:off x="2789238" y="4732338"/>
            <a:ext cx="52387" cy="36512"/>
          </a:xfrm>
          <a:custGeom>
            <a:avLst/>
            <a:gdLst>
              <a:gd name="T0" fmla="*/ 2147483647 w 32"/>
              <a:gd name="T1" fmla="*/ 2147483647 h 24"/>
              <a:gd name="T2" fmla="*/ 2147483647 w 32"/>
              <a:gd name="T3" fmla="*/ 0 h 24"/>
              <a:gd name="T4" fmla="*/ 2147483647 w 32"/>
              <a:gd name="T5" fmla="*/ 0 h 24"/>
              <a:gd name="T6" fmla="*/ 2147483647 w 32"/>
              <a:gd name="T7" fmla="*/ 2147483647 h 24"/>
              <a:gd name="T8" fmla="*/ 0 w 32"/>
              <a:gd name="T9" fmla="*/ 2147483647 h 24"/>
              <a:gd name="T10" fmla="*/ 2147483647 w 32"/>
              <a:gd name="T11" fmla="*/ 2147483647 h 24"/>
              <a:gd name="T12" fmla="*/ 2147483647 w 32"/>
              <a:gd name="T13" fmla="*/ 2147483647 h 2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2"/>
              <a:gd name="T22" fmla="*/ 0 h 24"/>
              <a:gd name="T23" fmla="*/ 32 w 32"/>
              <a:gd name="T24" fmla="*/ 24 h 2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2" h="24">
                <a:moveTo>
                  <a:pt x="31" y="23"/>
                </a:moveTo>
                <a:lnTo>
                  <a:pt x="31" y="0"/>
                </a:lnTo>
                <a:lnTo>
                  <a:pt x="15" y="0"/>
                </a:lnTo>
                <a:lnTo>
                  <a:pt x="24" y="16"/>
                </a:lnTo>
                <a:lnTo>
                  <a:pt x="0" y="23"/>
                </a:lnTo>
                <a:lnTo>
                  <a:pt x="6" y="23"/>
                </a:lnTo>
                <a:lnTo>
                  <a:pt x="31" y="23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71" name="Freeform 92"/>
          <p:cNvSpPr>
            <a:spLocks/>
          </p:cNvSpPr>
          <p:nvPr>
            <p:custDataLst>
              <p:tags r:id="rId82"/>
            </p:custDataLst>
          </p:nvPr>
        </p:nvSpPr>
        <p:spPr bwMode="gray">
          <a:xfrm>
            <a:off x="2700338" y="4881563"/>
            <a:ext cx="231775" cy="333375"/>
          </a:xfrm>
          <a:custGeom>
            <a:avLst/>
            <a:gdLst>
              <a:gd name="T0" fmla="*/ 2147483647 w 147"/>
              <a:gd name="T1" fmla="*/ 2147483647 h 212"/>
              <a:gd name="T2" fmla="*/ 2147483647 w 147"/>
              <a:gd name="T3" fmla="*/ 2147483647 h 212"/>
              <a:gd name="T4" fmla="*/ 2147483647 w 147"/>
              <a:gd name="T5" fmla="*/ 2147483647 h 212"/>
              <a:gd name="T6" fmla="*/ 2147483647 w 147"/>
              <a:gd name="T7" fmla="*/ 2147483647 h 212"/>
              <a:gd name="T8" fmla="*/ 2147483647 w 147"/>
              <a:gd name="T9" fmla="*/ 2147483647 h 212"/>
              <a:gd name="T10" fmla="*/ 2147483647 w 147"/>
              <a:gd name="T11" fmla="*/ 2147483647 h 212"/>
              <a:gd name="T12" fmla="*/ 2147483647 w 147"/>
              <a:gd name="T13" fmla="*/ 2147483647 h 212"/>
              <a:gd name="T14" fmla="*/ 2147483647 w 147"/>
              <a:gd name="T15" fmla="*/ 2147483647 h 212"/>
              <a:gd name="T16" fmla="*/ 2147483647 w 147"/>
              <a:gd name="T17" fmla="*/ 2147483647 h 212"/>
              <a:gd name="T18" fmla="*/ 2147483647 w 147"/>
              <a:gd name="T19" fmla="*/ 2147483647 h 212"/>
              <a:gd name="T20" fmla="*/ 2147483647 w 147"/>
              <a:gd name="T21" fmla="*/ 2147483647 h 212"/>
              <a:gd name="T22" fmla="*/ 2147483647 w 147"/>
              <a:gd name="T23" fmla="*/ 2147483647 h 212"/>
              <a:gd name="T24" fmla="*/ 2147483647 w 147"/>
              <a:gd name="T25" fmla="*/ 2147483647 h 212"/>
              <a:gd name="T26" fmla="*/ 2147483647 w 147"/>
              <a:gd name="T27" fmla="*/ 2147483647 h 212"/>
              <a:gd name="T28" fmla="*/ 2147483647 w 147"/>
              <a:gd name="T29" fmla="*/ 2147483647 h 212"/>
              <a:gd name="T30" fmla="*/ 2147483647 w 147"/>
              <a:gd name="T31" fmla="*/ 2147483647 h 212"/>
              <a:gd name="T32" fmla="*/ 2147483647 w 147"/>
              <a:gd name="T33" fmla="*/ 2147483647 h 212"/>
              <a:gd name="T34" fmla="*/ 2147483647 w 147"/>
              <a:gd name="T35" fmla="*/ 2147483647 h 212"/>
              <a:gd name="T36" fmla="*/ 2147483647 w 147"/>
              <a:gd name="T37" fmla="*/ 2147483647 h 212"/>
              <a:gd name="T38" fmla="*/ 2147483647 w 147"/>
              <a:gd name="T39" fmla="*/ 0 h 212"/>
              <a:gd name="T40" fmla="*/ 2147483647 w 147"/>
              <a:gd name="T41" fmla="*/ 2147483647 h 212"/>
              <a:gd name="T42" fmla="*/ 2147483647 w 147"/>
              <a:gd name="T43" fmla="*/ 2147483647 h 212"/>
              <a:gd name="T44" fmla="*/ 2147483647 w 147"/>
              <a:gd name="T45" fmla="*/ 2147483647 h 212"/>
              <a:gd name="T46" fmla="*/ 2147483647 w 147"/>
              <a:gd name="T47" fmla="*/ 2147483647 h 212"/>
              <a:gd name="T48" fmla="*/ 2147483647 w 147"/>
              <a:gd name="T49" fmla="*/ 2147483647 h 212"/>
              <a:gd name="T50" fmla="*/ 2147483647 w 147"/>
              <a:gd name="T51" fmla="*/ 2147483647 h 212"/>
              <a:gd name="T52" fmla="*/ 2147483647 w 147"/>
              <a:gd name="T53" fmla="*/ 2147483647 h 212"/>
              <a:gd name="T54" fmla="*/ 2147483647 w 147"/>
              <a:gd name="T55" fmla="*/ 2147483647 h 212"/>
              <a:gd name="T56" fmla="*/ 2147483647 w 147"/>
              <a:gd name="T57" fmla="*/ 2147483647 h 212"/>
              <a:gd name="T58" fmla="*/ 2147483647 w 147"/>
              <a:gd name="T59" fmla="*/ 2147483647 h 212"/>
              <a:gd name="T60" fmla="*/ 2147483647 w 147"/>
              <a:gd name="T61" fmla="*/ 2147483647 h 212"/>
              <a:gd name="T62" fmla="*/ 2147483647 w 147"/>
              <a:gd name="T63" fmla="*/ 2147483647 h 212"/>
              <a:gd name="T64" fmla="*/ 2147483647 w 147"/>
              <a:gd name="T65" fmla="*/ 2147483647 h 212"/>
              <a:gd name="T66" fmla="*/ 2147483647 w 147"/>
              <a:gd name="T67" fmla="*/ 2147483647 h 212"/>
              <a:gd name="T68" fmla="*/ 2147483647 w 147"/>
              <a:gd name="T69" fmla="*/ 2147483647 h 212"/>
              <a:gd name="T70" fmla="*/ 0 w 147"/>
              <a:gd name="T71" fmla="*/ 2147483647 h 212"/>
              <a:gd name="T72" fmla="*/ 0 w 147"/>
              <a:gd name="T73" fmla="*/ 2147483647 h 212"/>
              <a:gd name="T74" fmla="*/ 2147483647 w 147"/>
              <a:gd name="T75" fmla="*/ 2147483647 h 212"/>
              <a:gd name="T76" fmla="*/ 2147483647 w 147"/>
              <a:gd name="T77" fmla="*/ 2147483647 h 212"/>
              <a:gd name="T78" fmla="*/ 2147483647 w 147"/>
              <a:gd name="T79" fmla="*/ 2147483647 h 212"/>
              <a:gd name="T80" fmla="*/ 2147483647 w 147"/>
              <a:gd name="T81" fmla="*/ 2147483647 h 212"/>
              <a:gd name="T82" fmla="*/ 2147483647 w 147"/>
              <a:gd name="T83" fmla="*/ 2147483647 h 212"/>
              <a:gd name="T84" fmla="*/ 2147483647 w 147"/>
              <a:gd name="T85" fmla="*/ 2147483647 h 212"/>
              <a:gd name="T86" fmla="*/ 2147483647 w 147"/>
              <a:gd name="T87" fmla="*/ 2147483647 h 212"/>
              <a:gd name="T88" fmla="*/ 2147483647 w 147"/>
              <a:gd name="T89" fmla="*/ 2147483647 h 212"/>
              <a:gd name="T90" fmla="*/ 2147483647 w 147"/>
              <a:gd name="T91" fmla="*/ 2147483647 h 212"/>
              <a:gd name="T92" fmla="*/ 2147483647 w 147"/>
              <a:gd name="T93" fmla="*/ 2147483647 h 21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47"/>
              <a:gd name="T142" fmla="*/ 0 h 212"/>
              <a:gd name="T143" fmla="*/ 147 w 147"/>
              <a:gd name="T144" fmla="*/ 212 h 212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47" h="212">
                <a:moveTo>
                  <a:pt x="112" y="211"/>
                </a:moveTo>
                <a:lnTo>
                  <a:pt x="122" y="178"/>
                </a:lnTo>
                <a:lnTo>
                  <a:pt x="112" y="154"/>
                </a:lnTo>
                <a:lnTo>
                  <a:pt x="122" y="154"/>
                </a:lnTo>
                <a:lnTo>
                  <a:pt x="112" y="146"/>
                </a:lnTo>
                <a:lnTo>
                  <a:pt x="112" y="137"/>
                </a:lnTo>
                <a:lnTo>
                  <a:pt x="146" y="137"/>
                </a:lnTo>
                <a:lnTo>
                  <a:pt x="146" y="122"/>
                </a:lnTo>
                <a:lnTo>
                  <a:pt x="137" y="106"/>
                </a:lnTo>
                <a:lnTo>
                  <a:pt x="146" y="81"/>
                </a:lnTo>
                <a:lnTo>
                  <a:pt x="122" y="81"/>
                </a:lnTo>
                <a:lnTo>
                  <a:pt x="112" y="72"/>
                </a:lnTo>
                <a:lnTo>
                  <a:pt x="88" y="72"/>
                </a:lnTo>
                <a:lnTo>
                  <a:pt x="81" y="66"/>
                </a:lnTo>
                <a:lnTo>
                  <a:pt x="81" y="57"/>
                </a:lnTo>
                <a:lnTo>
                  <a:pt x="72" y="41"/>
                </a:lnTo>
                <a:lnTo>
                  <a:pt x="81" y="25"/>
                </a:lnTo>
                <a:lnTo>
                  <a:pt x="88" y="17"/>
                </a:lnTo>
                <a:lnTo>
                  <a:pt x="97" y="7"/>
                </a:lnTo>
                <a:lnTo>
                  <a:pt x="88" y="0"/>
                </a:lnTo>
                <a:lnTo>
                  <a:pt x="72" y="17"/>
                </a:lnTo>
                <a:lnTo>
                  <a:pt x="48" y="25"/>
                </a:lnTo>
                <a:lnTo>
                  <a:pt x="40" y="41"/>
                </a:lnTo>
                <a:lnTo>
                  <a:pt x="23" y="48"/>
                </a:lnTo>
                <a:lnTo>
                  <a:pt x="23" y="66"/>
                </a:lnTo>
                <a:lnTo>
                  <a:pt x="16" y="48"/>
                </a:lnTo>
                <a:lnTo>
                  <a:pt x="23" y="57"/>
                </a:lnTo>
                <a:lnTo>
                  <a:pt x="16" y="66"/>
                </a:lnTo>
                <a:lnTo>
                  <a:pt x="16" y="72"/>
                </a:lnTo>
                <a:lnTo>
                  <a:pt x="16" y="81"/>
                </a:lnTo>
                <a:lnTo>
                  <a:pt x="16" y="113"/>
                </a:lnTo>
                <a:lnTo>
                  <a:pt x="23" y="113"/>
                </a:lnTo>
                <a:lnTo>
                  <a:pt x="16" y="131"/>
                </a:lnTo>
                <a:lnTo>
                  <a:pt x="7" y="131"/>
                </a:lnTo>
                <a:lnTo>
                  <a:pt x="7" y="137"/>
                </a:lnTo>
                <a:lnTo>
                  <a:pt x="0" y="137"/>
                </a:lnTo>
                <a:lnTo>
                  <a:pt x="0" y="146"/>
                </a:lnTo>
                <a:lnTo>
                  <a:pt x="23" y="162"/>
                </a:lnTo>
                <a:lnTo>
                  <a:pt x="40" y="154"/>
                </a:lnTo>
                <a:lnTo>
                  <a:pt x="48" y="162"/>
                </a:lnTo>
                <a:lnTo>
                  <a:pt x="63" y="178"/>
                </a:lnTo>
                <a:lnTo>
                  <a:pt x="72" y="194"/>
                </a:lnTo>
                <a:lnTo>
                  <a:pt x="106" y="187"/>
                </a:lnTo>
                <a:lnTo>
                  <a:pt x="112" y="194"/>
                </a:lnTo>
                <a:lnTo>
                  <a:pt x="112" y="203"/>
                </a:lnTo>
                <a:lnTo>
                  <a:pt x="106" y="203"/>
                </a:lnTo>
                <a:lnTo>
                  <a:pt x="112" y="211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72" name="Freeform 93"/>
          <p:cNvSpPr>
            <a:spLocks/>
          </p:cNvSpPr>
          <p:nvPr>
            <p:custDataLst>
              <p:tags r:id="rId83"/>
            </p:custDataLst>
          </p:nvPr>
        </p:nvSpPr>
        <p:spPr bwMode="gray">
          <a:xfrm>
            <a:off x="2660650" y="5110163"/>
            <a:ext cx="117475" cy="130175"/>
          </a:xfrm>
          <a:custGeom>
            <a:avLst/>
            <a:gdLst>
              <a:gd name="T0" fmla="*/ 2147483647 w 74"/>
              <a:gd name="T1" fmla="*/ 2147483647 h 82"/>
              <a:gd name="T2" fmla="*/ 2147483647 w 74"/>
              <a:gd name="T3" fmla="*/ 2147483647 h 82"/>
              <a:gd name="T4" fmla="*/ 2147483647 w 74"/>
              <a:gd name="T5" fmla="*/ 2147483647 h 82"/>
              <a:gd name="T6" fmla="*/ 2147483647 w 74"/>
              <a:gd name="T7" fmla="*/ 0 h 82"/>
              <a:gd name="T8" fmla="*/ 2147483647 w 74"/>
              <a:gd name="T9" fmla="*/ 2147483647 h 82"/>
              <a:gd name="T10" fmla="*/ 2147483647 w 74"/>
              <a:gd name="T11" fmla="*/ 2147483647 h 82"/>
              <a:gd name="T12" fmla="*/ 0 w 74"/>
              <a:gd name="T13" fmla="*/ 2147483647 h 82"/>
              <a:gd name="T14" fmla="*/ 0 w 74"/>
              <a:gd name="T15" fmla="*/ 2147483647 h 82"/>
              <a:gd name="T16" fmla="*/ 2147483647 w 74"/>
              <a:gd name="T17" fmla="*/ 2147483647 h 82"/>
              <a:gd name="T18" fmla="*/ 2147483647 w 74"/>
              <a:gd name="T19" fmla="*/ 2147483647 h 82"/>
              <a:gd name="T20" fmla="*/ 2147483647 w 74"/>
              <a:gd name="T21" fmla="*/ 2147483647 h 82"/>
              <a:gd name="T22" fmla="*/ 2147483647 w 74"/>
              <a:gd name="T23" fmla="*/ 2147483647 h 82"/>
              <a:gd name="T24" fmla="*/ 0 w 74"/>
              <a:gd name="T25" fmla="*/ 2147483647 h 82"/>
              <a:gd name="T26" fmla="*/ 2147483647 w 74"/>
              <a:gd name="T27" fmla="*/ 2147483647 h 82"/>
              <a:gd name="T28" fmla="*/ 2147483647 w 74"/>
              <a:gd name="T29" fmla="*/ 2147483647 h 82"/>
              <a:gd name="T30" fmla="*/ 2147483647 w 74"/>
              <a:gd name="T31" fmla="*/ 2147483647 h 82"/>
              <a:gd name="T32" fmla="*/ 2147483647 w 74"/>
              <a:gd name="T33" fmla="*/ 2147483647 h 82"/>
              <a:gd name="T34" fmla="*/ 2147483647 w 74"/>
              <a:gd name="T35" fmla="*/ 2147483647 h 82"/>
              <a:gd name="T36" fmla="*/ 2147483647 w 74"/>
              <a:gd name="T37" fmla="*/ 2147483647 h 82"/>
              <a:gd name="T38" fmla="*/ 2147483647 w 74"/>
              <a:gd name="T39" fmla="*/ 2147483647 h 82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74"/>
              <a:gd name="T61" fmla="*/ 0 h 82"/>
              <a:gd name="T62" fmla="*/ 74 w 74"/>
              <a:gd name="T63" fmla="*/ 82 h 82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74" h="82">
                <a:moveTo>
                  <a:pt x="73" y="16"/>
                </a:moveTo>
                <a:lnTo>
                  <a:pt x="65" y="8"/>
                </a:lnTo>
                <a:lnTo>
                  <a:pt x="48" y="16"/>
                </a:lnTo>
                <a:lnTo>
                  <a:pt x="25" y="0"/>
                </a:lnTo>
                <a:lnTo>
                  <a:pt x="8" y="8"/>
                </a:lnTo>
                <a:lnTo>
                  <a:pt x="8" y="16"/>
                </a:lnTo>
                <a:lnTo>
                  <a:pt x="0" y="25"/>
                </a:lnTo>
                <a:lnTo>
                  <a:pt x="0" y="41"/>
                </a:lnTo>
                <a:lnTo>
                  <a:pt x="8" y="57"/>
                </a:lnTo>
                <a:lnTo>
                  <a:pt x="8" y="48"/>
                </a:lnTo>
                <a:lnTo>
                  <a:pt x="17" y="48"/>
                </a:lnTo>
                <a:lnTo>
                  <a:pt x="8" y="57"/>
                </a:lnTo>
                <a:lnTo>
                  <a:pt x="0" y="73"/>
                </a:lnTo>
                <a:lnTo>
                  <a:pt x="17" y="81"/>
                </a:lnTo>
                <a:lnTo>
                  <a:pt x="41" y="57"/>
                </a:lnTo>
                <a:lnTo>
                  <a:pt x="57" y="48"/>
                </a:lnTo>
                <a:lnTo>
                  <a:pt x="65" y="41"/>
                </a:lnTo>
                <a:lnTo>
                  <a:pt x="73" y="25"/>
                </a:lnTo>
                <a:lnTo>
                  <a:pt x="65" y="16"/>
                </a:lnTo>
                <a:lnTo>
                  <a:pt x="73" y="16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73" name="Freeform 94"/>
          <p:cNvSpPr>
            <a:spLocks/>
          </p:cNvSpPr>
          <p:nvPr>
            <p:custDataLst>
              <p:tags r:id="rId84"/>
            </p:custDataLst>
          </p:nvPr>
        </p:nvSpPr>
        <p:spPr bwMode="gray">
          <a:xfrm>
            <a:off x="2649538" y="5135563"/>
            <a:ext cx="257175" cy="369887"/>
          </a:xfrm>
          <a:custGeom>
            <a:avLst/>
            <a:gdLst>
              <a:gd name="T0" fmla="*/ 2147483647 w 163"/>
              <a:gd name="T1" fmla="*/ 2147483647 h 235"/>
              <a:gd name="T2" fmla="*/ 2147483647 w 163"/>
              <a:gd name="T3" fmla="*/ 2147483647 h 235"/>
              <a:gd name="T4" fmla="*/ 2147483647 w 163"/>
              <a:gd name="T5" fmla="*/ 2147483647 h 235"/>
              <a:gd name="T6" fmla="*/ 2147483647 w 163"/>
              <a:gd name="T7" fmla="*/ 2147483647 h 235"/>
              <a:gd name="T8" fmla="*/ 2147483647 w 163"/>
              <a:gd name="T9" fmla="*/ 2147483647 h 235"/>
              <a:gd name="T10" fmla="*/ 2147483647 w 163"/>
              <a:gd name="T11" fmla="*/ 2147483647 h 235"/>
              <a:gd name="T12" fmla="*/ 2147483647 w 163"/>
              <a:gd name="T13" fmla="*/ 2147483647 h 235"/>
              <a:gd name="T14" fmla="*/ 2147483647 w 163"/>
              <a:gd name="T15" fmla="*/ 2147483647 h 235"/>
              <a:gd name="T16" fmla="*/ 2147483647 w 163"/>
              <a:gd name="T17" fmla="*/ 2147483647 h 235"/>
              <a:gd name="T18" fmla="*/ 2147483647 w 163"/>
              <a:gd name="T19" fmla="*/ 2147483647 h 235"/>
              <a:gd name="T20" fmla="*/ 2147483647 w 163"/>
              <a:gd name="T21" fmla="*/ 2147483647 h 235"/>
              <a:gd name="T22" fmla="*/ 2147483647 w 163"/>
              <a:gd name="T23" fmla="*/ 2147483647 h 235"/>
              <a:gd name="T24" fmla="*/ 2147483647 w 163"/>
              <a:gd name="T25" fmla="*/ 2147483647 h 235"/>
              <a:gd name="T26" fmla="*/ 2147483647 w 163"/>
              <a:gd name="T27" fmla="*/ 2147483647 h 235"/>
              <a:gd name="T28" fmla="*/ 2147483647 w 163"/>
              <a:gd name="T29" fmla="*/ 0 h 235"/>
              <a:gd name="T30" fmla="*/ 2147483647 w 163"/>
              <a:gd name="T31" fmla="*/ 0 h 235"/>
              <a:gd name="T32" fmla="*/ 2147483647 w 163"/>
              <a:gd name="T33" fmla="*/ 2147483647 h 235"/>
              <a:gd name="T34" fmla="*/ 2147483647 w 163"/>
              <a:gd name="T35" fmla="*/ 2147483647 h 235"/>
              <a:gd name="T36" fmla="*/ 2147483647 w 163"/>
              <a:gd name="T37" fmla="*/ 2147483647 h 235"/>
              <a:gd name="T38" fmla="*/ 2147483647 w 163"/>
              <a:gd name="T39" fmla="*/ 2147483647 h 235"/>
              <a:gd name="T40" fmla="*/ 2147483647 w 163"/>
              <a:gd name="T41" fmla="*/ 2147483647 h 235"/>
              <a:gd name="T42" fmla="*/ 2147483647 w 163"/>
              <a:gd name="T43" fmla="*/ 2147483647 h 235"/>
              <a:gd name="T44" fmla="*/ 2147483647 w 163"/>
              <a:gd name="T45" fmla="*/ 2147483647 h 235"/>
              <a:gd name="T46" fmla="*/ 0 w 163"/>
              <a:gd name="T47" fmla="*/ 2147483647 h 235"/>
              <a:gd name="T48" fmla="*/ 2147483647 w 163"/>
              <a:gd name="T49" fmla="*/ 2147483647 h 235"/>
              <a:gd name="T50" fmla="*/ 0 w 163"/>
              <a:gd name="T51" fmla="*/ 2147483647 h 235"/>
              <a:gd name="T52" fmla="*/ 2147483647 w 163"/>
              <a:gd name="T53" fmla="*/ 2147483647 h 235"/>
              <a:gd name="T54" fmla="*/ 2147483647 w 163"/>
              <a:gd name="T55" fmla="*/ 2147483647 h 235"/>
              <a:gd name="T56" fmla="*/ 2147483647 w 163"/>
              <a:gd name="T57" fmla="*/ 2147483647 h 235"/>
              <a:gd name="T58" fmla="*/ 2147483647 w 163"/>
              <a:gd name="T59" fmla="*/ 2147483647 h 235"/>
              <a:gd name="T60" fmla="*/ 2147483647 w 163"/>
              <a:gd name="T61" fmla="*/ 2147483647 h 235"/>
              <a:gd name="T62" fmla="*/ 2147483647 w 163"/>
              <a:gd name="T63" fmla="*/ 2147483647 h 235"/>
              <a:gd name="T64" fmla="*/ 2147483647 w 163"/>
              <a:gd name="T65" fmla="*/ 2147483647 h 235"/>
              <a:gd name="T66" fmla="*/ 2147483647 w 163"/>
              <a:gd name="T67" fmla="*/ 2147483647 h 235"/>
              <a:gd name="T68" fmla="*/ 2147483647 w 163"/>
              <a:gd name="T69" fmla="*/ 2147483647 h 235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63"/>
              <a:gd name="T106" fmla="*/ 0 h 235"/>
              <a:gd name="T107" fmla="*/ 163 w 163"/>
              <a:gd name="T108" fmla="*/ 235 h 235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63" h="235">
                <a:moveTo>
                  <a:pt x="155" y="137"/>
                </a:moveTo>
                <a:lnTo>
                  <a:pt x="139" y="137"/>
                </a:lnTo>
                <a:lnTo>
                  <a:pt x="139" y="122"/>
                </a:lnTo>
                <a:lnTo>
                  <a:pt x="121" y="131"/>
                </a:lnTo>
                <a:lnTo>
                  <a:pt x="105" y="122"/>
                </a:lnTo>
                <a:lnTo>
                  <a:pt x="96" y="97"/>
                </a:lnTo>
                <a:lnTo>
                  <a:pt x="114" y="65"/>
                </a:lnTo>
                <a:lnTo>
                  <a:pt x="145" y="49"/>
                </a:lnTo>
                <a:lnTo>
                  <a:pt x="139" y="41"/>
                </a:lnTo>
                <a:lnTo>
                  <a:pt x="145" y="41"/>
                </a:lnTo>
                <a:lnTo>
                  <a:pt x="145" y="32"/>
                </a:lnTo>
                <a:lnTo>
                  <a:pt x="139" y="25"/>
                </a:lnTo>
                <a:lnTo>
                  <a:pt x="105" y="32"/>
                </a:lnTo>
                <a:lnTo>
                  <a:pt x="96" y="16"/>
                </a:lnTo>
                <a:lnTo>
                  <a:pt x="81" y="0"/>
                </a:lnTo>
                <a:lnTo>
                  <a:pt x="73" y="0"/>
                </a:lnTo>
                <a:lnTo>
                  <a:pt x="81" y="9"/>
                </a:lnTo>
                <a:lnTo>
                  <a:pt x="73" y="25"/>
                </a:lnTo>
                <a:lnTo>
                  <a:pt x="65" y="32"/>
                </a:lnTo>
                <a:lnTo>
                  <a:pt x="49" y="41"/>
                </a:lnTo>
                <a:lnTo>
                  <a:pt x="25" y="65"/>
                </a:lnTo>
                <a:lnTo>
                  <a:pt x="8" y="57"/>
                </a:lnTo>
                <a:lnTo>
                  <a:pt x="16" y="41"/>
                </a:lnTo>
                <a:lnTo>
                  <a:pt x="0" y="57"/>
                </a:lnTo>
                <a:lnTo>
                  <a:pt x="8" y="72"/>
                </a:lnTo>
                <a:lnTo>
                  <a:pt x="0" y="72"/>
                </a:lnTo>
                <a:lnTo>
                  <a:pt x="16" y="89"/>
                </a:lnTo>
                <a:lnTo>
                  <a:pt x="33" y="106"/>
                </a:lnTo>
                <a:lnTo>
                  <a:pt x="73" y="186"/>
                </a:lnTo>
                <a:lnTo>
                  <a:pt x="139" y="234"/>
                </a:lnTo>
                <a:lnTo>
                  <a:pt x="155" y="227"/>
                </a:lnTo>
                <a:lnTo>
                  <a:pt x="162" y="211"/>
                </a:lnTo>
                <a:lnTo>
                  <a:pt x="155" y="203"/>
                </a:lnTo>
                <a:lnTo>
                  <a:pt x="162" y="154"/>
                </a:lnTo>
                <a:lnTo>
                  <a:pt x="155" y="137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74" name="Freeform 95"/>
          <p:cNvSpPr>
            <a:spLocks/>
          </p:cNvSpPr>
          <p:nvPr>
            <p:custDataLst>
              <p:tags r:id="rId85"/>
            </p:custDataLst>
          </p:nvPr>
        </p:nvSpPr>
        <p:spPr bwMode="gray">
          <a:xfrm>
            <a:off x="2892425" y="5327650"/>
            <a:ext cx="231775" cy="279400"/>
          </a:xfrm>
          <a:custGeom>
            <a:avLst/>
            <a:gdLst>
              <a:gd name="T0" fmla="*/ 2147483647 w 147"/>
              <a:gd name="T1" fmla="*/ 2147483647 h 178"/>
              <a:gd name="T2" fmla="*/ 2147483647 w 147"/>
              <a:gd name="T3" fmla="*/ 2147483647 h 178"/>
              <a:gd name="T4" fmla="*/ 2147483647 w 147"/>
              <a:gd name="T5" fmla="*/ 2147483647 h 178"/>
              <a:gd name="T6" fmla="*/ 2147483647 w 147"/>
              <a:gd name="T7" fmla="*/ 2147483647 h 178"/>
              <a:gd name="T8" fmla="*/ 2147483647 w 147"/>
              <a:gd name="T9" fmla="*/ 2147483647 h 178"/>
              <a:gd name="T10" fmla="*/ 2147483647 w 147"/>
              <a:gd name="T11" fmla="*/ 2147483647 h 178"/>
              <a:gd name="T12" fmla="*/ 2147483647 w 147"/>
              <a:gd name="T13" fmla="*/ 2147483647 h 178"/>
              <a:gd name="T14" fmla="*/ 2147483647 w 147"/>
              <a:gd name="T15" fmla="*/ 2147483647 h 178"/>
              <a:gd name="T16" fmla="*/ 2147483647 w 147"/>
              <a:gd name="T17" fmla="*/ 2147483647 h 178"/>
              <a:gd name="T18" fmla="*/ 2147483647 w 147"/>
              <a:gd name="T19" fmla="*/ 2147483647 h 178"/>
              <a:gd name="T20" fmla="*/ 2147483647 w 147"/>
              <a:gd name="T21" fmla="*/ 0 h 178"/>
              <a:gd name="T22" fmla="*/ 2147483647 w 147"/>
              <a:gd name="T23" fmla="*/ 0 h 178"/>
              <a:gd name="T24" fmla="*/ 2147483647 w 147"/>
              <a:gd name="T25" fmla="*/ 2147483647 h 178"/>
              <a:gd name="T26" fmla="*/ 0 w 147"/>
              <a:gd name="T27" fmla="*/ 2147483647 h 178"/>
              <a:gd name="T28" fmla="*/ 2147483647 w 147"/>
              <a:gd name="T29" fmla="*/ 2147483647 h 178"/>
              <a:gd name="T30" fmla="*/ 0 w 147"/>
              <a:gd name="T31" fmla="*/ 2147483647 h 178"/>
              <a:gd name="T32" fmla="*/ 2147483647 w 147"/>
              <a:gd name="T33" fmla="*/ 2147483647 h 178"/>
              <a:gd name="T34" fmla="*/ 0 w 147"/>
              <a:gd name="T35" fmla="*/ 2147483647 h 178"/>
              <a:gd name="T36" fmla="*/ 2147483647 w 147"/>
              <a:gd name="T37" fmla="*/ 2147483647 h 178"/>
              <a:gd name="T38" fmla="*/ 2147483647 w 147"/>
              <a:gd name="T39" fmla="*/ 2147483647 h 178"/>
              <a:gd name="T40" fmla="*/ 2147483647 w 147"/>
              <a:gd name="T41" fmla="*/ 2147483647 h 178"/>
              <a:gd name="T42" fmla="*/ 2147483647 w 147"/>
              <a:gd name="T43" fmla="*/ 2147483647 h 178"/>
              <a:gd name="T44" fmla="*/ 2147483647 w 147"/>
              <a:gd name="T45" fmla="*/ 2147483647 h 178"/>
              <a:gd name="T46" fmla="*/ 2147483647 w 147"/>
              <a:gd name="T47" fmla="*/ 2147483647 h 178"/>
              <a:gd name="T48" fmla="*/ 2147483647 w 147"/>
              <a:gd name="T49" fmla="*/ 2147483647 h 178"/>
              <a:gd name="T50" fmla="*/ 2147483647 w 147"/>
              <a:gd name="T51" fmla="*/ 2147483647 h 178"/>
              <a:gd name="T52" fmla="*/ 2147483647 w 147"/>
              <a:gd name="T53" fmla="*/ 2147483647 h 178"/>
              <a:gd name="T54" fmla="*/ 2147483647 w 147"/>
              <a:gd name="T55" fmla="*/ 2147483647 h 178"/>
              <a:gd name="T56" fmla="*/ 2147483647 w 147"/>
              <a:gd name="T57" fmla="*/ 2147483647 h 178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47"/>
              <a:gd name="T88" fmla="*/ 0 h 178"/>
              <a:gd name="T89" fmla="*/ 147 w 147"/>
              <a:gd name="T90" fmla="*/ 178 h 178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47" h="178">
                <a:moveTo>
                  <a:pt x="146" y="137"/>
                </a:moveTo>
                <a:lnTo>
                  <a:pt x="146" y="112"/>
                </a:lnTo>
                <a:lnTo>
                  <a:pt x="137" y="96"/>
                </a:lnTo>
                <a:lnTo>
                  <a:pt x="137" y="89"/>
                </a:lnTo>
                <a:lnTo>
                  <a:pt x="121" y="89"/>
                </a:lnTo>
                <a:lnTo>
                  <a:pt x="112" y="72"/>
                </a:lnTo>
                <a:lnTo>
                  <a:pt x="112" y="64"/>
                </a:lnTo>
                <a:lnTo>
                  <a:pt x="105" y="49"/>
                </a:lnTo>
                <a:lnTo>
                  <a:pt x="56" y="32"/>
                </a:lnTo>
                <a:lnTo>
                  <a:pt x="49" y="24"/>
                </a:lnTo>
                <a:lnTo>
                  <a:pt x="49" y="0"/>
                </a:lnTo>
                <a:lnTo>
                  <a:pt x="32" y="0"/>
                </a:lnTo>
                <a:lnTo>
                  <a:pt x="15" y="15"/>
                </a:lnTo>
                <a:lnTo>
                  <a:pt x="0" y="15"/>
                </a:lnTo>
                <a:lnTo>
                  <a:pt x="7" y="32"/>
                </a:lnTo>
                <a:lnTo>
                  <a:pt x="0" y="81"/>
                </a:lnTo>
                <a:lnTo>
                  <a:pt x="7" y="89"/>
                </a:lnTo>
                <a:lnTo>
                  <a:pt x="0" y="105"/>
                </a:lnTo>
                <a:lnTo>
                  <a:pt x="7" y="129"/>
                </a:lnTo>
                <a:lnTo>
                  <a:pt x="7" y="137"/>
                </a:lnTo>
                <a:lnTo>
                  <a:pt x="15" y="177"/>
                </a:lnTo>
                <a:lnTo>
                  <a:pt x="24" y="177"/>
                </a:lnTo>
                <a:lnTo>
                  <a:pt x="40" y="161"/>
                </a:lnTo>
                <a:lnTo>
                  <a:pt x="65" y="171"/>
                </a:lnTo>
                <a:lnTo>
                  <a:pt x="72" y="161"/>
                </a:lnTo>
                <a:lnTo>
                  <a:pt x="89" y="171"/>
                </a:lnTo>
                <a:lnTo>
                  <a:pt x="97" y="129"/>
                </a:lnTo>
                <a:lnTo>
                  <a:pt x="129" y="129"/>
                </a:lnTo>
                <a:lnTo>
                  <a:pt x="146" y="137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75" name="Freeform 96"/>
          <p:cNvSpPr>
            <a:spLocks/>
          </p:cNvSpPr>
          <p:nvPr>
            <p:custDataLst>
              <p:tags r:id="rId86"/>
            </p:custDataLst>
          </p:nvPr>
        </p:nvSpPr>
        <p:spPr bwMode="gray">
          <a:xfrm>
            <a:off x="3032125" y="5530850"/>
            <a:ext cx="166688" cy="177800"/>
          </a:xfrm>
          <a:custGeom>
            <a:avLst/>
            <a:gdLst>
              <a:gd name="T0" fmla="*/ 2147483647 w 106"/>
              <a:gd name="T1" fmla="*/ 2147483647 h 114"/>
              <a:gd name="T2" fmla="*/ 2147483647 w 106"/>
              <a:gd name="T3" fmla="*/ 2147483647 h 114"/>
              <a:gd name="T4" fmla="*/ 2147483647 w 106"/>
              <a:gd name="T5" fmla="*/ 2147483647 h 114"/>
              <a:gd name="T6" fmla="*/ 2147483647 w 106"/>
              <a:gd name="T7" fmla="*/ 2147483647 h 114"/>
              <a:gd name="T8" fmla="*/ 2147483647 w 106"/>
              <a:gd name="T9" fmla="*/ 2147483647 h 114"/>
              <a:gd name="T10" fmla="*/ 2147483647 w 106"/>
              <a:gd name="T11" fmla="*/ 2147483647 h 114"/>
              <a:gd name="T12" fmla="*/ 2147483647 w 106"/>
              <a:gd name="T13" fmla="*/ 2147483647 h 114"/>
              <a:gd name="T14" fmla="*/ 2147483647 w 106"/>
              <a:gd name="T15" fmla="*/ 0 h 114"/>
              <a:gd name="T16" fmla="*/ 2147483647 w 106"/>
              <a:gd name="T17" fmla="*/ 0 h 114"/>
              <a:gd name="T18" fmla="*/ 0 w 106"/>
              <a:gd name="T19" fmla="*/ 2147483647 h 114"/>
              <a:gd name="T20" fmla="*/ 2147483647 w 106"/>
              <a:gd name="T21" fmla="*/ 2147483647 h 114"/>
              <a:gd name="T22" fmla="*/ 2147483647 w 106"/>
              <a:gd name="T23" fmla="*/ 2147483647 h 114"/>
              <a:gd name="T24" fmla="*/ 2147483647 w 106"/>
              <a:gd name="T25" fmla="*/ 2147483647 h 114"/>
              <a:gd name="T26" fmla="*/ 2147483647 w 106"/>
              <a:gd name="T27" fmla="*/ 2147483647 h 114"/>
              <a:gd name="T28" fmla="*/ 2147483647 w 106"/>
              <a:gd name="T29" fmla="*/ 2147483647 h 114"/>
              <a:gd name="T30" fmla="*/ 2147483647 w 106"/>
              <a:gd name="T31" fmla="*/ 2147483647 h 114"/>
              <a:gd name="T32" fmla="*/ 2147483647 w 106"/>
              <a:gd name="T33" fmla="*/ 2147483647 h 114"/>
              <a:gd name="T34" fmla="*/ 2147483647 w 106"/>
              <a:gd name="T35" fmla="*/ 2147483647 h 114"/>
              <a:gd name="T36" fmla="*/ 2147483647 w 106"/>
              <a:gd name="T37" fmla="*/ 2147483647 h 114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06"/>
              <a:gd name="T58" fmla="*/ 0 h 114"/>
              <a:gd name="T59" fmla="*/ 106 w 106"/>
              <a:gd name="T60" fmla="*/ 114 h 114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06" h="114">
                <a:moveTo>
                  <a:pt x="97" y="82"/>
                </a:moveTo>
                <a:lnTo>
                  <a:pt x="105" y="66"/>
                </a:lnTo>
                <a:lnTo>
                  <a:pt x="88" y="57"/>
                </a:lnTo>
                <a:lnTo>
                  <a:pt x="88" y="42"/>
                </a:lnTo>
                <a:lnTo>
                  <a:pt x="82" y="42"/>
                </a:lnTo>
                <a:lnTo>
                  <a:pt x="57" y="32"/>
                </a:lnTo>
                <a:lnTo>
                  <a:pt x="57" y="8"/>
                </a:lnTo>
                <a:lnTo>
                  <a:pt x="40" y="0"/>
                </a:lnTo>
                <a:lnTo>
                  <a:pt x="8" y="0"/>
                </a:lnTo>
                <a:lnTo>
                  <a:pt x="0" y="42"/>
                </a:lnTo>
                <a:lnTo>
                  <a:pt x="16" y="66"/>
                </a:lnTo>
                <a:lnTo>
                  <a:pt x="40" y="66"/>
                </a:lnTo>
                <a:lnTo>
                  <a:pt x="57" y="82"/>
                </a:lnTo>
                <a:lnTo>
                  <a:pt x="57" y="89"/>
                </a:lnTo>
                <a:lnTo>
                  <a:pt x="48" y="106"/>
                </a:lnTo>
                <a:lnTo>
                  <a:pt x="72" y="113"/>
                </a:lnTo>
                <a:lnTo>
                  <a:pt x="82" y="106"/>
                </a:lnTo>
                <a:lnTo>
                  <a:pt x="97" y="97"/>
                </a:lnTo>
                <a:lnTo>
                  <a:pt x="97" y="82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76" name="Freeform 97"/>
          <p:cNvSpPr>
            <a:spLocks/>
          </p:cNvSpPr>
          <p:nvPr>
            <p:custDataLst>
              <p:tags r:id="rId87"/>
            </p:custDataLst>
          </p:nvPr>
        </p:nvSpPr>
        <p:spPr bwMode="gray">
          <a:xfrm>
            <a:off x="3108325" y="5772150"/>
            <a:ext cx="115888" cy="103188"/>
          </a:xfrm>
          <a:custGeom>
            <a:avLst/>
            <a:gdLst>
              <a:gd name="T0" fmla="*/ 2147483647 w 75"/>
              <a:gd name="T1" fmla="*/ 2147483647 h 66"/>
              <a:gd name="T2" fmla="*/ 2147483647 w 75"/>
              <a:gd name="T3" fmla="*/ 2147483647 h 66"/>
              <a:gd name="T4" fmla="*/ 2147483647 w 75"/>
              <a:gd name="T5" fmla="*/ 2147483647 h 66"/>
              <a:gd name="T6" fmla="*/ 2147483647 w 75"/>
              <a:gd name="T7" fmla="*/ 2147483647 h 66"/>
              <a:gd name="T8" fmla="*/ 2147483647 w 75"/>
              <a:gd name="T9" fmla="*/ 2147483647 h 66"/>
              <a:gd name="T10" fmla="*/ 2147483647 w 75"/>
              <a:gd name="T11" fmla="*/ 0 h 66"/>
              <a:gd name="T12" fmla="*/ 2147483647 w 75"/>
              <a:gd name="T13" fmla="*/ 0 h 66"/>
              <a:gd name="T14" fmla="*/ 0 w 75"/>
              <a:gd name="T15" fmla="*/ 2147483647 h 66"/>
              <a:gd name="T16" fmla="*/ 2147483647 w 75"/>
              <a:gd name="T17" fmla="*/ 2147483647 h 66"/>
              <a:gd name="T18" fmla="*/ 2147483647 w 75"/>
              <a:gd name="T19" fmla="*/ 2147483647 h 66"/>
              <a:gd name="T20" fmla="*/ 2147483647 w 75"/>
              <a:gd name="T21" fmla="*/ 2147483647 h 66"/>
              <a:gd name="T22" fmla="*/ 2147483647 w 75"/>
              <a:gd name="T23" fmla="*/ 2147483647 h 6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75"/>
              <a:gd name="T37" fmla="*/ 0 h 66"/>
              <a:gd name="T38" fmla="*/ 75 w 75"/>
              <a:gd name="T39" fmla="*/ 66 h 6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75" h="66">
                <a:moveTo>
                  <a:pt x="65" y="49"/>
                </a:moveTo>
                <a:lnTo>
                  <a:pt x="74" y="31"/>
                </a:lnTo>
                <a:lnTo>
                  <a:pt x="65" y="25"/>
                </a:lnTo>
                <a:lnTo>
                  <a:pt x="40" y="8"/>
                </a:lnTo>
                <a:lnTo>
                  <a:pt x="34" y="8"/>
                </a:lnTo>
                <a:lnTo>
                  <a:pt x="24" y="0"/>
                </a:lnTo>
                <a:lnTo>
                  <a:pt x="15" y="0"/>
                </a:lnTo>
                <a:lnTo>
                  <a:pt x="0" y="56"/>
                </a:lnTo>
                <a:lnTo>
                  <a:pt x="9" y="56"/>
                </a:lnTo>
                <a:lnTo>
                  <a:pt x="34" y="65"/>
                </a:lnTo>
                <a:lnTo>
                  <a:pt x="57" y="65"/>
                </a:lnTo>
                <a:lnTo>
                  <a:pt x="65" y="49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77" name="Freeform 98"/>
          <p:cNvSpPr>
            <a:spLocks/>
          </p:cNvSpPr>
          <p:nvPr>
            <p:custDataLst>
              <p:tags r:id="rId88"/>
            </p:custDataLst>
          </p:nvPr>
        </p:nvSpPr>
        <p:spPr bwMode="gray">
          <a:xfrm>
            <a:off x="2798763" y="5033963"/>
            <a:ext cx="793750" cy="817562"/>
          </a:xfrm>
          <a:custGeom>
            <a:avLst/>
            <a:gdLst>
              <a:gd name="T0" fmla="*/ 2147483647 w 505"/>
              <a:gd name="T1" fmla="*/ 2147483647 h 520"/>
              <a:gd name="T2" fmla="*/ 2147483647 w 505"/>
              <a:gd name="T3" fmla="*/ 2147483647 h 520"/>
              <a:gd name="T4" fmla="*/ 2147483647 w 505"/>
              <a:gd name="T5" fmla="*/ 2147483647 h 520"/>
              <a:gd name="T6" fmla="*/ 2147483647 w 505"/>
              <a:gd name="T7" fmla="*/ 2147483647 h 520"/>
              <a:gd name="T8" fmla="*/ 2147483647 w 505"/>
              <a:gd name="T9" fmla="*/ 2147483647 h 520"/>
              <a:gd name="T10" fmla="*/ 2147483647 w 505"/>
              <a:gd name="T11" fmla="*/ 2147483647 h 520"/>
              <a:gd name="T12" fmla="*/ 2147483647 w 505"/>
              <a:gd name="T13" fmla="*/ 0 h 520"/>
              <a:gd name="T14" fmla="*/ 2147483647 w 505"/>
              <a:gd name="T15" fmla="*/ 2147483647 h 520"/>
              <a:gd name="T16" fmla="*/ 2147483647 w 505"/>
              <a:gd name="T17" fmla="*/ 2147483647 h 520"/>
              <a:gd name="T18" fmla="*/ 2147483647 w 505"/>
              <a:gd name="T19" fmla="*/ 2147483647 h 520"/>
              <a:gd name="T20" fmla="*/ 2147483647 w 505"/>
              <a:gd name="T21" fmla="*/ 2147483647 h 520"/>
              <a:gd name="T22" fmla="*/ 2147483647 w 505"/>
              <a:gd name="T23" fmla="*/ 2147483647 h 520"/>
              <a:gd name="T24" fmla="*/ 2147483647 w 505"/>
              <a:gd name="T25" fmla="*/ 2147483647 h 520"/>
              <a:gd name="T26" fmla="*/ 2147483647 w 505"/>
              <a:gd name="T27" fmla="*/ 2147483647 h 520"/>
              <a:gd name="T28" fmla="*/ 2147483647 w 505"/>
              <a:gd name="T29" fmla="*/ 2147483647 h 520"/>
              <a:gd name="T30" fmla="*/ 0 w 505"/>
              <a:gd name="T31" fmla="*/ 2147483647 h 520"/>
              <a:gd name="T32" fmla="*/ 2147483647 w 505"/>
              <a:gd name="T33" fmla="*/ 2147483647 h 520"/>
              <a:gd name="T34" fmla="*/ 2147483647 w 505"/>
              <a:gd name="T35" fmla="*/ 2147483647 h 520"/>
              <a:gd name="T36" fmla="*/ 2147483647 w 505"/>
              <a:gd name="T37" fmla="*/ 2147483647 h 520"/>
              <a:gd name="T38" fmla="*/ 2147483647 w 505"/>
              <a:gd name="T39" fmla="*/ 2147483647 h 520"/>
              <a:gd name="T40" fmla="*/ 2147483647 w 505"/>
              <a:gd name="T41" fmla="*/ 2147483647 h 520"/>
              <a:gd name="T42" fmla="*/ 2147483647 w 505"/>
              <a:gd name="T43" fmla="*/ 2147483647 h 520"/>
              <a:gd name="T44" fmla="*/ 2147483647 w 505"/>
              <a:gd name="T45" fmla="*/ 2147483647 h 520"/>
              <a:gd name="T46" fmla="*/ 2147483647 w 505"/>
              <a:gd name="T47" fmla="*/ 2147483647 h 520"/>
              <a:gd name="T48" fmla="*/ 2147483647 w 505"/>
              <a:gd name="T49" fmla="*/ 2147483647 h 520"/>
              <a:gd name="T50" fmla="*/ 2147483647 w 505"/>
              <a:gd name="T51" fmla="*/ 2147483647 h 520"/>
              <a:gd name="T52" fmla="*/ 2147483647 w 505"/>
              <a:gd name="T53" fmla="*/ 2147483647 h 520"/>
              <a:gd name="T54" fmla="*/ 2147483647 w 505"/>
              <a:gd name="T55" fmla="*/ 2147483647 h 520"/>
              <a:gd name="T56" fmla="*/ 2147483647 w 505"/>
              <a:gd name="T57" fmla="*/ 2147483647 h 520"/>
              <a:gd name="T58" fmla="*/ 2147483647 w 505"/>
              <a:gd name="T59" fmla="*/ 2147483647 h 520"/>
              <a:gd name="T60" fmla="*/ 2147483647 w 505"/>
              <a:gd name="T61" fmla="*/ 2147483647 h 520"/>
              <a:gd name="T62" fmla="*/ 2147483647 w 505"/>
              <a:gd name="T63" fmla="*/ 2147483647 h 520"/>
              <a:gd name="T64" fmla="*/ 2147483647 w 505"/>
              <a:gd name="T65" fmla="*/ 2147483647 h 520"/>
              <a:gd name="T66" fmla="*/ 2147483647 w 505"/>
              <a:gd name="T67" fmla="*/ 2147483647 h 520"/>
              <a:gd name="T68" fmla="*/ 2147483647 w 505"/>
              <a:gd name="T69" fmla="*/ 2147483647 h 520"/>
              <a:gd name="T70" fmla="*/ 2147483647 w 505"/>
              <a:gd name="T71" fmla="*/ 2147483647 h 520"/>
              <a:gd name="T72" fmla="*/ 2147483647 w 505"/>
              <a:gd name="T73" fmla="*/ 2147483647 h 520"/>
              <a:gd name="T74" fmla="*/ 2147483647 w 505"/>
              <a:gd name="T75" fmla="*/ 2147483647 h 520"/>
              <a:gd name="T76" fmla="*/ 2147483647 w 505"/>
              <a:gd name="T77" fmla="*/ 2147483647 h 520"/>
              <a:gd name="T78" fmla="*/ 2147483647 w 505"/>
              <a:gd name="T79" fmla="*/ 2147483647 h 520"/>
              <a:gd name="T80" fmla="*/ 2147483647 w 505"/>
              <a:gd name="T81" fmla="*/ 2147483647 h 520"/>
              <a:gd name="T82" fmla="*/ 2147483647 w 505"/>
              <a:gd name="T83" fmla="*/ 2147483647 h 520"/>
              <a:gd name="T84" fmla="*/ 2147483647 w 505"/>
              <a:gd name="T85" fmla="*/ 2147483647 h 520"/>
              <a:gd name="T86" fmla="*/ 2147483647 w 505"/>
              <a:gd name="T87" fmla="*/ 2147483647 h 520"/>
              <a:gd name="T88" fmla="*/ 2147483647 w 505"/>
              <a:gd name="T89" fmla="*/ 2147483647 h 520"/>
              <a:gd name="T90" fmla="*/ 2147483647 w 505"/>
              <a:gd name="T91" fmla="*/ 2147483647 h 520"/>
              <a:gd name="T92" fmla="*/ 2147483647 w 505"/>
              <a:gd name="T93" fmla="*/ 2147483647 h 520"/>
              <a:gd name="T94" fmla="*/ 2147483647 w 505"/>
              <a:gd name="T95" fmla="*/ 2147483647 h 520"/>
              <a:gd name="T96" fmla="*/ 2147483647 w 505"/>
              <a:gd name="T97" fmla="*/ 2147483647 h 520"/>
              <a:gd name="T98" fmla="*/ 2147483647 w 505"/>
              <a:gd name="T99" fmla="*/ 2147483647 h 520"/>
              <a:gd name="T100" fmla="*/ 2147483647 w 505"/>
              <a:gd name="T101" fmla="*/ 2147483647 h 520"/>
              <a:gd name="T102" fmla="*/ 2147483647 w 505"/>
              <a:gd name="T103" fmla="*/ 2147483647 h 520"/>
              <a:gd name="T104" fmla="*/ 2147483647 w 505"/>
              <a:gd name="T105" fmla="*/ 2147483647 h 52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505"/>
              <a:gd name="T160" fmla="*/ 0 h 520"/>
              <a:gd name="T161" fmla="*/ 505 w 505"/>
              <a:gd name="T162" fmla="*/ 520 h 52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505" h="520">
                <a:moveTo>
                  <a:pt x="293" y="16"/>
                </a:moveTo>
                <a:lnTo>
                  <a:pt x="285" y="16"/>
                </a:lnTo>
                <a:lnTo>
                  <a:pt x="270" y="34"/>
                </a:lnTo>
                <a:lnTo>
                  <a:pt x="261" y="40"/>
                </a:lnTo>
                <a:lnTo>
                  <a:pt x="253" y="34"/>
                </a:lnTo>
                <a:lnTo>
                  <a:pt x="236" y="34"/>
                </a:lnTo>
                <a:lnTo>
                  <a:pt x="230" y="40"/>
                </a:lnTo>
                <a:lnTo>
                  <a:pt x="220" y="40"/>
                </a:lnTo>
                <a:lnTo>
                  <a:pt x="196" y="49"/>
                </a:lnTo>
                <a:lnTo>
                  <a:pt x="188" y="49"/>
                </a:lnTo>
                <a:lnTo>
                  <a:pt x="180" y="34"/>
                </a:lnTo>
                <a:lnTo>
                  <a:pt x="180" y="9"/>
                </a:lnTo>
                <a:lnTo>
                  <a:pt x="180" y="0"/>
                </a:lnTo>
                <a:lnTo>
                  <a:pt x="171" y="0"/>
                </a:lnTo>
                <a:lnTo>
                  <a:pt x="164" y="9"/>
                </a:lnTo>
                <a:lnTo>
                  <a:pt x="140" y="16"/>
                </a:lnTo>
                <a:lnTo>
                  <a:pt x="115" y="9"/>
                </a:lnTo>
                <a:lnTo>
                  <a:pt x="124" y="16"/>
                </a:lnTo>
                <a:lnTo>
                  <a:pt x="124" y="34"/>
                </a:lnTo>
                <a:lnTo>
                  <a:pt x="131" y="40"/>
                </a:lnTo>
                <a:lnTo>
                  <a:pt x="108" y="57"/>
                </a:lnTo>
                <a:lnTo>
                  <a:pt x="99" y="57"/>
                </a:lnTo>
                <a:lnTo>
                  <a:pt x="91" y="49"/>
                </a:lnTo>
                <a:lnTo>
                  <a:pt x="83" y="40"/>
                </a:lnTo>
                <a:lnTo>
                  <a:pt x="49" y="40"/>
                </a:lnTo>
                <a:lnTo>
                  <a:pt x="49" y="49"/>
                </a:lnTo>
                <a:lnTo>
                  <a:pt x="59" y="57"/>
                </a:lnTo>
                <a:lnTo>
                  <a:pt x="49" y="57"/>
                </a:lnTo>
                <a:lnTo>
                  <a:pt x="59" y="81"/>
                </a:lnTo>
                <a:lnTo>
                  <a:pt x="49" y="114"/>
                </a:lnTo>
                <a:lnTo>
                  <a:pt x="18" y="130"/>
                </a:lnTo>
                <a:lnTo>
                  <a:pt x="0" y="162"/>
                </a:lnTo>
                <a:lnTo>
                  <a:pt x="9" y="187"/>
                </a:lnTo>
                <a:lnTo>
                  <a:pt x="25" y="196"/>
                </a:lnTo>
                <a:lnTo>
                  <a:pt x="43" y="187"/>
                </a:lnTo>
                <a:lnTo>
                  <a:pt x="43" y="202"/>
                </a:lnTo>
                <a:lnTo>
                  <a:pt x="59" y="202"/>
                </a:lnTo>
                <a:lnTo>
                  <a:pt x="74" y="202"/>
                </a:lnTo>
                <a:lnTo>
                  <a:pt x="91" y="187"/>
                </a:lnTo>
                <a:lnTo>
                  <a:pt x="108" y="187"/>
                </a:lnTo>
                <a:lnTo>
                  <a:pt x="108" y="211"/>
                </a:lnTo>
                <a:lnTo>
                  <a:pt x="115" y="219"/>
                </a:lnTo>
                <a:lnTo>
                  <a:pt x="164" y="236"/>
                </a:lnTo>
                <a:lnTo>
                  <a:pt x="171" y="251"/>
                </a:lnTo>
                <a:lnTo>
                  <a:pt x="171" y="259"/>
                </a:lnTo>
                <a:lnTo>
                  <a:pt x="180" y="276"/>
                </a:lnTo>
                <a:lnTo>
                  <a:pt x="196" y="276"/>
                </a:lnTo>
                <a:lnTo>
                  <a:pt x="196" y="283"/>
                </a:lnTo>
                <a:lnTo>
                  <a:pt x="205" y="299"/>
                </a:lnTo>
                <a:lnTo>
                  <a:pt x="205" y="324"/>
                </a:lnTo>
                <a:lnTo>
                  <a:pt x="205" y="348"/>
                </a:lnTo>
                <a:lnTo>
                  <a:pt x="230" y="358"/>
                </a:lnTo>
                <a:lnTo>
                  <a:pt x="236" y="358"/>
                </a:lnTo>
                <a:lnTo>
                  <a:pt x="236" y="373"/>
                </a:lnTo>
                <a:lnTo>
                  <a:pt x="253" y="382"/>
                </a:lnTo>
                <a:lnTo>
                  <a:pt x="245" y="398"/>
                </a:lnTo>
                <a:lnTo>
                  <a:pt x="253" y="398"/>
                </a:lnTo>
                <a:lnTo>
                  <a:pt x="261" y="422"/>
                </a:lnTo>
                <a:lnTo>
                  <a:pt x="245" y="429"/>
                </a:lnTo>
                <a:lnTo>
                  <a:pt x="211" y="470"/>
                </a:lnTo>
                <a:lnTo>
                  <a:pt x="220" y="470"/>
                </a:lnTo>
                <a:lnTo>
                  <a:pt x="230" y="478"/>
                </a:lnTo>
                <a:lnTo>
                  <a:pt x="236" y="478"/>
                </a:lnTo>
                <a:lnTo>
                  <a:pt x="261" y="495"/>
                </a:lnTo>
                <a:lnTo>
                  <a:pt x="270" y="501"/>
                </a:lnTo>
                <a:lnTo>
                  <a:pt x="261" y="519"/>
                </a:lnTo>
                <a:lnTo>
                  <a:pt x="277" y="501"/>
                </a:lnTo>
                <a:lnTo>
                  <a:pt x="293" y="485"/>
                </a:lnTo>
                <a:lnTo>
                  <a:pt x="310" y="453"/>
                </a:lnTo>
                <a:lnTo>
                  <a:pt x="326" y="438"/>
                </a:lnTo>
                <a:lnTo>
                  <a:pt x="326" y="405"/>
                </a:lnTo>
                <a:lnTo>
                  <a:pt x="333" y="389"/>
                </a:lnTo>
                <a:lnTo>
                  <a:pt x="350" y="382"/>
                </a:lnTo>
                <a:lnTo>
                  <a:pt x="375" y="364"/>
                </a:lnTo>
                <a:lnTo>
                  <a:pt x="407" y="364"/>
                </a:lnTo>
                <a:lnTo>
                  <a:pt x="407" y="358"/>
                </a:lnTo>
                <a:lnTo>
                  <a:pt x="423" y="348"/>
                </a:lnTo>
                <a:lnTo>
                  <a:pt x="423" y="341"/>
                </a:lnTo>
                <a:lnTo>
                  <a:pt x="439" y="316"/>
                </a:lnTo>
                <a:lnTo>
                  <a:pt x="439" y="299"/>
                </a:lnTo>
                <a:lnTo>
                  <a:pt x="447" y="292"/>
                </a:lnTo>
                <a:lnTo>
                  <a:pt x="447" y="236"/>
                </a:lnTo>
                <a:lnTo>
                  <a:pt x="488" y="187"/>
                </a:lnTo>
                <a:lnTo>
                  <a:pt x="504" y="162"/>
                </a:lnTo>
                <a:lnTo>
                  <a:pt x="497" y="130"/>
                </a:lnTo>
                <a:lnTo>
                  <a:pt x="472" y="130"/>
                </a:lnTo>
                <a:lnTo>
                  <a:pt x="432" y="97"/>
                </a:lnTo>
                <a:lnTo>
                  <a:pt x="416" y="106"/>
                </a:lnTo>
                <a:lnTo>
                  <a:pt x="392" y="97"/>
                </a:lnTo>
                <a:lnTo>
                  <a:pt x="375" y="97"/>
                </a:lnTo>
                <a:lnTo>
                  <a:pt x="375" y="90"/>
                </a:lnTo>
                <a:lnTo>
                  <a:pt x="375" y="81"/>
                </a:lnTo>
                <a:lnTo>
                  <a:pt x="367" y="81"/>
                </a:lnTo>
                <a:lnTo>
                  <a:pt x="333" y="74"/>
                </a:lnTo>
                <a:lnTo>
                  <a:pt x="326" y="81"/>
                </a:lnTo>
                <a:lnTo>
                  <a:pt x="326" y="65"/>
                </a:lnTo>
                <a:lnTo>
                  <a:pt x="317" y="65"/>
                </a:lnTo>
                <a:lnTo>
                  <a:pt x="302" y="65"/>
                </a:lnTo>
                <a:lnTo>
                  <a:pt x="302" y="81"/>
                </a:lnTo>
                <a:lnTo>
                  <a:pt x="293" y="74"/>
                </a:lnTo>
                <a:lnTo>
                  <a:pt x="285" y="81"/>
                </a:lnTo>
                <a:lnTo>
                  <a:pt x="293" y="65"/>
                </a:lnTo>
                <a:lnTo>
                  <a:pt x="310" y="49"/>
                </a:lnTo>
                <a:lnTo>
                  <a:pt x="310" y="40"/>
                </a:lnTo>
                <a:lnTo>
                  <a:pt x="302" y="40"/>
                </a:lnTo>
                <a:lnTo>
                  <a:pt x="293" y="16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78" name="Freeform 99"/>
          <p:cNvSpPr>
            <a:spLocks/>
          </p:cNvSpPr>
          <p:nvPr>
            <p:custDataLst>
              <p:tags r:id="rId89"/>
            </p:custDataLst>
          </p:nvPr>
        </p:nvSpPr>
        <p:spPr bwMode="gray">
          <a:xfrm>
            <a:off x="3197225" y="5024438"/>
            <a:ext cx="50800" cy="74612"/>
          </a:xfrm>
          <a:custGeom>
            <a:avLst/>
            <a:gdLst>
              <a:gd name="T0" fmla="*/ 0 w 33"/>
              <a:gd name="T1" fmla="*/ 2147483647 h 48"/>
              <a:gd name="T2" fmla="*/ 2147483647 w 33"/>
              <a:gd name="T3" fmla="*/ 2147483647 h 48"/>
              <a:gd name="T4" fmla="*/ 2147483647 w 33"/>
              <a:gd name="T5" fmla="*/ 2147483647 h 48"/>
              <a:gd name="T6" fmla="*/ 2147483647 w 33"/>
              <a:gd name="T7" fmla="*/ 2147483647 h 48"/>
              <a:gd name="T8" fmla="*/ 0 w 33"/>
              <a:gd name="T9" fmla="*/ 0 h 48"/>
              <a:gd name="T10" fmla="*/ 0 w 33"/>
              <a:gd name="T11" fmla="*/ 2147483647 h 48"/>
              <a:gd name="T12" fmla="*/ 0 w 33"/>
              <a:gd name="T13" fmla="*/ 2147483647 h 48"/>
              <a:gd name="T14" fmla="*/ 0 w 33"/>
              <a:gd name="T15" fmla="*/ 2147483647 h 4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3"/>
              <a:gd name="T25" fmla="*/ 0 h 48"/>
              <a:gd name="T26" fmla="*/ 33 w 33"/>
              <a:gd name="T27" fmla="*/ 48 h 4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3" h="48">
                <a:moveTo>
                  <a:pt x="0" y="41"/>
                </a:moveTo>
                <a:lnTo>
                  <a:pt x="8" y="47"/>
                </a:lnTo>
                <a:lnTo>
                  <a:pt x="17" y="41"/>
                </a:lnTo>
                <a:lnTo>
                  <a:pt x="32" y="23"/>
                </a:lnTo>
                <a:lnTo>
                  <a:pt x="0" y="0"/>
                </a:lnTo>
                <a:lnTo>
                  <a:pt x="0" y="7"/>
                </a:lnTo>
                <a:lnTo>
                  <a:pt x="0" y="23"/>
                </a:lnTo>
                <a:lnTo>
                  <a:pt x="0" y="41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79" name="Freeform 100"/>
          <p:cNvSpPr>
            <a:spLocks/>
          </p:cNvSpPr>
          <p:nvPr>
            <p:custDataLst>
              <p:tags r:id="rId90"/>
            </p:custDataLst>
          </p:nvPr>
        </p:nvSpPr>
        <p:spPr bwMode="gray">
          <a:xfrm>
            <a:off x="3122613" y="5024438"/>
            <a:ext cx="76200" cy="74612"/>
          </a:xfrm>
          <a:custGeom>
            <a:avLst/>
            <a:gdLst>
              <a:gd name="T0" fmla="*/ 2147483647 w 49"/>
              <a:gd name="T1" fmla="*/ 2147483647 h 48"/>
              <a:gd name="T2" fmla="*/ 2147483647 w 49"/>
              <a:gd name="T3" fmla="*/ 2147483647 h 48"/>
              <a:gd name="T4" fmla="*/ 2147483647 w 49"/>
              <a:gd name="T5" fmla="*/ 2147483647 h 48"/>
              <a:gd name="T6" fmla="*/ 2147483647 w 49"/>
              <a:gd name="T7" fmla="*/ 0 h 48"/>
              <a:gd name="T8" fmla="*/ 2147483647 w 49"/>
              <a:gd name="T9" fmla="*/ 0 h 48"/>
              <a:gd name="T10" fmla="*/ 0 w 49"/>
              <a:gd name="T11" fmla="*/ 2147483647 h 48"/>
              <a:gd name="T12" fmla="*/ 2147483647 w 49"/>
              <a:gd name="T13" fmla="*/ 2147483647 h 48"/>
              <a:gd name="T14" fmla="*/ 2147483647 w 49"/>
              <a:gd name="T15" fmla="*/ 2147483647 h 48"/>
              <a:gd name="T16" fmla="*/ 2147483647 w 49"/>
              <a:gd name="T17" fmla="*/ 2147483647 h 48"/>
              <a:gd name="T18" fmla="*/ 2147483647 w 49"/>
              <a:gd name="T19" fmla="*/ 2147483647 h 4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9"/>
              <a:gd name="T31" fmla="*/ 0 h 48"/>
              <a:gd name="T32" fmla="*/ 49 w 49"/>
              <a:gd name="T33" fmla="*/ 48 h 4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9" h="48">
                <a:moveTo>
                  <a:pt x="48" y="41"/>
                </a:moveTo>
                <a:lnTo>
                  <a:pt x="48" y="23"/>
                </a:lnTo>
                <a:lnTo>
                  <a:pt x="48" y="7"/>
                </a:lnTo>
                <a:lnTo>
                  <a:pt x="48" y="0"/>
                </a:lnTo>
                <a:lnTo>
                  <a:pt x="15" y="0"/>
                </a:lnTo>
                <a:lnTo>
                  <a:pt x="0" y="16"/>
                </a:lnTo>
                <a:lnTo>
                  <a:pt x="15" y="47"/>
                </a:lnTo>
                <a:lnTo>
                  <a:pt x="25" y="47"/>
                </a:lnTo>
                <a:lnTo>
                  <a:pt x="31" y="41"/>
                </a:lnTo>
                <a:lnTo>
                  <a:pt x="48" y="41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80" name="Freeform 101"/>
          <p:cNvSpPr>
            <a:spLocks/>
          </p:cNvSpPr>
          <p:nvPr>
            <p:custDataLst>
              <p:tags r:id="rId91"/>
            </p:custDataLst>
          </p:nvPr>
        </p:nvSpPr>
        <p:spPr bwMode="gray">
          <a:xfrm>
            <a:off x="3057525" y="4972050"/>
            <a:ext cx="88900" cy="139700"/>
          </a:xfrm>
          <a:custGeom>
            <a:avLst/>
            <a:gdLst>
              <a:gd name="T0" fmla="*/ 2147483647 w 57"/>
              <a:gd name="T1" fmla="*/ 0 h 90"/>
              <a:gd name="T2" fmla="*/ 2147483647 w 57"/>
              <a:gd name="T3" fmla="*/ 2147483647 h 90"/>
              <a:gd name="T4" fmla="*/ 2147483647 w 57"/>
              <a:gd name="T5" fmla="*/ 2147483647 h 90"/>
              <a:gd name="T6" fmla="*/ 2147483647 w 57"/>
              <a:gd name="T7" fmla="*/ 2147483647 h 90"/>
              <a:gd name="T8" fmla="*/ 2147483647 w 57"/>
              <a:gd name="T9" fmla="*/ 2147483647 h 90"/>
              <a:gd name="T10" fmla="*/ 2147483647 w 57"/>
              <a:gd name="T11" fmla="*/ 2147483647 h 90"/>
              <a:gd name="T12" fmla="*/ 2147483647 w 57"/>
              <a:gd name="T13" fmla="*/ 2147483647 h 90"/>
              <a:gd name="T14" fmla="*/ 2147483647 w 57"/>
              <a:gd name="T15" fmla="*/ 2147483647 h 90"/>
              <a:gd name="T16" fmla="*/ 2147483647 w 57"/>
              <a:gd name="T17" fmla="*/ 2147483647 h 90"/>
              <a:gd name="T18" fmla="*/ 2147483647 w 57"/>
              <a:gd name="T19" fmla="*/ 2147483647 h 90"/>
              <a:gd name="T20" fmla="*/ 2147483647 w 57"/>
              <a:gd name="T21" fmla="*/ 2147483647 h 90"/>
              <a:gd name="T22" fmla="*/ 2147483647 w 57"/>
              <a:gd name="T23" fmla="*/ 2147483647 h 90"/>
              <a:gd name="T24" fmla="*/ 2147483647 w 57"/>
              <a:gd name="T25" fmla="*/ 2147483647 h 90"/>
              <a:gd name="T26" fmla="*/ 0 w 57"/>
              <a:gd name="T27" fmla="*/ 2147483647 h 90"/>
              <a:gd name="T28" fmla="*/ 0 w 57"/>
              <a:gd name="T29" fmla="*/ 2147483647 h 90"/>
              <a:gd name="T30" fmla="*/ 2147483647 w 57"/>
              <a:gd name="T31" fmla="*/ 2147483647 h 90"/>
              <a:gd name="T32" fmla="*/ 2147483647 w 57"/>
              <a:gd name="T33" fmla="*/ 2147483647 h 90"/>
              <a:gd name="T34" fmla="*/ 2147483647 w 57"/>
              <a:gd name="T35" fmla="*/ 0 h 9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57"/>
              <a:gd name="T55" fmla="*/ 0 h 90"/>
              <a:gd name="T56" fmla="*/ 57 w 57"/>
              <a:gd name="T57" fmla="*/ 90 h 90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57" h="90">
                <a:moveTo>
                  <a:pt x="16" y="0"/>
                </a:moveTo>
                <a:lnTo>
                  <a:pt x="32" y="9"/>
                </a:lnTo>
                <a:lnTo>
                  <a:pt x="32" y="15"/>
                </a:lnTo>
                <a:lnTo>
                  <a:pt x="41" y="15"/>
                </a:lnTo>
                <a:lnTo>
                  <a:pt x="56" y="33"/>
                </a:lnTo>
                <a:lnTo>
                  <a:pt x="41" y="49"/>
                </a:lnTo>
                <a:lnTo>
                  <a:pt x="56" y="80"/>
                </a:lnTo>
                <a:lnTo>
                  <a:pt x="32" y="89"/>
                </a:lnTo>
                <a:lnTo>
                  <a:pt x="24" y="89"/>
                </a:lnTo>
                <a:lnTo>
                  <a:pt x="16" y="74"/>
                </a:lnTo>
                <a:lnTo>
                  <a:pt x="16" y="49"/>
                </a:lnTo>
                <a:lnTo>
                  <a:pt x="16" y="40"/>
                </a:lnTo>
                <a:lnTo>
                  <a:pt x="7" y="40"/>
                </a:lnTo>
                <a:lnTo>
                  <a:pt x="0" y="33"/>
                </a:lnTo>
                <a:lnTo>
                  <a:pt x="0" y="15"/>
                </a:lnTo>
                <a:lnTo>
                  <a:pt x="7" y="15"/>
                </a:lnTo>
                <a:lnTo>
                  <a:pt x="7" y="9"/>
                </a:lnTo>
                <a:lnTo>
                  <a:pt x="16" y="0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81" name="Freeform 102"/>
          <p:cNvSpPr>
            <a:spLocks/>
          </p:cNvSpPr>
          <p:nvPr>
            <p:custDataLst>
              <p:tags r:id="rId92"/>
            </p:custDataLst>
          </p:nvPr>
        </p:nvSpPr>
        <p:spPr bwMode="gray">
          <a:xfrm>
            <a:off x="2813050" y="4894263"/>
            <a:ext cx="271463" cy="231775"/>
          </a:xfrm>
          <a:custGeom>
            <a:avLst/>
            <a:gdLst>
              <a:gd name="T0" fmla="*/ 2147483647 w 172"/>
              <a:gd name="T1" fmla="*/ 2147483647 h 148"/>
              <a:gd name="T2" fmla="*/ 2147483647 w 172"/>
              <a:gd name="T3" fmla="*/ 2147483647 h 148"/>
              <a:gd name="T4" fmla="*/ 2147483647 w 172"/>
              <a:gd name="T5" fmla="*/ 2147483647 h 148"/>
              <a:gd name="T6" fmla="*/ 2147483647 w 172"/>
              <a:gd name="T7" fmla="*/ 2147483647 h 148"/>
              <a:gd name="T8" fmla="*/ 2147483647 w 172"/>
              <a:gd name="T9" fmla="*/ 2147483647 h 148"/>
              <a:gd name="T10" fmla="*/ 2147483647 w 172"/>
              <a:gd name="T11" fmla="*/ 2147483647 h 148"/>
              <a:gd name="T12" fmla="*/ 2147483647 w 172"/>
              <a:gd name="T13" fmla="*/ 2147483647 h 148"/>
              <a:gd name="T14" fmla="*/ 2147483647 w 172"/>
              <a:gd name="T15" fmla="*/ 2147483647 h 148"/>
              <a:gd name="T16" fmla="*/ 2147483647 w 172"/>
              <a:gd name="T17" fmla="*/ 2147483647 h 148"/>
              <a:gd name="T18" fmla="*/ 2147483647 w 172"/>
              <a:gd name="T19" fmla="*/ 2147483647 h 148"/>
              <a:gd name="T20" fmla="*/ 2147483647 w 172"/>
              <a:gd name="T21" fmla="*/ 2147483647 h 148"/>
              <a:gd name="T22" fmla="*/ 2147483647 w 172"/>
              <a:gd name="T23" fmla="*/ 2147483647 h 148"/>
              <a:gd name="T24" fmla="*/ 2147483647 w 172"/>
              <a:gd name="T25" fmla="*/ 2147483647 h 148"/>
              <a:gd name="T26" fmla="*/ 2147483647 w 172"/>
              <a:gd name="T27" fmla="*/ 2147483647 h 148"/>
              <a:gd name="T28" fmla="*/ 2147483647 w 172"/>
              <a:gd name="T29" fmla="*/ 2147483647 h 148"/>
              <a:gd name="T30" fmla="*/ 2147483647 w 172"/>
              <a:gd name="T31" fmla="*/ 2147483647 h 148"/>
              <a:gd name="T32" fmla="*/ 2147483647 w 172"/>
              <a:gd name="T33" fmla="*/ 2147483647 h 148"/>
              <a:gd name="T34" fmla="*/ 2147483647 w 172"/>
              <a:gd name="T35" fmla="*/ 2147483647 h 148"/>
              <a:gd name="T36" fmla="*/ 2147483647 w 172"/>
              <a:gd name="T37" fmla="*/ 2147483647 h 148"/>
              <a:gd name="T38" fmla="*/ 2147483647 w 172"/>
              <a:gd name="T39" fmla="*/ 2147483647 h 148"/>
              <a:gd name="T40" fmla="*/ 2147483647 w 172"/>
              <a:gd name="T41" fmla="*/ 2147483647 h 148"/>
              <a:gd name="T42" fmla="*/ 2147483647 w 172"/>
              <a:gd name="T43" fmla="*/ 2147483647 h 148"/>
              <a:gd name="T44" fmla="*/ 2147483647 w 172"/>
              <a:gd name="T45" fmla="*/ 2147483647 h 148"/>
              <a:gd name="T46" fmla="*/ 2147483647 w 172"/>
              <a:gd name="T47" fmla="*/ 2147483647 h 148"/>
              <a:gd name="T48" fmla="*/ 0 w 172"/>
              <a:gd name="T49" fmla="*/ 2147483647 h 148"/>
              <a:gd name="T50" fmla="*/ 2147483647 w 172"/>
              <a:gd name="T51" fmla="*/ 2147483647 h 148"/>
              <a:gd name="T52" fmla="*/ 2147483647 w 172"/>
              <a:gd name="T53" fmla="*/ 2147483647 h 148"/>
              <a:gd name="T54" fmla="*/ 2147483647 w 172"/>
              <a:gd name="T55" fmla="*/ 2147483647 h 148"/>
              <a:gd name="T56" fmla="*/ 2147483647 w 172"/>
              <a:gd name="T57" fmla="*/ 2147483647 h 148"/>
              <a:gd name="T58" fmla="*/ 2147483647 w 172"/>
              <a:gd name="T59" fmla="*/ 2147483647 h 148"/>
              <a:gd name="T60" fmla="*/ 2147483647 w 172"/>
              <a:gd name="T61" fmla="*/ 2147483647 h 148"/>
              <a:gd name="T62" fmla="*/ 2147483647 w 172"/>
              <a:gd name="T63" fmla="*/ 2147483647 h 148"/>
              <a:gd name="T64" fmla="*/ 2147483647 w 172"/>
              <a:gd name="T65" fmla="*/ 2147483647 h 148"/>
              <a:gd name="T66" fmla="*/ 2147483647 w 172"/>
              <a:gd name="T67" fmla="*/ 0 h 148"/>
              <a:gd name="T68" fmla="*/ 2147483647 w 172"/>
              <a:gd name="T69" fmla="*/ 2147483647 h 148"/>
              <a:gd name="T70" fmla="*/ 2147483647 w 172"/>
              <a:gd name="T71" fmla="*/ 2147483647 h 148"/>
              <a:gd name="T72" fmla="*/ 2147483647 w 172"/>
              <a:gd name="T73" fmla="*/ 2147483647 h 148"/>
              <a:gd name="T74" fmla="*/ 2147483647 w 172"/>
              <a:gd name="T75" fmla="*/ 2147483647 h 148"/>
              <a:gd name="T76" fmla="*/ 2147483647 w 172"/>
              <a:gd name="T77" fmla="*/ 2147483647 h 148"/>
              <a:gd name="T78" fmla="*/ 2147483647 w 172"/>
              <a:gd name="T79" fmla="*/ 2147483647 h 148"/>
              <a:gd name="T80" fmla="*/ 2147483647 w 172"/>
              <a:gd name="T81" fmla="*/ 2147483647 h 148"/>
              <a:gd name="T82" fmla="*/ 2147483647 w 172"/>
              <a:gd name="T83" fmla="*/ 2147483647 h 148"/>
              <a:gd name="T84" fmla="*/ 2147483647 w 172"/>
              <a:gd name="T85" fmla="*/ 2147483647 h 148"/>
              <a:gd name="T86" fmla="*/ 2147483647 w 172"/>
              <a:gd name="T87" fmla="*/ 2147483647 h 148"/>
              <a:gd name="T88" fmla="*/ 2147483647 w 172"/>
              <a:gd name="T89" fmla="*/ 2147483647 h 148"/>
              <a:gd name="T90" fmla="*/ 2147483647 w 172"/>
              <a:gd name="T91" fmla="*/ 2147483647 h 148"/>
              <a:gd name="T92" fmla="*/ 2147483647 w 172"/>
              <a:gd name="T93" fmla="*/ 2147483647 h 148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72"/>
              <a:gd name="T142" fmla="*/ 0 h 148"/>
              <a:gd name="T143" fmla="*/ 172 w 172"/>
              <a:gd name="T144" fmla="*/ 148 h 148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72" h="148">
                <a:moveTo>
                  <a:pt x="171" y="50"/>
                </a:moveTo>
                <a:lnTo>
                  <a:pt x="162" y="59"/>
                </a:lnTo>
                <a:lnTo>
                  <a:pt x="162" y="65"/>
                </a:lnTo>
                <a:lnTo>
                  <a:pt x="155" y="65"/>
                </a:lnTo>
                <a:lnTo>
                  <a:pt x="155" y="83"/>
                </a:lnTo>
                <a:lnTo>
                  <a:pt x="162" y="90"/>
                </a:lnTo>
                <a:lnTo>
                  <a:pt x="155" y="99"/>
                </a:lnTo>
                <a:lnTo>
                  <a:pt x="131" y="106"/>
                </a:lnTo>
                <a:lnTo>
                  <a:pt x="106" y="99"/>
                </a:lnTo>
                <a:lnTo>
                  <a:pt x="115" y="106"/>
                </a:lnTo>
                <a:lnTo>
                  <a:pt x="115" y="124"/>
                </a:lnTo>
                <a:lnTo>
                  <a:pt x="122" y="130"/>
                </a:lnTo>
                <a:lnTo>
                  <a:pt x="99" y="147"/>
                </a:lnTo>
                <a:lnTo>
                  <a:pt x="90" y="147"/>
                </a:lnTo>
                <a:lnTo>
                  <a:pt x="82" y="139"/>
                </a:lnTo>
                <a:lnTo>
                  <a:pt x="74" y="130"/>
                </a:lnTo>
                <a:lnTo>
                  <a:pt x="74" y="115"/>
                </a:lnTo>
                <a:lnTo>
                  <a:pt x="65" y="99"/>
                </a:lnTo>
                <a:lnTo>
                  <a:pt x="74" y="74"/>
                </a:lnTo>
                <a:lnTo>
                  <a:pt x="50" y="74"/>
                </a:lnTo>
                <a:lnTo>
                  <a:pt x="40" y="65"/>
                </a:lnTo>
                <a:lnTo>
                  <a:pt x="16" y="65"/>
                </a:lnTo>
                <a:lnTo>
                  <a:pt x="9" y="59"/>
                </a:lnTo>
                <a:lnTo>
                  <a:pt x="9" y="50"/>
                </a:lnTo>
                <a:lnTo>
                  <a:pt x="0" y="34"/>
                </a:lnTo>
                <a:lnTo>
                  <a:pt x="9" y="18"/>
                </a:lnTo>
                <a:lnTo>
                  <a:pt x="16" y="10"/>
                </a:lnTo>
                <a:lnTo>
                  <a:pt x="25" y="18"/>
                </a:lnTo>
                <a:lnTo>
                  <a:pt x="16" y="25"/>
                </a:lnTo>
                <a:lnTo>
                  <a:pt x="16" y="41"/>
                </a:lnTo>
                <a:lnTo>
                  <a:pt x="25" y="34"/>
                </a:lnTo>
                <a:lnTo>
                  <a:pt x="25" y="18"/>
                </a:lnTo>
                <a:lnTo>
                  <a:pt x="40" y="10"/>
                </a:lnTo>
                <a:lnTo>
                  <a:pt x="40" y="0"/>
                </a:lnTo>
                <a:lnTo>
                  <a:pt x="40" y="10"/>
                </a:lnTo>
                <a:lnTo>
                  <a:pt x="65" y="10"/>
                </a:lnTo>
                <a:lnTo>
                  <a:pt x="65" y="18"/>
                </a:lnTo>
                <a:lnTo>
                  <a:pt x="90" y="18"/>
                </a:lnTo>
                <a:lnTo>
                  <a:pt x="106" y="25"/>
                </a:lnTo>
                <a:lnTo>
                  <a:pt x="122" y="18"/>
                </a:lnTo>
                <a:lnTo>
                  <a:pt x="139" y="18"/>
                </a:lnTo>
                <a:lnTo>
                  <a:pt x="131" y="18"/>
                </a:lnTo>
                <a:lnTo>
                  <a:pt x="139" y="25"/>
                </a:lnTo>
                <a:lnTo>
                  <a:pt x="155" y="34"/>
                </a:lnTo>
                <a:lnTo>
                  <a:pt x="155" y="50"/>
                </a:lnTo>
                <a:lnTo>
                  <a:pt x="162" y="41"/>
                </a:lnTo>
                <a:lnTo>
                  <a:pt x="171" y="50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82" name="Freeform 103"/>
          <p:cNvSpPr>
            <a:spLocks/>
          </p:cNvSpPr>
          <p:nvPr>
            <p:custDataLst>
              <p:tags r:id="rId93"/>
            </p:custDataLst>
          </p:nvPr>
        </p:nvSpPr>
        <p:spPr bwMode="gray">
          <a:xfrm>
            <a:off x="4751388" y="3763963"/>
            <a:ext cx="193675" cy="168275"/>
          </a:xfrm>
          <a:custGeom>
            <a:avLst/>
            <a:gdLst>
              <a:gd name="T0" fmla="*/ 2147483647 w 123"/>
              <a:gd name="T1" fmla="*/ 2147483647 h 107"/>
              <a:gd name="T2" fmla="*/ 2147483647 w 123"/>
              <a:gd name="T3" fmla="*/ 2147483647 h 107"/>
              <a:gd name="T4" fmla="*/ 2147483647 w 123"/>
              <a:gd name="T5" fmla="*/ 2147483647 h 107"/>
              <a:gd name="T6" fmla="*/ 2147483647 w 123"/>
              <a:gd name="T7" fmla="*/ 2147483647 h 107"/>
              <a:gd name="T8" fmla="*/ 2147483647 w 123"/>
              <a:gd name="T9" fmla="*/ 2147483647 h 107"/>
              <a:gd name="T10" fmla="*/ 2147483647 w 123"/>
              <a:gd name="T11" fmla="*/ 2147483647 h 107"/>
              <a:gd name="T12" fmla="*/ 2147483647 w 123"/>
              <a:gd name="T13" fmla="*/ 2147483647 h 107"/>
              <a:gd name="T14" fmla="*/ 2147483647 w 123"/>
              <a:gd name="T15" fmla="*/ 2147483647 h 107"/>
              <a:gd name="T16" fmla="*/ 2147483647 w 123"/>
              <a:gd name="T17" fmla="*/ 2147483647 h 107"/>
              <a:gd name="T18" fmla="*/ 2147483647 w 123"/>
              <a:gd name="T19" fmla="*/ 0 h 107"/>
              <a:gd name="T20" fmla="*/ 2147483647 w 123"/>
              <a:gd name="T21" fmla="*/ 2147483647 h 107"/>
              <a:gd name="T22" fmla="*/ 2147483647 w 123"/>
              <a:gd name="T23" fmla="*/ 2147483647 h 107"/>
              <a:gd name="T24" fmla="*/ 2147483647 w 123"/>
              <a:gd name="T25" fmla="*/ 2147483647 h 107"/>
              <a:gd name="T26" fmla="*/ 2147483647 w 123"/>
              <a:gd name="T27" fmla="*/ 2147483647 h 107"/>
              <a:gd name="T28" fmla="*/ 2147483647 w 123"/>
              <a:gd name="T29" fmla="*/ 2147483647 h 107"/>
              <a:gd name="T30" fmla="*/ 2147483647 w 123"/>
              <a:gd name="T31" fmla="*/ 2147483647 h 107"/>
              <a:gd name="T32" fmla="*/ 0 w 123"/>
              <a:gd name="T33" fmla="*/ 2147483647 h 107"/>
              <a:gd name="T34" fmla="*/ 2147483647 w 123"/>
              <a:gd name="T35" fmla="*/ 2147483647 h 107"/>
              <a:gd name="T36" fmla="*/ 0 w 123"/>
              <a:gd name="T37" fmla="*/ 2147483647 h 107"/>
              <a:gd name="T38" fmla="*/ 0 w 123"/>
              <a:gd name="T39" fmla="*/ 2147483647 h 107"/>
              <a:gd name="T40" fmla="*/ 2147483647 w 123"/>
              <a:gd name="T41" fmla="*/ 2147483647 h 107"/>
              <a:gd name="T42" fmla="*/ 2147483647 w 123"/>
              <a:gd name="T43" fmla="*/ 2147483647 h 107"/>
              <a:gd name="T44" fmla="*/ 2147483647 w 123"/>
              <a:gd name="T45" fmla="*/ 2147483647 h 107"/>
              <a:gd name="T46" fmla="*/ 2147483647 w 123"/>
              <a:gd name="T47" fmla="*/ 2147483647 h 107"/>
              <a:gd name="T48" fmla="*/ 2147483647 w 123"/>
              <a:gd name="T49" fmla="*/ 2147483647 h 107"/>
              <a:gd name="T50" fmla="*/ 2147483647 w 123"/>
              <a:gd name="T51" fmla="*/ 2147483647 h 107"/>
              <a:gd name="T52" fmla="*/ 2147483647 w 123"/>
              <a:gd name="T53" fmla="*/ 2147483647 h 107"/>
              <a:gd name="T54" fmla="*/ 2147483647 w 123"/>
              <a:gd name="T55" fmla="*/ 2147483647 h 107"/>
              <a:gd name="T56" fmla="*/ 2147483647 w 123"/>
              <a:gd name="T57" fmla="*/ 2147483647 h 10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23"/>
              <a:gd name="T88" fmla="*/ 0 h 107"/>
              <a:gd name="T89" fmla="*/ 123 w 123"/>
              <a:gd name="T90" fmla="*/ 107 h 107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23" h="107">
                <a:moveTo>
                  <a:pt x="112" y="88"/>
                </a:moveTo>
                <a:lnTo>
                  <a:pt x="106" y="72"/>
                </a:lnTo>
                <a:lnTo>
                  <a:pt x="106" y="65"/>
                </a:lnTo>
                <a:lnTo>
                  <a:pt x="112" y="72"/>
                </a:lnTo>
                <a:lnTo>
                  <a:pt x="122" y="57"/>
                </a:lnTo>
                <a:lnTo>
                  <a:pt x="112" y="57"/>
                </a:lnTo>
                <a:lnTo>
                  <a:pt x="97" y="32"/>
                </a:lnTo>
                <a:lnTo>
                  <a:pt x="97" y="16"/>
                </a:lnTo>
                <a:lnTo>
                  <a:pt x="90" y="7"/>
                </a:lnTo>
                <a:lnTo>
                  <a:pt x="65" y="0"/>
                </a:lnTo>
                <a:lnTo>
                  <a:pt x="49" y="16"/>
                </a:lnTo>
                <a:lnTo>
                  <a:pt x="49" y="25"/>
                </a:lnTo>
                <a:lnTo>
                  <a:pt x="32" y="32"/>
                </a:lnTo>
                <a:lnTo>
                  <a:pt x="32" y="47"/>
                </a:lnTo>
                <a:lnTo>
                  <a:pt x="25" y="47"/>
                </a:lnTo>
                <a:lnTo>
                  <a:pt x="7" y="57"/>
                </a:lnTo>
                <a:lnTo>
                  <a:pt x="0" y="57"/>
                </a:lnTo>
                <a:lnTo>
                  <a:pt x="7" y="72"/>
                </a:lnTo>
                <a:lnTo>
                  <a:pt x="0" y="88"/>
                </a:lnTo>
                <a:lnTo>
                  <a:pt x="0" y="106"/>
                </a:lnTo>
                <a:lnTo>
                  <a:pt x="15" y="97"/>
                </a:lnTo>
                <a:lnTo>
                  <a:pt x="32" y="97"/>
                </a:lnTo>
                <a:lnTo>
                  <a:pt x="57" y="106"/>
                </a:lnTo>
                <a:lnTo>
                  <a:pt x="65" y="106"/>
                </a:lnTo>
                <a:lnTo>
                  <a:pt x="72" y="106"/>
                </a:lnTo>
                <a:lnTo>
                  <a:pt x="81" y="106"/>
                </a:lnTo>
                <a:lnTo>
                  <a:pt x="97" y="106"/>
                </a:lnTo>
                <a:lnTo>
                  <a:pt x="106" y="88"/>
                </a:lnTo>
                <a:lnTo>
                  <a:pt x="112" y="88"/>
                </a:lnTo>
              </a:path>
            </a:pathLst>
          </a:custGeom>
          <a:solidFill>
            <a:srgbClr val="33CCFF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83" name="Freeform 105"/>
          <p:cNvSpPr>
            <a:spLocks/>
          </p:cNvSpPr>
          <p:nvPr>
            <p:custDataLst>
              <p:tags r:id="rId94"/>
            </p:custDataLst>
          </p:nvPr>
        </p:nvSpPr>
        <p:spPr bwMode="gray">
          <a:xfrm>
            <a:off x="4711700" y="3702050"/>
            <a:ext cx="144463" cy="88900"/>
          </a:xfrm>
          <a:custGeom>
            <a:avLst/>
            <a:gdLst>
              <a:gd name="T0" fmla="*/ 2147483647 w 91"/>
              <a:gd name="T1" fmla="*/ 0 h 57"/>
              <a:gd name="T2" fmla="*/ 2147483647 w 91"/>
              <a:gd name="T3" fmla="*/ 2147483647 h 57"/>
              <a:gd name="T4" fmla="*/ 2147483647 w 91"/>
              <a:gd name="T5" fmla="*/ 2147483647 h 57"/>
              <a:gd name="T6" fmla="*/ 2147483647 w 91"/>
              <a:gd name="T7" fmla="*/ 2147483647 h 57"/>
              <a:gd name="T8" fmla="*/ 2147483647 w 91"/>
              <a:gd name="T9" fmla="*/ 2147483647 h 57"/>
              <a:gd name="T10" fmla="*/ 0 w 91"/>
              <a:gd name="T11" fmla="*/ 2147483647 h 57"/>
              <a:gd name="T12" fmla="*/ 0 w 91"/>
              <a:gd name="T13" fmla="*/ 2147483647 h 57"/>
              <a:gd name="T14" fmla="*/ 2147483647 w 91"/>
              <a:gd name="T15" fmla="*/ 2147483647 h 57"/>
              <a:gd name="T16" fmla="*/ 2147483647 w 91"/>
              <a:gd name="T17" fmla="*/ 2147483647 h 57"/>
              <a:gd name="T18" fmla="*/ 2147483647 w 91"/>
              <a:gd name="T19" fmla="*/ 2147483647 h 57"/>
              <a:gd name="T20" fmla="*/ 2147483647 w 91"/>
              <a:gd name="T21" fmla="*/ 2147483647 h 57"/>
              <a:gd name="T22" fmla="*/ 2147483647 w 91"/>
              <a:gd name="T23" fmla="*/ 2147483647 h 57"/>
              <a:gd name="T24" fmla="*/ 2147483647 w 91"/>
              <a:gd name="T25" fmla="*/ 2147483647 h 57"/>
              <a:gd name="T26" fmla="*/ 2147483647 w 91"/>
              <a:gd name="T27" fmla="*/ 2147483647 h 57"/>
              <a:gd name="T28" fmla="*/ 2147483647 w 91"/>
              <a:gd name="T29" fmla="*/ 0 h 57"/>
              <a:gd name="T30" fmla="*/ 2147483647 w 91"/>
              <a:gd name="T31" fmla="*/ 0 h 57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91"/>
              <a:gd name="T49" fmla="*/ 0 h 57"/>
              <a:gd name="T50" fmla="*/ 91 w 91"/>
              <a:gd name="T51" fmla="*/ 57 h 57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91" h="57">
                <a:moveTo>
                  <a:pt x="40" y="0"/>
                </a:moveTo>
                <a:lnTo>
                  <a:pt x="40" y="23"/>
                </a:lnTo>
                <a:lnTo>
                  <a:pt x="25" y="23"/>
                </a:lnTo>
                <a:lnTo>
                  <a:pt x="16" y="7"/>
                </a:lnTo>
                <a:lnTo>
                  <a:pt x="9" y="15"/>
                </a:lnTo>
                <a:lnTo>
                  <a:pt x="0" y="32"/>
                </a:lnTo>
                <a:lnTo>
                  <a:pt x="0" y="47"/>
                </a:lnTo>
                <a:lnTo>
                  <a:pt x="9" y="40"/>
                </a:lnTo>
                <a:lnTo>
                  <a:pt x="50" y="40"/>
                </a:lnTo>
                <a:lnTo>
                  <a:pt x="74" y="56"/>
                </a:lnTo>
                <a:lnTo>
                  <a:pt x="90" y="40"/>
                </a:lnTo>
                <a:lnTo>
                  <a:pt x="82" y="23"/>
                </a:lnTo>
                <a:lnTo>
                  <a:pt x="82" y="7"/>
                </a:lnTo>
                <a:lnTo>
                  <a:pt x="65" y="7"/>
                </a:lnTo>
                <a:lnTo>
                  <a:pt x="50" y="0"/>
                </a:lnTo>
                <a:lnTo>
                  <a:pt x="40" y="0"/>
                </a:lnTo>
              </a:path>
            </a:pathLst>
          </a:custGeom>
          <a:solidFill>
            <a:srgbClr val="FF00FF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84" name="Freeform 106"/>
          <p:cNvSpPr>
            <a:spLocks/>
          </p:cNvSpPr>
          <p:nvPr>
            <p:custDataLst>
              <p:tags r:id="rId95"/>
            </p:custDataLst>
          </p:nvPr>
        </p:nvSpPr>
        <p:spPr bwMode="gray">
          <a:xfrm>
            <a:off x="4711700" y="3763963"/>
            <a:ext cx="119063" cy="92075"/>
          </a:xfrm>
          <a:custGeom>
            <a:avLst/>
            <a:gdLst>
              <a:gd name="T0" fmla="*/ 0 w 75"/>
              <a:gd name="T1" fmla="*/ 2147483647 h 58"/>
              <a:gd name="T2" fmla="*/ 0 w 75"/>
              <a:gd name="T3" fmla="*/ 2147483647 h 58"/>
              <a:gd name="T4" fmla="*/ 0 w 75"/>
              <a:gd name="T5" fmla="*/ 2147483647 h 58"/>
              <a:gd name="T6" fmla="*/ 2147483647 w 75"/>
              <a:gd name="T7" fmla="*/ 0 h 58"/>
              <a:gd name="T8" fmla="*/ 2147483647 w 75"/>
              <a:gd name="T9" fmla="*/ 0 h 58"/>
              <a:gd name="T10" fmla="*/ 2147483647 w 75"/>
              <a:gd name="T11" fmla="*/ 2147483647 h 58"/>
              <a:gd name="T12" fmla="*/ 2147483647 w 75"/>
              <a:gd name="T13" fmla="*/ 2147483647 h 58"/>
              <a:gd name="T14" fmla="*/ 2147483647 w 75"/>
              <a:gd name="T15" fmla="*/ 2147483647 h 58"/>
              <a:gd name="T16" fmla="*/ 2147483647 w 75"/>
              <a:gd name="T17" fmla="*/ 2147483647 h 58"/>
              <a:gd name="T18" fmla="*/ 2147483647 w 75"/>
              <a:gd name="T19" fmla="*/ 2147483647 h 58"/>
              <a:gd name="T20" fmla="*/ 2147483647 w 75"/>
              <a:gd name="T21" fmla="*/ 2147483647 h 58"/>
              <a:gd name="T22" fmla="*/ 2147483647 w 75"/>
              <a:gd name="T23" fmla="*/ 2147483647 h 58"/>
              <a:gd name="T24" fmla="*/ 2147483647 w 75"/>
              <a:gd name="T25" fmla="*/ 2147483647 h 58"/>
              <a:gd name="T26" fmla="*/ 2147483647 w 75"/>
              <a:gd name="T27" fmla="*/ 2147483647 h 58"/>
              <a:gd name="T28" fmla="*/ 0 w 75"/>
              <a:gd name="T29" fmla="*/ 2147483647 h 58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75"/>
              <a:gd name="T46" fmla="*/ 0 h 58"/>
              <a:gd name="T47" fmla="*/ 75 w 75"/>
              <a:gd name="T48" fmla="*/ 58 h 58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75" h="58">
                <a:moveTo>
                  <a:pt x="0" y="25"/>
                </a:moveTo>
                <a:lnTo>
                  <a:pt x="0" y="16"/>
                </a:lnTo>
                <a:lnTo>
                  <a:pt x="0" y="7"/>
                </a:lnTo>
                <a:lnTo>
                  <a:pt x="9" y="0"/>
                </a:lnTo>
                <a:lnTo>
                  <a:pt x="50" y="0"/>
                </a:lnTo>
                <a:lnTo>
                  <a:pt x="74" y="16"/>
                </a:lnTo>
                <a:lnTo>
                  <a:pt x="74" y="25"/>
                </a:lnTo>
                <a:lnTo>
                  <a:pt x="57" y="32"/>
                </a:lnTo>
                <a:lnTo>
                  <a:pt x="57" y="47"/>
                </a:lnTo>
                <a:lnTo>
                  <a:pt x="50" y="47"/>
                </a:lnTo>
                <a:lnTo>
                  <a:pt x="32" y="57"/>
                </a:lnTo>
                <a:lnTo>
                  <a:pt x="25" y="57"/>
                </a:lnTo>
                <a:lnTo>
                  <a:pt x="16" y="47"/>
                </a:lnTo>
                <a:lnTo>
                  <a:pt x="16" y="25"/>
                </a:lnTo>
                <a:lnTo>
                  <a:pt x="0" y="25"/>
                </a:lnTo>
              </a:path>
            </a:pathLst>
          </a:custGeom>
          <a:solidFill>
            <a:srgbClr val="FF00FF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85" name="Freeform 107"/>
          <p:cNvSpPr>
            <a:spLocks/>
          </p:cNvSpPr>
          <p:nvPr>
            <p:custDataLst>
              <p:tags r:id="rId96"/>
            </p:custDataLst>
          </p:nvPr>
        </p:nvSpPr>
        <p:spPr bwMode="gray">
          <a:xfrm>
            <a:off x="4762500" y="3648075"/>
            <a:ext cx="93663" cy="65088"/>
          </a:xfrm>
          <a:custGeom>
            <a:avLst/>
            <a:gdLst>
              <a:gd name="T0" fmla="*/ 2147483647 w 59"/>
              <a:gd name="T1" fmla="*/ 2147483647 h 42"/>
              <a:gd name="T2" fmla="*/ 0 w 59"/>
              <a:gd name="T3" fmla="*/ 2147483647 h 42"/>
              <a:gd name="T4" fmla="*/ 0 w 59"/>
              <a:gd name="T5" fmla="*/ 2147483647 h 42"/>
              <a:gd name="T6" fmla="*/ 2147483647 w 59"/>
              <a:gd name="T7" fmla="*/ 0 h 42"/>
              <a:gd name="T8" fmla="*/ 2147483647 w 59"/>
              <a:gd name="T9" fmla="*/ 0 h 42"/>
              <a:gd name="T10" fmla="*/ 2147483647 w 59"/>
              <a:gd name="T11" fmla="*/ 2147483647 h 42"/>
              <a:gd name="T12" fmla="*/ 2147483647 w 59"/>
              <a:gd name="T13" fmla="*/ 2147483647 h 42"/>
              <a:gd name="T14" fmla="*/ 2147483647 w 59"/>
              <a:gd name="T15" fmla="*/ 2147483647 h 42"/>
              <a:gd name="T16" fmla="*/ 2147483647 w 59"/>
              <a:gd name="T17" fmla="*/ 2147483647 h 42"/>
              <a:gd name="T18" fmla="*/ 2147483647 w 59"/>
              <a:gd name="T19" fmla="*/ 2147483647 h 42"/>
              <a:gd name="T20" fmla="*/ 2147483647 w 59"/>
              <a:gd name="T21" fmla="*/ 2147483647 h 42"/>
              <a:gd name="T22" fmla="*/ 2147483647 w 59"/>
              <a:gd name="T23" fmla="*/ 2147483647 h 4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59"/>
              <a:gd name="T37" fmla="*/ 0 h 42"/>
              <a:gd name="T38" fmla="*/ 59 w 59"/>
              <a:gd name="T39" fmla="*/ 42 h 42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59" h="42">
                <a:moveTo>
                  <a:pt x="8" y="34"/>
                </a:moveTo>
                <a:lnTo>
                  <a:pt x="0" y="24"/>
                </a:lnTo>
                <a:lnTo>
                  <a:pt x="0" y="9"/>
                </a:lnTo>
                <a:lnTo>
                  <a:pt x="8" y="0"/>
                </a:lnTo>
                <a:lnTo>
                  <a:pt x="58" y="0"/>
                </a:lnTo>
                <a:lnTo>
                  <a:pt x="50" y="9"/>
                </a:lnTo>
                <a:lnTo>
                  <a:pt x="42" y="9"/>
                </a:lnTo>
                <a:lnTo>
                  <a:pt x="50" y="34"/>
                </a:lnTo>
                <a:lnTo>
                  <a:pt x="50" y="41"/>
                </a:lnTo>
                <a:lnTo>
                  <a:pt x="33" y="41"/>
                </a:lnTo>
                <a:lnTo>
                  <a:pt x="18" y="34"/>
                </a:lnTo>
                <a:lnTo>
                  <a:pt x="8" y="34"/>
                </a:lnTo>
              </a:path>
            </a:pathLst>
          </a:custGeom>
          <a:solidFill>
            <a:srgbClr val="FF00FF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86" name="Freeform 108"/>
          <p:cNvSpPr>
            <a:spLocks/>
          </p:cNvSpPr>
          <p:nvPr>
            <p:custDataLst>
              <p:tags r:id="rId97"/>
            </p:custDataLst>
          </p:nvPr>
        </p:nvSpPr>
        <p:spPr bwMode="gray">
          <a:xfrm>
            <a:off x="4675188" y="3803650"/>
            <a:ext cx="65087" cy="36513"/>
          </a:xfrm>
          <a:custGeom>
            <a:avLst/>
            <a:gdLst>
              <a:gd name="T0" fmla="*/ 2147483647 w 41"/>
              <a:gd name="T1" fmla="*/ 0 h 23"/>
              <a:gd name="T2" fmla="*/ 2147483647 w 41"/>
              <a:gd name="T3" fmla="*/ 2147483647 h 23"/>
              <a:gd name="T4" fmla="*/ 2147483647 w 41"/>
              <a:gd name="T5" fmla="*/ 2147483647 h 23"/>
              <a:gd name="T6" fmla="*/ 0 w 41"/>
              <a:gd name="T7" fmla="*/ 2147483647 h 23"/>
              <a:gd name="T8" fmla="*/ 2147483647 w 41"/>
              <a:gd name="T9" fmla="*/ 2147483647 h 23"/>
              <a:gd name="T10" fmla="*/ 2147483647 w 41"/>
              <a:gd name="T11" fmla="*/ 0 h 23"/>
              <a:gd name="T12" fmla="*/ 2147483647 w 41"/>
              <a:gd name="T13" fmla="*/ 0 h 2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1"/>
              <a:gd name="T22" fmla="*/ 0 h 23"/>
              <a:gd name="T23" fmla="*/ 41 w 41"/>
              <a:gd name="T24" fmla="*/ 23 h 2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1" h="23">
                <a:moveTo>
                  <a:pt x="40" y="0"/>
                </a:moveTo>
                <a:lnTo>
                  <a:pt x="40" y="22"/>
                </a:lnTo>
                <a:lnTo>
                  <a:pt x="24" y="22"/>
                </a:lnTo>
                <a:lnTo>
                  <a:pt x="0" y="16"/>
                </a:lnTo>
                <a:lnTo>
                  <a:pt x="15" y="7"/>
                </a:lnTo>
                <a:lnTo>
                  <a:pt x="24" y="0"/>
                </a:lnTo>
                <a:lnTo>
                  <a:pt x="40" y="0"/>
                </a:lnTo>
              </a:path>
            </a:pathLst>
          </a:custGeom>
          <a:solidFill>
            <a:srgbClr val="FF00FF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87" name="Freeform 113"/>
          <p:cNvSpPr>
            <a:spLocks/>
          </p:cNvSpPr>
          <p:nvPr>
            <p:custDataLst>
              <p:tags r:id="rId98"/>
            </p:custDataLst>
          </p:nvPr>
        </p:nvSpPr>
        <p:spPr bwMode="gray">
          <a:xfrm>
            <a:off x="4508500" y="3203575"/>
            <a:ext cx="255588" cy="601663"/>
          </a:xfrm>
          <a:custGeom>
            <a:avLst/>
            <a:gdLst>
              <a:gd name="T0" fmla="*/ 0 w 163"/>
              <a:gd name="T1" fmla="*/ 2147483647 h 383"/>
              <a:gd name="T2" fmla="*/ 2147483647 w 163"/>
              <a:gd name="T3" fmla="*/ 2147483647 h 383"/>
              <a:gd name="T4" fmla="*/ 2147483647 w 163"/>
              <a:gd name="T5" fmla="*/ 2147483647 h 383"/>
              <a:gd name="T6" fmla="*/ 2147483647 w 163"/>
              <a:gd name="T7" fmla="*/ 2147483647 h 383"/>
              <a:gd name="T8" fmla="*/ 2147483647 w 163"/>
              <a:gd name="T9" fmla="*/ 2147483647 h 383"/>
              <a:gd name="T10" fmla="*/ 2147483647 w 163"/>
              <a:gd name="T11" fmla="*/ 2147483647 h 383"/>
              <a:gd name="T12" fmla="*/ 2147483647 w 163"/>
              <a:gd name="T13" fmla="*/ 2147483647 h 383"/>
              <a:gd name="T14" fmla="*/ 2147483647 w 163"/>
              <a:gd name="T15" fmla="*/ 2147483647 h 383"/>
              <a:gd name="T16" fmla="*/ 2147483647 w 163"/>
              <a:gd name="T17" fmla="*/ 2147483647 h 383"/>
              <a:gd name="T18" fmla="*/ 2147483647 w 163"/>
              <a:gd name="T19" fmla="*/ 2147483647 h 383"/>
              <a:gd name="T20" fmla="*/ 2147483647 w 163"/>
              <a:gd name="T21" fmla="*/ 2147483647 h 383"/>
              <a:gd name="T22" fmla="*/ 2147483647 w 163"/>
              <a:gd name="T23" fmla="*/ 2147483647 h 383"/>
              <a:gd name="T24" fmla="*/ 2147483647 w 163"/>
              <a:gd name="T25" fmla="*/ 2147483647 h 383"/>
              <a:gd name="T26" fmla="*/ 2147483647 w 163"/>
              <a:gd name="T27" fmla="*/ 2147483647 h 383"/>
              <a:gd name="T28" fmla="*/ 2147483647 w 163"/>
              <a:gd name="T29" fmla="*/ 2147483647 h 383"/>
              <a:gd name="T30" fmla="*/ 2147483647 w 163"/>
              <a:gd name="T31" fmla="*/ 2147483647 h 383"/>
              <a:gd name="T32" fmla="*/ 2147483647 w 163"/>
              <a:gd name="T33" fmla="*/ 2147483647 h 383"/>
              <a:gd name="T34" fmla="*/ 2147483647 w 163"/>
              <a:gd name="T35" fmla="*/ 2147483647 h 383"/>
              <a:gd name="T36" fmla="*/ 2147483647 w 163"/>
              <a:gd name="T37" fmla="*/ 2147483647 h 383"/>
              <a:gd name="T38" fmla="*/ 2147483647 w 163"/>
              <a:gd name="T39" fmla="*/ 2147483647 h 383"/>
              <a:gd name="T40" fmla="*/ 2147483647 w 163"/>
              <a:gd name="T41" fmla="*/ 2147483647 h 383"/>
              <a:gd name="T42" fmla="*/ 2147483647 w 163"/>
              <a:gd name="T43" fmla="*/ 0 h 383"/>
              <a:gd name="T44" fmla="*/ 2147483647 w 163"/>
              <a:gd name="T45" fmla="*/ 0 h 383"/>
              <a:gd name="T46" fmla="*/ 2147483647 w 163"/>
              <a:gd name="T47" fmla="*/ 2147483647 h 383"/>
              <a:gd name="T48" fmla="*/ 2147483647 w 163"/>
              <a:gd name="T49" fmla="*/ 2147483647 h 383"/>
              <a:gd name="T50" fmla="*/ 2147483647 w 163"/>
              <a:gd name="T51" fmla="*/ 2147483647 h 383"/>
              <a:gd name="T52" fmla="*/ 2147483647 w 163"/>
              <a:gd name="T53" fmla="*/ 2147483647 h 383"/>
              <a:gd name="T54" fmla="*/ 2147483647 w 163"/>
              <a:gd name="T55" fmla="*/ 2147483647 h 383"/>
              <a:gd name="T56" fmla="*/ 2147483647 w 163"/>
              <a:gd name="T57" fmla="*/ 2147483647 h 383"/>
              <a:gd name="T58" fmla="*/ 2147483647 w 163"/>
              <a:gd name="T59" fmla="*/ 2147483647 h 383"/>
              <a:gd name="T60" fmla="*/ 2147483647 w 163"/>
              <a:gd name="T61" fmla="*/ 2147483647 h 383"/>
              <a:gd name="T62" fmla="*/ 2147483647 w 163"/>
              <a:gd name="T63" fmla="*/ 2147483647 h 383"/>
              <a:gd name="T64" fmla="*/ 2147483647 w 163"/>
              <a:gd name="T65" fmla="*/ 2147483647 h 383"/>
              <a:gd name="T66" fmla="*/ 2147483647 w 163"/>
              <a:gd name="T67" fmla="*/ 2147483647 h 383"/>
              <a:gd name="T68" fmla="*/ 2147483647 w 163"/>
              <a:gd name="T69" fmla="*/ 2147483647 h 383"/>
              <a:gd name="T70" fmla="*/ 2147483647 w 163"/>
              <a:gd name="T71" fmla="*/ 2147483647 h 383"/>
              <a:gd name="T72" fmla="*/ 2147483647 w 163"/>
              <a:gd name="T73" fmla="*/ 2147483647 h 383"/>
              <a:gd name="T74" fmla="*/ 2147483647 w 163"/>
              <a:gd name="T75" fmla="*/ 2147483647 h 383"/>
              <a:gd name="T76" fmla="*/ 2147483647 w 163"/>
              <a:gd name="T77" fmla="*/ 2147483647 h 383"/>
              <a:gd name="T78" fmla="*/ 2147483647 w 163"/>
              <a:gd name="T79" fmla="*/ 2147483647 h 383"/>
              <a:gd name="T80" fmla="*/ 2147483647 w 163"/>
              <a:gd name="T81" fmla="*/ 2147483647 h 383"/>
              <a:gd name="T82" fmla="*/ 2147483647 w 163"/>
              <a:gd name="T83" fmla="*/ 2147483647 h 383"/>
              <a:gd name="T84" fmla="*/ 2147483647 w 163"/>
              <a:gd name="T85" fmla="*/ 2147483647 h 383"/>
              <a:gd name="T86" fmla="*/ 2147483647 w 163"/>
              <a:gd name="T87" fmla="*/ 2147483647 h 383"/>
              <a:gd name="T88" fmla="*/ 2147483647 w 163"/>
              <a:gd name="T89" fmla="*/ 2147483647 h 383"/>
              <a:gd name="T90" fmla="*/ 2147483647 w 163"/>
              <a:gd name="T91" fmla="*/ 2147483647 h 383"/>
              <a:gd name="T92" fmla="*/ 0 w 163"/>
              <a:gd name="T93" fmla="*/ 2147483647 h 383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63"/>
              <a:gd name="T142" fmla="*/ 0 h 383"/>
              <a:gd name="T143" fmla="*/ 163 w 163"/>
              <a:gd name="T144" fmla="*/ 383 h 383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63" h="383">
                <a:moveTo>
                  <a:pt x="0" y="299"/>
                </a:moveTo>
                <a:lnTo>
                  <a:pt x="9" y="299"/>
                </a:lnTo>
                <a:lnTo>
                  <a:pt x="9" y="276"/>
                </a:lnTo>
                <a:lnTo>
                  <a:pt x="18" y="267"/>
                </a:lnTo>
                <a:lnTo>
                  <a:pt x="18" y="243"/>
                </a:lnTo>
                <a:lnTo>
                  <a:pt x="18" y="236"/>
                </a:lnTo>
                <a:lnTo>
                  <a:pt x="9" y="202"/>
                </a:lnTo>
                <a:lnTo>
                  <a:pt x="18" y="170"/>
                </a:lnTo>
                <a:lnTo>
                  <a:pt x="25" y="162"/>
                </a:lnTo>
                <a:lnTo>
                  <a:pt x="41" y="155"/>
                </a:lnTo>
                <a:lnTo>
                  <a:pt x="33" y="137"/>
                </a:lnTo>
                <a:lnTo>
                  <a:pt x="41" y="122"/>
                </a:lnTo>
                <a:lnTo>
                  <a:pt x="50" y="97"/>
                </a:lnTo>
                <a:lnTo>
                  <a:pt x="65" y="73"/>
                </a:lnTo>
                <a:lnTo>
                  <a:pt x="65" y="56"/>
                </a:lnTo>
                <a:lnTo>
                  <a:pt x="75" y="41"/>
                </a:lnTo>
                <a:lnTo>
                  <a:pt x="81" y="31"/>
                </a:lnTo>
                <a:lnTo>
                  <a:pt x="90" y="31"/>
                </a:lnTo>
                <a:lnTo>
                  <a:pt x="90" y="16"/>
                </a:lnTo>
                <a:lnTo>
                  <a:pt x="98" y="16"/>
                </a:lnTo>
                <a:lnTo>
                  <a:pt x="115" y="16"/>
                </a:lnTo>
                <a:lnTo>
                  <a:pt x="115" y="0"/>
                </a:lnTo>
                <a:lnTo>
                  <a:pt x="121" y="0"/>
                </a:lnTo>
                <a:lnTo>
                  <a:pt x="155" y="31"/>
                </a:lnTo>
                <a:lnTo>
                  <a:pt x="162" y="105"/>
                </a:lnTo>
                <a:lnTo>
                  <a:pt x="146" y="105"/>
                </a:lnTo>
                <a:lnTo>
                  <a:pt x="130" y="122"/>
                </a:lnTo>
                <a:lnTo>
                  <a:pt x="130" y="130"/>
                </a:lnTo>
                <a:lnTo>
                  <a:pt x="130" y="137"/>
                </a:lnTo>
                <a:lnTo>
                  <a:pt x="139" y="146"/>
                </a:lnTo>
                <a:lnTo>
                  <a:pt x="121" y="162"/>
                </a:lnTo>
                <a:lnTo>
                  <a:pt x="98" y="187"/>
                </a:lnTo>
                <a:lnTo>
                  <a:pt x="81" y="212"/>
                </a:lnTo>
                <a:lnTo>
                  <a:pt x="81" y="252"/>
                </a:lnTo>
                <a:lnTo>
                  <a:pt x="98" y="276"/>
                </a:lnTo>
                <a:lnTo>
                  <a:pt x="90" y="283"/>
                </a:lnTo>
                <a:lnTo>
                  <a:pt x="90" y="292"/>
                </a:lnTo>
                <a:lnTo>
                  <a:pt x="75" y="307"/>
                </a:lnTo>
                <a:lnTo>
                  <a:pt x="65" y="364"/>
                </a:lnTo>
                <a:lnTo>
                  <a:pt x="50" y="364"/>
                </a:lnTo>
                <a:lnTo>
                  <a:pt x="41" y="373"/>
                </a:lnTo>
                <a:lnTo>
                  <a:pt x="41" y="382"/>
                </a:lnTo>
                <a:lnTo>
                  <a:pt x="25" y="382"/>
                </a:lnTo>
                <a:lnTo>
                  <a:pt x="18" y="364"/>
                </a:lnTo>
                <a:lnTo>
                  <a:pt x="25" y="357"/>
                </a:lnTo>
                <a:lnTo>
                  <a:pt x="18" y="349"/>
                </a:lnTo>
                <a:lnTo>
                  <a:pt x="0" y="299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88" name="Freeform 114"/>
          <p:cNvSpPr>
            <a:spLocks/>
          </p:cNvSpPr>
          <p:nvPr>
            <p:custDataLst>
              <p:tags r:id="rId99"/>
            </p:custDataLst>
          </p:nvPr>
        </p:nvSpPr>
        <p:spPr bwMode="gray">
          <a:xfrm>
            <a:off x="4127500" y="3803650"/>
            <a:ext cx="53975" cy="52388"/>
          </a:xfrm>
          <a:custGeom>
            <a:avLst/>
            <a:gdLst>
              <a:gd name="T0" fmla="*/ 2147483647 w 35"/>
              <a:gd name="T1" fmla="*/ 2147483647 h 33"/>
              <a:gd name="T2" fmla="*/ 2147483647 w 35"/>
              <a:gd name="T3" fmla="*/ 2147483647 h 33"/>
              <a:gd name="T4" fmla="*/ 2147483647 w 35"/>
              <a:gd name="T5" fmla="*/ 2147483647 h 33"/>
              <a:gd name="T6" fmla="*/ 0 w 35"/>
              <a:gd name="T7" fmla="*/ 2147483647 h 33"/>
              <a:gd name="T8" fmla="*/ 2147483647 w 35"/>
              <a:gd name="T9" fmla="*/ 0 h 33"/>
              <a:gd name="T10" fmla="*/ 2147483647 w 35"/>
              <a:gd name="T11" fmla="*/ 2147483647 h 33"/>
              <a:gd name="T12" fmla="*/ 2147483647 w 35"/>
              <a:gd name="T13" fmla="*/ 2147483647 h 33"/>
              <a:gd name="T14" fmla="*/ 2147483647 w 35"/>
              <a:gd name="T15" fmla="*/ 2147483647 h 3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"/>
              <a:gd name="T25" fmla="*/ 0 h 33"/>
              <a:gd name="T26" fmla="*/ 35 w 35"/>
              <a:gd name="T27" fmla="*/ 33 h 3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" h="33">
                <a:moveTo>
                  <a:pt x="25" y="32"/>
                </a:moveTo>
                <a:lnTo>
                  <a:pt x="25" y="22"/>
                </a:lnTo>
                <a:lnTo>
                  <a:pt x="9" y="22"/>
                </a:lnTo>
                <a:lnTo>
                  <a:pt x="0" y="16"/>
                </a:lnTo>
                <a:lnTo>
                  <a:pt x="9" y="0"/>
                </a:lnTo>
                <a:lnTo>
                  <a:pt x="25" y="7"/>
                </a:lnTo>
                <a:lnTo>
                  <a:pt x="34" y="22"/>
                </a:lnTo>
                <a:lnTo>
                  <a:pt x="25" y="32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89" name="Freeform 116"/>
          <p:cNvSpPr>
            <a:spLocks/>
          </p:cNvSpPr>
          <p:nvPr>
            <p:custDataLst>
              <p:tags r:id="rId100"/>
            </p:custDataLst>
          </p:nvPr>
        </p:nvSpPr>
        <p:spPr bwMode="gray">
          <a:xfrm>
            <a:off x="4445000" y="3724275"/>
            <a:ext cx="65088" cy="92075"/>
          </a:xfrm>
          <a:custGeom>
            <a:avLst/>
            <a:gdLst>
              <a:gd name="T0" fmla="*/ 2147483647 w 42"/>
              <a:gd name="T1" fmla="*/ 2147483647 h 58"/>
              <a:gd name="T2" fmla="*/ 2147483647 w 42"/>
              <a:gd name="T3" fmla="*/ 2147483647 h 58"/>
              <a:gd name="T4" fmla="*/ 2147483647 w 42"/>
              <a:gd name="T5" fmla="*/ 2147483647 h 58"/>
              <a:gd name="T6" fmla="*/ 2147483647 w 42"/>
              <a:gd name="T7" fmla="*/ 2147483647 h 58"/>
              <a:gd name="T8" fmla="*/ 2147483647 w 42"/>
              <a:gd name="T9" fmla="*/ 2147483647 h 58"/>
              <a:gd name="T10" fmla="*/ 2147483647 w 42"/>
              <a:gd name="T11" fmla="*/ 2147483647 h 58"/>
              <a:gd name="T12" fmla="*/ 2147483647 w 42"/>
              <a:gd name="T13" fmla="*/ 2147483647 h 58"/>
              <a:gd name="T14" fmla="*/ 2147483647 w 42"/>
              <a:gd name="T15" fmla="*/ 0 h 58"/>
              <a:gd name="T16" fmla="*/ 2147483647 w 42"/>
              <a:gd name="T17" fmla="*/ 2147483647 h 58"/>
              <a:gd name="T18" fmla="*/ 0 w 42"/>
              <a:gd name="T19" fmla="*/ 2147483647 h 58"/>
              <a:gd name="T20" fmla="*/ 0 w 42"/>
              <a:gd name="T21" fmla="*/ 2147483647 h 58"/>
              <a:gd name="T22" fmla="*/ 2147483647 w 42"/>
              <a:gd name="T23" fmla="*/ 2147483647 h 58"/>
              <a:gd name="T24" fmla="*/ 2147483647 w 42"/>
              <a:gd name="T25" fmla="*/ 2147483647 h 58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42"/>
              <a:gd name="T40" fmla="*/ 0 h 58"/>
              <a:gd name="T41" fmla="*/ 42 w 42"/>
              <a:gd name="T42" fmla="*/ 58 h 58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42" h="58">
                <a:moveTo>
                  <a:pt x="9" y="57"/>
                </a:moveTo>
                <a:lnTo>
                  <a:pt x="19" y="57"/>
                </a:lnTo>
                <a:lnTo>
                  <a:pt x="25" y="57"/>
                </a:lnTo>
                <a:lnTo>
                  <a:pt x="34" y="32"/>
                </a:lnTo>
                <a:lnTo>
                  <a:pt x="41" y="32"/>
                </a:lnTo>
                <a:lnTo>
                  <a:pt x="41" y="25"/>
                </a:lnTo>
                <a:lnTo>
                  <a:pt x="34" y="25"/>
                </a:lnTo>
                <a:lnTo>
                  <a:pt x="34" y="0"/>
                </a:lnTo>
                <a:lnTo>
                  <a:pt x="9" y="8"/>
                </a:lnTo>
                <a:lnTo>
                  <a:pt x="0" y="25"/>
                </a:lnTo>
                <a:lnTo>
                  <a:pt x="0" y="41"/>
                </a:lnTo>
                <a:lnTo>
                  <a:pt x="9" y="50"/>
                </a:lnTo>
                <a:lnTo>
                  <a:pt x="9" y="57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90" name="Freeform 117"/>
          <p:cNvSpPr>
            <a:spLocks/>
          </p:cNvSpPr>
          <p:nvPr>
            <p:custDataLst>
              <p:tags r:id="rId101"/>
            </p:custDataLst>
          </p:nvPr>
        </p:nvSpPr>
        <p:spPr bwMode="gray">
          <a:xfrm>
            <a:off x="4356100" y="3867150"/>
            <a:ext cx="80963" cy="88900"/>
          </a:xfrm>
          <a:custGeom>
            <a:avLst/>
            <a:gdLst>
              <a:gd name="T0" fmla="*/ 2147483647 w 51"/>
              <a:gd name="T1" fmla="*/ 2147483647 h 57"/>
              <a:gd name="T2" fmla="*/ 2147483647 w 51"/>
              <a:gd name="T3" fmla="*/ 2147483647 h 57"/>
              <a:gd name="T4" fmla="*/ 2147483647 w 51"/>
              <a:gd name="T5" fmla="*/ 2147483647 h 57"/>
              <a:gd name="T6" fmla="*/ 2147483647 w 51"/>
              <a:gd name="T7" fmla="*/ 0 h 57"/>
              <a:gd name="T8" fmla="*/ 2147483647 w 51"/>
              <a:gd name="T9" fmla="*/ 2147483647 h 57"/>
              <a:gd name="T10" fmla="*/ 2147483647 w 51"/>
              <a:gd name="T11" fmla="*/ 2147483647 h 57"/>
              <a:gd name="T12" fmla="*/ 2147483647 w 51"/>
              <a:gd name="T13" fmla="*/ 2147483647 h 57"/>
              <a:gd name="T14" fmla="*/ 2147483647 w 51"/>
              <a:gd name="T15" fmla="*/ 2147483647 h 57"/>
              <a:gd name="T16" fmla="*/ 2147483647 w 51"/>
              <a:gd name="T17" fmla="*/ 2147483647 h 57"/>
              <a:gd name="T18" fmla="*/ 0 w 51"/>
              <a:gd name="T19" fmla="*/ 2147483647 h 57"/>
              <a:gd name="T20" fmla="*/ 2147483647 w 51"/>
              <a:gd name="T21" fmla="*/ 2147483647 h 57"/>
              <a:gd name="T22" fmla="*/ 2147483647 w 51"/>
              <a:gd name="T23" fmla="*/ 2147483647 h 5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51"/>
              <a:gd name="T37" fmla="*/ 0 h 57"/>
              <a:gd name="T38" fmla="*/ 51 w 51"/>
              <a:gd name="T39" fmla="*/ 57 h 57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51" h="57">
                <a:moveTo>
                  <a:pt x="33" y="56"/>
                </a:moveTo>
                <a:lnTo>
                  <a:pt x="33" y="32"/>
                </a:lnTo>
                <a:lnTo>
                  <a:pt x="41" y="23"/>
                </a:lnTo>
                <a:lnTo>
                  <a:pt x="50" y="0"/>
                </a:lnTo>
                <a:lnTo>
                  <a:pt x="25" y="7"/>
                </a:lnTo>
                <a:lnTo>
                  <a:pt x="33" y="23"/>
                </a:lnTo>
                <a:lnTo>
                  <a:pt x="25" y="23"/>
                </a:lnTo>
                <a:lnTo>
                  <a:pt x="25" y="16"/>
                </a:lnTo>
                <a:lnTo>
                  <a:pt x="16" y="16"/>
                </a:lnTo>
                <a:lnTo>
                  <a:pt x="0" y="47"/>
                </a:lnTo>
                <a:lnTo>
                  <a:pt x="25" y="47"/>
                </a:lnTo>
                <a:lnTo>
                  <a:pt x="33" y="56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91" name="Freeform 121"/>
          <p:cNvSpPr>
            <a:spLocks/>
          </p:cNvSpPr>
          <p:nvPr>
            <p:custDataLst>
              <p:tags r:id="rId102"/>
            </p:custDataLst>
          </p:nvPr>
        </p:nvSpPr>
        <p:spPr bwMode="gray">
          <a:xfrm>
            <a:off x="4573588" y="3816350"/>
            <a:ext cx="190500" cy="192088"/>
          </a:xfrm>
          <a:custGeom>
            <a:avLst/>
            <a:gdLst>
              <a:gd name="T0" fmla="*/ 2147483647 w 122"/>
              <a:gd name="T1" fmla="*/ 2147483647 h 123"/>
              <a:gd name="T2" fmla="*/ 2147483647 w 122"/>
              <a:gd name="T3" fmla="*/ 2147483647 h 123"/>
              <a:gd name="T4" fmla="*/ 2147483647 w 122"/>
              <a:gd name="T5" fmla="*/ 2147483647 h 123"/>
              <a:gd name="T6" fmla="*/ 2147483647 w 122"/>
              <a:gd name="T7" fmla="*/ 2147483647 h 123"/>
              <a:gd name="T8" fmla="*/ 2147483647 w 122"/>
              <a:gd name="T9" fmla="*/ 2147483647 h 123"/>
              <a:gd name="T10" fmla="*/ 2147483647 w 122"/>
              <a:gd name="T11" fmla="*/ 2147483647 h 123"/>
              <a:gd name="T12" fmla="*/ 2147483647 w 122"/>
              <a:gd name="T13" fmla="*/ 2147483647 h 123"/>
              <a:gd name="T14" fmla="*/ 2147483647 w 122"/>
              <a:gd name="T15" fmla="*/ 2147483647 h 123"/>
              <a:gd name="T16" fmla="*/ 2147483647 w 122"/>
              <a:gd name="T17" fmla="*/ 2147483647 h 123"/>
              <a:gd name="T18" fmla="*/ 2147483647 w 122"/>
              <a:gd name="T19" fmla="*/ 2147483647 h 123"/>
              <a:gd name="T20" fmla="*/ 2147483647 w 122"/>
              <a:gd name="T21" fmla="*/ 2147483647 h 123"/>
              <a:gd name="T22" fmla="*/ 2147483647 w 122"/>
              <a:gd name="T23" fmla="*/ 0 h 123"/>
              <a:gd name="T24" fmla="*/ 0 w 122"/>
              <a:gd name="T25" fmla="*/ 2147483647 h 123"/>
              <a:gd name="T26" fmla="*/ 2147483647 w 122"/>
              <a:gd name="T27" fmla="*/ 2147483647 h 123"/>
              <a:gd name="T28" fmla="*/ 2147483647 w 122"/>
              <a:gd name="T29" fmla="*/ 2147483647 h 123"/>
              <a:gd name="T30" fmla="*/ 2147483647 w 122"/>
              <a:gd name="T31" fmla="*/ 2147483647 h 123"/>
              <a:gd name="T32" fmla="*/ 2147483647 w 122"/>
              <a:gd name="T33" fmla="*/ 2147483647 h 123"/>
              <a:gd name="T34" fmla="*/ 2147483647 w 122"/>
              <a:gd name="T35" fmla="*/ 2147483647 h 123"/>
              <a:gd name="T36" fmla="*/ 2147483647 w 122"/>
              <a:gd name="T37" fmla="*/ 2147483647 h 123"/>
              <a:gd name="T38" fmla="*/ 2147483647 w 122"/>
              <a:gd name="T39" fmla="*/ 2147483647 h 123"/>
              <a:gd name="T40" fmla="*/ 2147483647 w 122"/>
              <a:gd name="T41" fmla="*/ 2147483647 h 123"/>
              <a:gd name="T42" fmla="*/ 2147483647 w 122"/>
              <a:gd name="T43" fmla="*/ 2147483647 h 123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122"/>
              <a:gd name="T67" fmla="*/ 0 h 123"/>
              <a:gd name="T68" fmla="*/ 122 w 122"/>
              <a:gd name="T69" fmla="*/ 123 h 123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122" h="123">
                <a:moveTo>
                  <a:pt x="105" y="122"/>
                </a:moveTo>
                <a:lnTo>
                  <a:pt x="114" y="105"/>
                </a:lnTo>
                <a:lnTo>
                  <a:pt x="121" y="97"/>
                </a:lnTo>
                <a:lnTo>
                  <a:pt x="114" y="56"/>
                </a:lnTo>
                <a:lnTo>
                  <a:pt x="121" y="40"/>
                </a:lnTo>
                <a:lnTo>
                  <a:pt x="114" y="25"/>
                </a:lnTo>
                <a:lnTo>
                  <a:pt x="105" y="15"/>
                </a:lnTo>
                <a:lnTo>
                  <a:pt x="89" y="15"/>
                </a:lnTo>
                <a:lnTo>
                  <a:pt x="65" y="9"/>
                </a:lnTo>
                <a:lnTo>
                  <a:pt x="65" y="15"/>
                </a:lnTo>
                <a:lnTo>
                  <a:pt x="57" y="15"/>
                </a:lnTo>
                <a:lnTo>
                  <a:pt x="49" y="0"/>
                </a:lnTo>
                <a:lnTo>
                  <a:pt x="0" y="25"/>
                </a:lnTo>
                <a:lnTo>
                  <a:pt x="9" y="80"/>
                </a:lnTo>
                <a:lnTo>
                  <a:pt x="17" y="89"/>
                </a:lnTo>
                <a:lnTo>
                  <a:pt x="34" y="97"/>
                </a:lnTo>
                <a:lnTo>
                  <a:pt x="40" y="97"/>
                </a:lnTo>
                <a:lnTo>
                  <a:pt x="57" y="114"/>
                </a:lnTo>
                <a:lnTo>
                  <a:pt x="65" y="114"/>
                </a:lnTo>
                <a:lnTo>
                  <a:pt x="74" y="122"/>
                </a:lnTo>
                <a:lnTo>
                  <a:pt x="89" y="114"/>
                </a:lnTo>
                <a:lnTo>
                  <a:pt x="105" y="122"/>
                </a:lnTo>
              </a:path>
            </a:pathLst>
          </a:custGeom>
          <a:solidFill>
            <a:srgbClr val="FF00FF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92" name="Freeform 122"/>
          <p:cNvSpPr>
            <a:spLocks/>
          </p:cNvSpPr>
          <p:nvPr>
            <p:custDataLst>
              <p:tags r:id="rId103"/>
            </p:custDataLst>
          </p:nvPr>
        </p:nvSpPr>
        <p:spPr bwMode="gray">
          <a:xfrm>
            <a:off x="4408488" y="3816350"/>
            <a:ext cx="180975" cy="241300"/>
          </a:xfrm>
          <a:custGeom>
            <a:avLst/>
            <a:gdLst>
              <a:gd name="T0" fmla="*/ 2147483647 w 115"/>
              <a:gd name="T1" fmla="*/ 2147483647 h 155"/>
              <a:gd name="T2" fmla="*/ 2147483647 w 115"/>
              <a:gd name="T3" fmla="*/ 2147483647 h 155"/>
              <a:gd name="T4" fmla="*/ 2147483647 w 115"/>
              <a:gd name="T5" fmla="*/ 2147483647 h 155"/>
              <a:gd name="T6" fmla="*/ 2147483647 w 115"/>
              <a:gd name="T7" fmla="*/ 2147483647 h 155"/>
              <a:gd name="T8" fmla="*/ 2147483647 w 115"/>
              <a:gd name="T9" fmla="*/ 2147483647 h 155"/>
              <a:gd name="T10" fmla="*/ 2147483647 w 115"/>
              <a:gd name="T11" fmla="*/ 2147483647 h 155"/>
              <a:gd name="T12" fmla="*/ 2147483647 w 115"/>
              <a:gd name="T13" fmla="*/ 2147483647 h 155"/>
              <a:gd name="T14" fmla="*/ 2147483647 w 115"/>
              <a:gd name="T15" fmla="*/ 2147483647 h 155"/>
              <a:gd name="T16" fmla="*/ 2147483647 w 115"/>
              <a:gd name="T17" fmla="*/ 2147483647 h 155"/>
              <a:gd name="T18" fmla="*/ 2147483647 w 115"/>
              <a:gd name="T19" fmla="*/ 2147483647 h 155"/>
              <a:gd name="T20" fmla="*/ 2147483647 w 115"/>
              <a:gd name="T21" fmla="*/ 2147483647 h 155"/>
              <a:gd name="T22" fmla="*/ 2147483647 w 115"/>
              <a:gd name="T23" fmla="*/ 2147483647 h 155"/>
              <a:gd name="T24" fmla="*/ 2147483647 w 115"/>
              <a:gd name="T25" fmla="*/ 2147483647 h 155"/>
              <a:gd name="T26" fmla="*/ 2147483647 w 115"/>
              <a:gd name="T27" fmla="*/ 2147483647 h 155"/>
              <a:gd name="T28" fmla="*/ 2147483647 w 115"/>
              <a:gd name="T29" fmla="*/ 2147483647 h 155"/>
              <a:gd name="T30" fmla="*/ 2147483647 w 115"/>
              <a:gd name="T31" fmla="*/ 2147483647 h 155"/>
              <a:gd name="T32" fmla="*/ 2147483647 w 115"/>
              <a:gd name="T33" fmla="*/ 2147483647 h 155"/>
              <a:gd name="T34" fmla="*/ 0 w 115"/>
              <a:gd name="T35" fmla="*/ 2147483647 h 155"/>
              <a:gd name="T36" fmla="*/ 0 w 115"/>
              <a:gd name="T37" fmla="*/ 2147483647 h 155"/>
              <a:gd name="T38" fmla="*/ 0 w 115"/>
              <a:gd name="T39" fmla="*/ 2147483647 h 155"/>
              <a:gd name="T40" fmla="*/ 0 w 115"/>
              <a:gd name="T41" fmla="*/ 2147483647 h 155"/>
              <a:gd name="T42" fmla="*/ 2147483647 w 115"/>
              <a:gd name="T43" fmla="*/ 2147483647 h 155"/>
              <a:gd name="T44" fmla="*/ 2147483647 w 115"/>
              <a:gd name="T45" fmla="*/ 2147483647 h 155"/>
              <a:gd name="T46" fmla="*/ 2147483647 w 115"/>
              <a:gd name="T47" fmla="*/ 2147483647 h 155"/>
              <a:gd name="T48" fmla="*/ 2147483647 w 115"/>
              <a:gd name="T49" fmla="*/ 2147483647 h 155"/>
              <a:gd name="T50" fmla="*/ 2147483647 w 115"/>
              <a:gd name="T51" fmla="*/ 2147483647 h 155"/>
              <a:gd name="T52" fmla="*/ 2147483647 w 115"/>
              <a:gd name="T53" fmla="*/ 2147483647 h 155"/>
              <a:gd name="T54" fmla="*/ 2147483647 w 115"/>
              <a:gd name="T55" fmla="*/ 0 h 155"/>
              <a:gd name="T56" fmla="*/ 2147483647 w 115"/>
              <a:gd name="T57" fmla="*/ 0 h 155"/>
              <a:gd name="T58" fmla="*/ 2147483647 w 115"/>
              <a:gd name="T59" fmla="*/ 0 h 155"/>
              <a:gd name="T60" fmla="*/ 2147483647 w 115"/>
              <a:gd name="T61" fmla="*/ 2147483647 h 155"/>
              <a:gd name="T62" fmla="*/ 2147483647 w 115"/>
              <a:gd name="T63" fmla="*/ 2147483647 h 155"/>
              <a:gd name="T64" fmla="*/ 2147483647 w 115"/>
              <a:gd name="T65" fmla="*/ 2147483647 h 155"/>
              <a:gd name="T66" fmla="*/ 2147483647 w 115"/>
              <a:gd name="T67" fmla="*/ 2147483647 h 155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15"/>
              <a:gd name="T103" fmla="*/ 0 h 155"/>
              <a:gd name="T104" fmla="*/ 115 w 115"/>
              <a:gd name="T105" fmla="*/ 155 h 155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15" h="155">
                <a:moveTo>
                  <a:pt x="64" y="25"/>
                </a:moveTo>
                <a:lnTo>
                  <a:pt x="97" y="9"/>
                </a:lnTo>
                <a:lnTo>
                  <a:pt x="97" y="15"/>
                </a:lnTo>
                <a:lnTo>
                  <a:pt x="89" y="15"/>
                </a:lnTo>
                <a:lnTo>
                  <a:pt x="105" y="25"/>
                </a:lnTo>
                <a:lnTo>
                  <a:pt x="114" y="80"/>
                </a:lnTo>
                <a:lnTo>
                  <a:pt x="105" y="80"/>
                </a:lnTo>
                <a:lnTo>
                  <a:pt x="89" y="89"/>
                </a:lnTo>
                <a:lnTo>
                  <a:pt x="73" y="97"/>
                </a:lnTo>
                <a:lnTo>
                  <a:pt x="82" y="114"/>
                </a:lnTo>
                <a:lnTo>
                  <a:pt x="97" y="130"/>
                </a:lnTo>
                <a:lnTo>
                  <a:pt x="89" y="137"/>
                </a:lnTo>
                <a:lnTo>
                  <a:pt x="89" y="146"/>
                </a:lnTo>
                <a:lnTo>
                  <a:pt x="57" y="154"/>
                </a:lnTo>
                <a:lnTo>
                  <a:pt x="42" y="154"/>
                </a:lnTo>
                <a:lnTo>
                  <a:pt x="17" y="154"/>
                </a:lnTo>
                <a:lnTo>
                  <a:pt x="23" y="130"/>
                </a:lnTo>
                <a:lnTo>
                  <a:pt x="0" y="114"/>
                </a:lnTo>
                <a:lnTo>
                  <a:pt x="0" y="105"/>
                </a:lnTo>
                <a:lnTo>
                  <a:pt x="0" y="89"/>
                </a:lnTo>
                <a:lnTo>
                  <a:pt x="0" y="65"/>
                </a:lnTo>
                <a:lnTo>
                  <a:pt x="8" y="56"/>
                </a:lnTo>
                <a:lnTo>
                  <a:pt x="17" y="33"/>
                </a:lnTo>
                <a:lnTo>
                  <a:pt x="32" y="33"/>
                </a:lnTo>
                <a:lnTo>
                  <a:pt x="42" y="15"/>
                </a:lnTo>
                <a:lnTo>
                  <a:pt x="32" y="15"/>
                </a:lnTo>
                <a:lnTo>
                  <a:pt x="42" y="9"/>
                </a:lnTo>
                <a:lnTo>
                  <a:pt x="32" y="0"/>
                </a:lnTo>
                <a:lnTo>
                  <a:pt x="42" y="0"/>
                </a:lnTo>
                <a:lnTo>
                  <a:pt x="48" y="0"/>
                </a:lnTo>
                <a:lnTo>
                  <a:pt x="48" y="9"/>
                </a:lnTo>
                <a:lnTo>
                  <a:pt x="64" y="15"/>
                </a:lnTo>
                <a:lnTo>
                  <a:pt x="57" y="25"/>
                </a:lnTo>
                <a:lnTo>
                  <a:pt x="64" y="25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693" name="Freeform 146"/>
          <p:cNvSpPr>
            <a:spLocks/>
          </p:cNvSpPr>
          <p:nvPr>
            <p:custDataLst>
              <p:tags r:id="rId104"/>
            </p:custDataLst>
          </p:nvPr>
        </p:nvSpPr>
        <p:spPr bwMode="gray">
          <a:xfrm>
            <a:off x="4981575" y="4449763"/>
            <a:ext cx="449263" cy="411162"/>
          </a:xfrm>
          <a:custGeom>
            <a:avLst/>
            <a:gdLst>
              <a:gd name="T0" fmla="*/ 2147483647 w 285"/>
              <a:gd name="T1" fmla="*/ 2147483647 h 262"/>
              <a:gd name="T2" fmla="*/ 2147483647 w 285"/>
              <a:gd name="T3" fmla="*/ 2147483647 h 262"/>
              <a:gd name="T4" fmla="*/ 2147483647 w 285"/>
              <a:gd name="T5" fmla="*/ 2147483647 h 262"/>
              <a:gd name="T6" fmla="*/ 2147483647 w 285"/>
              <a:gd name="T7" fmla="*/ 2147483647 h 262"/>
              <a:gd name="T8" fmla="*/ 2147483647 w 285"/>
              <a:gd name="T9" fmla="*/ 2147483647 h 262"/>
              <a:gd name="T10" fmla="*/ 2147483647 w 285"/>
              <a:gd name="T11" fmla="*/ 2147483647 h 262"/>
              <a:gd name="T12" fmla="*/ 2147483647 w 285"/>
              <a:gd name="T13" fmla="*/ 2147483647 h 262"/>
              <a:gd name="T14" fmla="*/ 2147483647 w 285"/>
              <a:gd name="T15" fmla="*/ 2147483647 h 262"/>
              <a:gd name="T16" fmla="*/ 2147483647 w 285"/>
              <a:gd name="T17" fmla="*/ 2147483647 h 262"/>
              <a:gd name="T18" fmla="*/ 2147483647 w 285"/>
              <a:gd name="T19" fmla="*/ 2147483647 h 262"/>
              <a:gd name="T20" fmla="*/ 2147483647 w 285"/>
              <a:gd name="T21" fmla="*/ 2147483647 h 262"/>
              <a:gd name="T22" fmla="*/ 2147483647 w 285"/>
              <a:gd name="T23" fmla="*/ 2147483647 h 262"/>
              <a:gd name="T24" fmla="*/ 2147483647 w 285"/>
              <a:gd name="T25" fmla="*/ 2147483647 h 262"/>
              <a:gd name="T26" fmla="*/ 2147483647 w 285"/>
              <a:gd name="T27" fmla="*/ 2147483647 h 262"/>
              <a:gd name="T28" fmla="*/ 2147483647 w 285"/>
              <a:gd name="T29" fmla="*/ 2147483647 h 262"/>
              <a:gd name="T30" fmla="*/ 2147483647 w 285"/>
              <a:gd name="T31" fmla="*/ 2147483647 h 262"/>
              <a:gd name="T32" fmla="*/ 2147483647 w 285"/>
              <a:gd name="T33" fmla="*/ 2147483647 h 262"/>
              <a:gd name="T34" fmla="*/ 2147483647 w 285"/>
              <a:gd name="T35" fmla="*/ 2147483647 h 262"/>
              <a:gd name="T36" fmla="*/ 2147483647 w 285"/>
              <a:gd name="T37" fmla="*/ 2147483647 h 262"/>
              <a:gd name="T38" fmla="*/ 2147483647 w 285"/>
              <a:gd name="T39" fmla="*/ 2147483647 h 262"/>
              <a:gd name="T40" fmla="*/ 2147483647 w 285"/>
              <a:gd name="T41" fmla="*/ 2147483647 h 262"/>
              <a:gd name="T42" fmla="*/ 2147483647 w 285"/>
              <a:gd name="T43" fmla="*/ 2147483647 h 262"/>
              <a:gd name="T44" fmla="*/ 2147483647 w 285"/>
              <a:gd name="T45" fmla="*/ 2147483647 h 262"/>
              <a:gd name="T46" fmla="*/ 2147483647 w 285"/>
              <a:gd name="T47" fmla="*/ 2147483647 h 262"/>
              <a:gd name="T48" fmla="*/ 2147483647 w 285"/>
              <a:gd name="T49" fmla="*/ 2147483647 h 262"/>
              <a:gd name="T50" fmla="*/ 2147483647 w 285"/>
              <a:gd name="T51" fmla="*/ 2147483647 h 262"/>
              <a:gd name="T52" fmla="*/ 2147483647 w 285"/>
              <a:gd name="T53" fmla="*/ 2147483647 h 262"/>
              <a:gd name="T54" fmla="*/ 2147483647 w 285"/>
              <a:gd name="T55" fmla="*/ 2147483647 h 262"/>
              <a:gd name="T56" fmla="*/ 2147483647 w 285"/>
              <a:gd name="T57" fmla="*/ 2147483647 h 262"/>
              <a:gd name="T58" fmla="*/ 2147483647 w 285"/>
              <a:gd name="T59" fmla="*/ 2147483647 h 262"/>
              <a:gd name="T60" fmla="*/ 2147483647 w 285"/>
              <a:gd name="T61" fmla="*/ 2147483647 h 262"/>
              <a:gd name="T62" fmla="*/ 2147483647 w 285"/>
              <a:gd name="T63" fmla="*/ 2147483647 h 262"/>
              <a:gd name="T64" fmla="*/ 2147483647 w 285"/>
              <a:gd name="T65" fmla="*/ 0 h 262"/>
              <a:gd name="T66" fmla="*/ 2147483647 w 285"/>
              <a:gd name="T67" fmla="*/ 2147483647 h 262"/>
              <a:gd name="T68" fmla="*/ 2147483647 w 285"/>
              <a:gd name="T69" fmla="*/ 2147483647 h 262"/>
              <a:gd name="T70" fmla="*/ 2147483647 w 285"/>
              <a:gd name="T71" fmla="*/ 2147483647 h 262"/>
              <a:gd name="T72" fmla="*/ 2147483647 w 285"/>
              <a:gd name="T73" fmla="*/ 2147483647 h 262"/>
              <a:gd name="T74" fmla="*/ 2147483647 w 285"/>
              <a:gd name="T75" fmla="*/ 2147483647 h 262"/>
              <a:gd name="T76" fmla="*/ 0 w 285"/>
              <a:gd name="T77" fmla="*/ 2147483647 h 262"/>
              <a:gd name="T78" fmla="*/ 0 w 285"/>
              <a:gd name="T79" fmla="*/ 2147483647 h 262"/>
              <a:gd name="T80" fmla="*/ 2147483647 w 285"/>
              <a:gd name="T81" fmla="*/ 2147483647 h 262"/>
              <a:gd name="T82" fmla="*/ 2147483647 w 285"/>
              <a:gd name="T83" fmla="*/ 2147483647 h 262"/>
              <a:gd name="T84" fmla="*/ 2147483647 w 285"/>
              <a:gd name="T85" fmla="*/ 2147483647 h 262"/>
              <a:gd name="T86" fmla="*/ 2147483647 w 285"/>
              <a:gd name="T87" fmla="*/ 2147483647 h 262"/>
              <a:gd name="T88" fmla="*/ 2147483647 w 285"/>
              <a:gd name="T89" fmla="*/ 2147483647 h 262"/>
              <a:gd name="T90" fmla="*/ 2147483647 w 285"/>
              <a:gd name="T91" fmla="*/ 2147483647 h 262"/>
              <a:gd name="T92" fmla="*/ 2147483647 w 285"/>
              <a:gd name="T93" fmla="*/ 2147483647 h 262"/>
              <a:gd name="T94" fmla="*/ 2147483647 w 285"/>
              <a:gd name="T95" fmla="*/ 2147483647 h 262"/>
              <a:gd name="T96" fmla="*/ 2147483647 w 285"/>
              <a:gd name="T97" fmla="*/ 2147483647 h 262"/>
              <a:gd name="T98" fmla="*/ 2147483647 w 285"/>
              <a:gd name="T99" fmla="*/ 2147483647 h 262"/>
              <a:gd name="T100" fmla="*/ 2147483647 w 285"/>
              <a:gd name="T101" fmla="*/ 2147483647 h 262"/>
              <a:gd name="T102" fmla="*/ 2147483647 w 285"/>
              <a:gd name="T103" fmla="*/ 2147483647 h 262"/>
              <a:gd name="T104" fmla="*/ 2147483647 w 285"/>
              <a:gd name="T105" fmla="*/ 2147483647 h 26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85"/>
              <a:gd name="T160" fmla="*/ 0 h 262"/>
              <a:gd name="T161" fmla="*/ 285 w 285"/>
              <a:gd name="T162" fmla="*/ 262 h 262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85" h="262">
                <a:moveTo>
                  <a:pt x="236" y="211"/>
                </a:moveTo>
                <a:lnTo>
                  <a:pt x="243" y="203"/>
                </a:lnTo>
                <a:lnTo>
                  <a:pt x="252" y="196"/>
                </a:lnTo>
                <a:lnTo>
                  <a:pt x="259" y="186"/>
                </a:lnTo>
                <a:lnTo>
                  <a:pt x="267" y="180"/>
                </a:lnTo>
                <a:lnTo>
                  <a:pt x="276" y="171"/>
                </a:lnTo>
                <a:lnTo>
                  <a:pt x="284" y="171"/>
                </a:lnTo>
                <a:lnTo>
                  <a:pt x="284" y="162"/>
                </a:lnTo>
                <a:lnTo>
                  <a:pt x="284" y="155"/>
                </a:lnTo>
                <a:lnTo>
                  <a:pt x="284" y="146"/>
                </a:lnTo>
                <a:lnTo>
                  <a:pt x="276" y="139"/>
                </a:lnTo>
                <a:lnTo>
                  <a:pt x="267" y="131"/>
                </a:lnTo>
                <a:lnTo>
                  <a:pt x="259" y="131"/>
                </a:lnTo>
                <a:lnTo>
                  <a:pt x="252" y="131"/>
                </a:lnTo>
                <a:lnTo>
                  <a:pt x="252" y="139"/>
                </a:lnTo>
                <a:lnTo>
                  <a:pt x="243" y="139"/>
                </a:lnTo>
                <a:lnTo>
                  <a:pt x="236" y="139"/>
                </a:lnTo>
                <a:lnTo>
                  <a:pt x="227" y="139"/>
                </a:lnTo>
                <a:lnTo>
                  <a:pt x="218" y="139"/>
                </a:lnTo>
                <a:lnTo>
                  <a:pt x="212" y="139"/>
                </a:lnTo>
                <a:lnTo>
                  <a:pt x="202" y="131"/>
                </a:lnTo>
                <a:lnTo>
                  <a:pt x="212" y="122"/>
                </a:lnTo>
                <a:lnTo>
                  <a:pt x="202" y="106"/>
                </a:lnTo>
                <a:lnTo>
                  <a:pt x="202" y="81"/>
                </a:lnTo>
                <a:lnTo>
                  <a:pt x="178" y="57"/>
                </a:lnTo>
                <a:lnTo>
                  <a:pt x="153" y="49"/>
                </a:lnTo>
                <a:lnTo>
                  <a:pt x="137" y="57"/>
                </a:lnTo>
                <a:lnTo>
                  <a:pt x="130" y="49"/>
                </a:lnTo>
                <a:lnTo>
                  <a:pt x="113" y="41"/>
                </a:lnTo>
                <a:lnTo>
                  <a:pt x="113" y="34"/>
                </a:lnTo>
                <a:lnTo>
                  <a:pt x="105" y="25"/>
                </a:lnTo>
                <a:lnTo>
                  <a:pt x="81" y="9"/>
                </a:lnTo>
                <a:lnTo>
                  <a:pt x="56" y="0"/>
                </a:lnTo>
                <a:lnTo>
                  <a:pt x="31" y="18"/>
                </a:lnTo>
                <a:lnTo>
                  <a:pt x="41" y="25"/>
                </a:lnTo>
                <a:lnTo>
                  <a:pt x="31" y="41"/>
                </a:lnTo>
                <a:lnTo>
                  <a:pt x="25" y="41"/>
                </a:lnTo>
                <a:lnTo>
                  <a:pt x="16" y="49"/>
                </a:lnTo>
                <a:lnTo>
                  <a:pt x="0" y="49"/>
                </a:lnTo>
                <a:lnTo>
                  <a:pt x="0" y="65"/>
                </a:lnTo>
                <a:lnTo>
                  <a:pt x="8" y="65"/>
                </a:lnTo>
                <a:lnTo>
                  <a:pt x="41" y="114"/>
                </a:lnTo>
                <a:lnTo>
                  <a:pt x="50" y="122"/>
                </a:lnTo>
                <a:lnTo>
                  <a:pt x="56" y="139"/>
                </a:lnTo>
                <a:lnTo>
                  <a:pt x="56" y="162"/>
                </a:lnTo>
                <a:lnTo>
                  <a:pt x="81" y="180"/>
                </a:lnTo>
                <a:lnTo>
                  <a:pt x="97" y="220"/>
                </a:lnTo>
                <a:lnTo>
                  <a:pt x="105" y="227"/>
                </a:lnTo>
                <a:lnTo>
                  <a:pt x="113" y="220"/>
                </a:lnTo>
                <a:lnTo>
                  <a:pt x="137" y="243"/>
                </a:lnTo>
                <a:lnTo>
                  <a:pt x="146" y="261"/>
                </a:lnTo>
                <a:lnTo>
                  <a:pt x="202" y="220"/>
                </a:lnTo>
                <a:lnTo>
                  <a:pt x="236" y="211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94" name="Freeform 148"/>
          <p:cNvSpPr>
            <a:spLocks/>
          </p:cNvSpPr>
          <p:nvPr>
            <p:custDataLst>
              <p:tags r:id="rId105"/>
            </p:custDataLst>
          </p:nvPr>
        </p:nvSpPr>
        <p:spPr bwMode="gray">
          <a:xfrm>
            <a:off x="5299075" y="4600575"/>
            <a:ext cx="131763" cy="68263"/>
          </a:xfrm>
          <a:custGeom>
            <a:avLst/>
            <a:gdLst>
              <a:gd name="T0" fmla="*/ 2147483647 w 83"/>
              <a:gd name="T1" fmla="*/ 2147483647 h 43"/>
              <a:gd name="T2" fmla="*/ 2147483647 w 83"/>
              <a:gd name="T3" fmla="*/ 2147483647 h 43"/>
              <a:gd name="T4" fmla="*/ 2147483647 w 83"/>
              <a:gd name="T5" fmla="*/ 2147483647 h 43"/>
              <a:gd name="T6" fmla="*/ 2147483647 w 83"/>
              <a:gd name="T7" fmla="*/ 0 h 43"/>
              <a:gd name="T8" fmla="*/ 2147483647 w 83"/>
              <a:gd name="T9" fmla="*/ 2147483647 h 43"/>
              <a:gd name="T10" fmla="*/ 2147483647 w 83"/>
              <a:gd name="T11" fmla="*/ 2147483647 h 43"/>
              <a:gd name="T12" fmla="*/ 2147483647 w 83"/>
              <a:gd name="T13" fmla="*/ 2147483647 h 43"/>
              <a:gd name="T14" fmla="*/ 0 w 83"/>
              <a:gd name="T15" fmla="*/ 2147483647 h 43"/>
              <a:gd name="T16" fmla="*/ 2147483647 w 83"/>
              <a:gd name="T17" fmla="*/ 2147483647 h 43"/>
              <a:gd name="T18" fmla="*/ 2147483647 w 83"/>
              <a:gd name="T19" fmla="*/ 2147483647 h 43"/>
              <a:gd name="T20" fmla="*/ 2147483647 w 83"/>
              <a:gd name="T21" fmla="*/ 2147483647 h 43"/>
              <a:gd name="T22" fmla="*/ 2147483647 w 83"/>
              <a:gd name="T23" fmla="*/ 2147483647 h 43"/>
              <a:gd name="T24" fmla="*/ 2147483647 w 83"/>
              <a:gd name="T25" fmla="*/ 2147483647 h 43"/>
              <a:gd name="T26" fmla="*/ 2147483647 w 83"/>
              <a:gd name="T27" fmla="*/ 2147483647 h 43"/>
              <a:gd name="T28" fmla="*/ 2147483647 w 83"/>
              <a:gd name="T29" fmla="*/ 2147483647 h 43"/>
              <a:gd name="T30" fmla="*/ 2147483647 w 83"/>
              <a:gd name="T31" fmla="*/ 2147483647 h 43"/>
              <a:gd name="T32" fmla="*/ 2147483647 w 83"/>
              <a:gd name="T33" fmla="*/ 2147483647 h 4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83"/>
              <a:gd name="T52" fmla="*/ 0 h 43"/>
              <a:gd name="T53" fmla="*/ 83 w 83"/>
              <a:gd name="T54" fmla="*/ 43 h 43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83" h="43">
                <a:moveTo>
                  <a:pt x="65" y="34"/>
                </a:moveTo>
                <a:lnTo>
                  <a:pt x="82" y="17"/>
                </a:lnTo>
                <a:lnTo>
                  <a:pt x="82" y="9"/>
                </a:lnTo>
                <a:lnTo>
                  <a:pt x="74" y="0"/>
                </a:lnTo>
                <a:lnTo>
                  <a:pt x="50" y="25"/>
                </a:lnTo>
                <a:lnTo>
                  <a:pt x="25" y="25"/>
                </a:lnTo>
                <a:lnTo>
                  <a:pt x="10" y="25"/>
                </a:lnTo>
                <a:lnTo>
                  <a:pt x="0" y="34"/>
                </a:lnTo>
                <a:lnTo>
                  <a:pt x="10" y="42"/>
                </a:lnTo>
                <a:lnTo>
                  <a:pt x="16" y="42"/>
                </a:lnTo>
                <a:lnTo>
                  <a:pt x="25" y="42"/>
                </a:lnTo>
                <a:lnTo>
                  <a:pt x="34" y="42"/>
                </a:lnTo>
                <a:lnTo>
                  <a:pt x="41" y="42"/>
                </a:lnTo>
                <a:lnTo>
                  <a:pt x="50" y="42"/>
                </a:lnTo>
                <a:lnTo>
                  <a:pt x="50" y="34"/>
                </a:lnTo>
                <a:lnTo>
                  <a:pt x="57" y="34"/>
                </a:lnTo>
                <a:lnTo>
                  <a:pt x="65" y="34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95" name="Freeform 149"/>
          <p:cNvSpPr>
            <a:spLocks/>
          </p:cNvSpPr>
          <p:nvPr>
            <p:custDataLst>
              <p:tags r:id="rId106"/>
            </p:custDataLst>
          </p:nvPr>
        </p:nvSpPr>
        <p:spPr bwMode="gray">
          <a:xfrm>
            <a:off x="5414963" y="4589463"/>
            <a:ext cx="26987" cy="25400"/>
          </a:xfrm>
          <a:custGeom>
            <a:avLst/>
            <a:gdLst>
              <a:gd name="T0" fmla="*/ 2147483647 w 17"/>
              <a:gd name="T1" fmla="*/ 2147483647 h 17"/>
              <a:gd name="T2" fmla="*/ 0 w 17"/>
              <a:gd name="T3" fmla="*/ 2147483647 h 17"/>
              <a:gd name="T4" fmla="*/ 0 w 17"/>
              <a:gd name="T5" fmla="*/ 0 h 17"/>
              <a:gd name="T6" fmla="*/ 2147483647 w 17"/>
              <a:gd name="T7" fmla="*/ 0 h 17"/>
              <a:gd name="T8" fmla="*/ 2147483647 w 17"/>
              <a:gd name="T9" fmla="*/ 2147483647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17"/>
              <a:gd name="T17" fmla="*/ 17 w 17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17">
                <a:moveTo>
                  <a:pt x="16" y="16"/>
                </a:moveTo>
                <a:lnTo>
                  <a:pt x="0" y="7"/>
                </a:lnTo>
                <a:lnTo>
                  <a:pt x="0" y="0"/>
                </a:lnTo>
                <a:lnTo>
                  <a:pt x="16" y="0"/>
                </a:lnTo>
                <a:lnTo>
                  <a:pt x="16" y="16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96" name="Freeform 150"/>
          <p:cNvSpPr>
            <a:spLocks/>
          </p:cNvSpPr>
          <p:nvPr>
            <p:custDataLst>
              <p:tags r:id="rId107"/>
            </p:custDataLst>
          </p:nvPr>
        </p:nvSpPr>
        <p:spPr bwMode="gray">
          <a:xfrm>
            <a:off x="5353050" y="4627563"/>
            <a:ext cx="138113" cy="168275"/>
          </a:xfrm>
          <a:custGeom>
            <a:avLst/>
            <a:gdLst>
              <a:gd name="T0" fmla="*/ 0 w 89"/>
              <a:gd name="T1" fmla="*/ 2147483647 h 107"/>
              <a:gd name="T2" fmla="*/ 2147483647 w 89"/>
              <a:gd name="T3" fmla="*/ 2147483647 h 107"/>
              <a:gd name="T4" fmla="*/ 2147483647 w 89"/>
              <a:gd name="T5" fmla="*/ 2147483647 h 107"/>
              <a:gd name="T6" fmla="*/ 2147483647 w 89"/>
              <a:gd name="T7" fmla="*/ 2147483647 h 107"/>
              <a:gd name="T8" fmla="*/ 2147483647 w 89"/>
              <a:gd name="T9" fmla="*/ 2147483647 h 107"/>
              <a:gd name="T10" fmla="*/ 2147483647 w 89"/>
              <a:gd name="T11" fmla="*/ 2147483647 h 107"/>
              <a:gd name="T12" fmla="*/ 2147483647 w 89"/>
              <a:gd name="T13" fmla="*/ 2147483647 h 107"/>
              <a:gd name="T14" fmla="*/ 2147483647 w 89"/>
              <a:gd name="T15" fmla="*/ 2147483647 h 107"/>
              <a:gd name="T16" fmla="*/ 2147483647 w 89"/>
              <a:gd name="T17" fmla="*/ 2147483647 h 107"/>
              <a:gd name="T18" fmla="*/ 2147483647 w 89"/>
              <a:gd name="T19" fmla="*/ 2147483647 h 107"/>
              <a:gd name="T20" fmla="*/ 2147483647 w 89"/>
              <a:gd name="T21" fmla="*/ 2147483647 h 107"/>
              <a:gd name="T22" fmla="*/ 2147483647 w 89"/>
              <a:gd name="T23" fmla="*/ 0 h 107"/>
              <a:gd name="T24" fmla="*/ 2147483647 w 89"/>
              <a:gd name="T25" fmla="*/ 2147483647 h 107"/>
              <a:gd name="T26" fmla="*/ 2147483647 w 89"/>
              <a:gd name="T27" fmla="*/ 2147483647 h 107"/>
              <a:gd name="T28" fmla="*/ 2147483647 w 89"/>
              <a:gd name="T29" fmla="*/ 2147483647 h 107"/>
              <a:gd name="T30" fmla="*/ 2147483647 w 89"/>
              <a:gd name="T31" fmla="*/ 2147483647 h 107"/>
              <a:gd name="T32" fmla="*/ 2147483647 w 89"/>
              <a:gd name="T33" fmla="*/ 2147483647 h 107"/>
              <a:gd name="T34" fmla="*/ 2147483647 w 89"/>
              <a:gd name="T35" fmla="*/ 2147483647 h 107"/>
              <a:gd name="T36" fmla="*/ 2147483647 w 89"/>
              <a:gd name="T37" fmla="*/ 2147483647 h 107"/>
              <a:gd name="T38" fmla="*/ 2147483647 w 89"/>
              <a:gd name="T39" fmla="*/ 2147483647 h 107"/>
              <a:gd name="T40" fmla="*/ 2147483647 w 89"/>
              <a:gd name="T41" fmla="*/ 2147483647 h 107"/>
              <a:gd name="T42" fmla="*/ 2147483647 w 89"/>
              <a:gd name="T43" fmla="*/ 2147483647 h 107"/>
              <a:gd name="T44" fmla="*/ 2147483647 w 89"/>
              <a:gd name="T45" fmla="*/ 2147483647 h 107"/>
              <a:gd name="T46" fmla="*/ 0 w 89"/>
              <a:gd name="T47" fmla="*/ 2147483647 h 107"/>
              <a:gd name="T48" fmla="*/ 0 w 89"/>
              <a:gd name="T49" fmla="*/ 2147483647 h 10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89"/>
              <a:gd name="T76" fmla="*/ 0 h 107"/>
              <a:gd name="T77" fmla="*/ 89 w 89"/>
              <a:gd name="T78" fmla="*/ 107 h 107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89" h="107">
                <a:moveTo>
                  <a:pt x="0" y="106"/>
                </a:moveTo>
                <a:lnTo>
                  <a:pt x="23" y="106"/>
                </a:lnTo>
                <a:lnTo>
                  <a:pt x="31" y="97"/>
                </a:lnTo>
                <a:lnTo>
                  <a:pt x="40" y="89"/>
                </a:lnTo>
                <a:lnTo>
                  <a:pt x="56" y="82"/>
                </a:lnTo>
                <a:lnTo>
                  <a:pt x="65" y="72"/>
                </a:lnTo>
                <a:lnTo>
                  <a:pt x="65" y="66"/>
                </a:lnTo>
                <a:lnTo>
                  <a:pt x="81" y="41"/>
                </a:lnTo>
                <a:lnTo>
                  <a:pt x="88" y="32"/>
                </a:lnTo>
                <a:lnTo>
                  <a:pt x="72" y="17"/>
                </a:lnTo>
                <a:lnTo>
                  <a:pt x="56" y="8"/>
                </a:lnTo>
                <a:lnTo>
                  <a:pt x="48" y="0"/>
                </a:lnTo>
                <a:lnTo>
                  <a:pt x="31" y="17"/>
                </a:lnTo>
                <a:lnTo>
                  <a:pt x="40" y="25"/>
                </a:lnTo>
                <a:lnTo>
                  <a:pt x="48" y="32"/>
                </a:lnTo>
                <a:lnTo>
                  <a:pt x="48" y="41"/>
                </a:lnTo>
                <a:lnTo>
                  <a:pt x="48" y="48"/>
                </a:lnTo>
                <a:lnTo>
                  <a:pt x="48" y="57"/>
                </a:lnTo>
                <a:lnTo>
                  <a:pt x="40" y="57"/>
                </a:lnTo>
                <a:lnTo>
                  <a:pt x="31" y="66"/>
                </a:lnTo>
                <a:lnTo>
                  <a:pt x="23" y="72"/>
                </a:lnTo>
                <a:lnTo>
                  <a:pt x="16" y="82"/>
                </a:lnTo>
                <a:lnTo>
                  <a:pt x="7" y="89"/>
                </a:lnTo>
                <a:lnTo>
                  <a:pt x="0" y="97"/>
                </a:lnTo>
                <a:lnTo>
                  <a:pt x="0" y="106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97" name="Freeform 151"/>
          <p:cNvSpPr>
            <a:spLocks/>
          </p:cNvSpPr>
          <p:nvPr>
            <p:custDataLst>
              <p:tags r:id="rId108"/>
            </p:custDataLst>
          </p:nvPr>
        </p:nvSpPr>
        <p:spPr bwMode="gray">
          <a:xfrm>
            <a:off x="5146675" y="4779963"/>
            <a:ext cx="206375" cy="104775"/>
          </a:xfrm>
          <a:custGeom>
            <a:avLst/>
            <a:gdLst>
              <a:gd name="T0" fmla="*/ 0 w 132"/>
              <a:gd name="T1" fmla="*/ 2147483647 h 66"/>
              <a:gd name="T2" fmla="*/ 2147483647 w 132"/>
              <a:gd name="T3" fmla="*/ 2147483647 h 66"/>
              <a:gd name="T4" fmla="*/ 2147483647 w 132"/>
              <a:gd name="T5" fmla="*/ 2147483647 h 66"/>
              <a:gd name="T6" fmla="*/ 2147483647 w 132"/>
              <a:gd name="T7" fmla="*/ 2147483647 h 66"/>
              <a:gd name="T8" fmla="*/ 2147483647 w 132"/>
              <a:gd name="T9" fmla="*/ 2147483647 h 66"/>
              <a:gd name="T10" fmla="*/ 2147483647 w 132"/>
              <a:gd name="T11" fmla="*/ 0 h 66"/>
              <a:gd name="T12" fmla="*/ 2147483647 w 132"/>
              <a:gd name="T13" fmla="*/ 2147483647 h 66"/>
              <a:gd name="T14" fmla="*/ 2147483647 w 132"/>
              <a:gd name="T15" fmla="*/ 2147483647 h 66"/>
              <a:gd name="T16" fmla="*/ 2147483647 w 132"/>
              <a:gd name="T17" fmla="*/ 2147483647 h 66"/>
              <a:gd name="T18" fmla="*/ 2147483647 w 132"/>
              <a:gd name="T19" fmla="*/ 2147483647 h 66"/>
              <a:gd name="T20" fmla="*/ 2147483647 w 132"/>
              <a:gd name="T21" fmla="*/ 2147483647 h 66"/>
              <a:gd name="T22" fmla="*/ 2147483647 w 132"/>
              <a:gd name="T23" fmla="*/ 2147483647 h 66"/>
              <a:gd name="T24" fmla="*/ 2147483647 w 132"/>
              <a:gd name="T25" fmla="*/ 2147483647 h 66"/>
              <a:gd name="T26" fmla="*/ 2147483647 w 132"/>
              <a:gd name="T27" fmla="*/ 2147483647 h 66"/>
              <a:gd name="T28" fmla="*/ 0 w 132"/>
              <a:gd name="T29" fmla="*/ 2147483647 h 6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32"/>
              <a:gd name="T46" fmla="*/ 0 h 66"/>
              <a:gd name="T47" fmla="*/ 132 w 132"/>
              <a:gd name="T48" fmla="*/ 66 h 6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32" h="66">
                <a:moveTo>
                  <a:pt x="0" y="16"/>
                </a:moveTo>
                <a:lnTo>
                  <a:pt x="8" y="9"/>
                </a:lnTo>
                <a:lnTo>
                  <a:pt x="32" y="32"/>
                </a:lnTo>
                <a:lnTo>
                  <a:pt x="41" y="50"/>
                </a:lnTo>
                <a:lnTo>
                  <a:pt x="97" y="9"/>
                </a:lnTo>
                <a:lnTo>
                  <a:pt x="131" y="0"/>
                </a:lnTo>
                <a:lnTo>
                  <a:pt x="131" y="9"/>
                </a:lnTo>
                <a:lnTo>
                  <a:pt x="122" y="16"/>
                </a:lnTo>
                <a:lnTo>
                  <a:pt x="122" y="25"/>
                </a:lnTo>
                <a:lnTo>
                  <a:pt x="90" y="32"/>
                </a:lnTo>
                <a:lnTo>
                  <a:pt x="57" y="57"/>
                </a:lnTo>
                <a:lnTo>
                  <a:pt x="41" y="57"/>
                </a:lnTo>
                <a:lnTo>
                  <a:pt x="25" y="65"/>
                </a:lnTo>
                <a:lnTo>
                  <a:pt x="8" y="65"/>
                </a:lnTo>
                <a:lnTo>
                  <a:pt x="0" y="16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98" name="Freeform 152"/>
          <p:cNvSpPr>
            <a:spLocks/>
          </p:cNvSpPr>
          <p:nvPr>
            <p:custDataLst>
              <p:tags r:id="rId109"/>
            </p:custDataLst>
          </p:nvPr>
        </p:nvSpPr>
        <p:spPr bwMode="gray">
          <a:xfrm>
            <a:off x="5900738" y="4502150"/>
            <a:ext cx="152400" cy="88900"/>
          </a:xfrm>
          <a:custGeom>
            <a:avLst/>
            <a:gdLst>
              <a:gd name="T0" fmla="*/ 2147483647 w 97"/>
              <a:gd name="T1" fmla="*/ 0 h 57"/>
              <a:gd name="T2" fmla="*/ 0 w 97"/>
              <a:gd name="T3" fmla="*/ 2147483647 h 57"/>
              <a:gd name="T4" fmla="*/ 2147483647 w 97"/>
              <a:gd name="T5" fmla="*/ 2147483647 h 57"/>
              <a:gd name="T6" fmla="*/ 2147483647 w 97"/>
              <a:gd name="T7" fmla="*/ 2147483647 h 57"/>
              <a:gd name="T8" fmla="*/ 2147483647 w 97"/>
              <a:gd name="T9" fmla="*/ 2147483647 h 57"/>
              <a:gd name="T10" fmla="*/ 2147483647 w 97"/>
              <a:gd name="T11" fmla="*/ 2147483647 h 57"/>
              <a:gd name="T12" fmla="*/ 2147483647 w 97"/>
              <a:gd name="T13" fmla="*/ 2147483647 h 57"/>
              <a:gd name="T14" fmla="*/ 2147483647 w 97"/>
              <a:gd name="T15" fmla="*/ 2147483647 h 57"/>
              <a:gd name="T16" fmla="*/ 2147483647 w 97"/>
              <a:gd name="T17" fmla="*/ 2147483647 h 57"/>
              <a:gd name="T18" fmla="*/ 2147483647 w 97"/>
              <a:gd name="T19" fmla="*/ 2147483647 h 57"/>
              <a:gd name="T20" fmla="*/ 2147483647 w 97"/>
              <a:gd name="T21" fmla="*/ 2147483647 h 57"/>
              <a:gd name="T22" fmla="*/ 2147483647 w 97"/>
              <a:gd name="T23" fmla="*/ 0 h 57"/>
              <a:gd name="T24" fmla="*/ 2147483647 w 97"/>
              <a:gd name="T25" fmla="*/ 0 h 5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97"/>
              <a:gd name="T40" fmla="*/ 0 h 57"/>
              <a:gd name="T41" fmla="*/ 97 w 97"/>
              <a:gd name="T42" fmla="*/ 57 h 57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97" h="57">
                <a:moveTo>
                  <a:pt x="6" y="0"/>
                </a:moveTo>
                <a:lnTo>
                  <a:pt x="0" y="23"/>
                </a:lnTo>
                <a:lnTo>
                  <a:pt x="15" y="31"/>
                </a:lnTo>
                <a:lnTo>
                  <a:pt x="87" y="56"/>
                </a:lnTo>
                <a:lnTo>
                  <a:pt x="96" y="56"/>
                </a:lnTo>
                <a:lnTo>
                  <a:pt x="96" y="47"/>
                </a:lnTo>
                <a:lnTo>
                  <a:pt x="96" y="31"/>
                </a:lnTo>
                <a:lnTo>
                  <a:pt x="72" y="31"/>
                </a:lnTo>
                <a:lnTo>
                  <a:pt x="55" y="23"/>
                </a:lnTo>
                <a:lnTo>
                  <a:pt x="47" y="15"/>
                </a:lnTo>
                <a:lnTo>
                  <a:pt x="40" y="15"/>
                </a:lnTo>
                <a:lnTo>
                  <a:pt x="24" y="0"/>
                </a:lnTo>
                <a:lnTo>
                  <a:pt x="6" y="0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699" name="Freeform 153"/>
          <p:cNvSpPr>
            <a:spLocks/>
          </p:cNvSpPr>
          <p:nvPr>
            <p:custDataLst>
              <p:tags r:id="rId110"/>
            </p:custDataLst>
          </p:nvPr>
        </p:nvSpPr>
        <p:spPr bwMode="gray">
          <a:xfrm>
            <a:off x="6051550" y="4589463"/>
            <a:ext cx="104775" cy="114300"/>
          </a:xfrm>
          <a:custGeom>
            <a:avLst/>
            <a:gdLst>
              <a:gd name="T0" fmla="*/ 2147483647 w 67"/>
              <a:gd name="T1" fmla="*/ 2147483647 h 73"/>
              <a:gd name="T2" fmla="*/ 2147483647 w 67"/>
              <a:gd name="T3" fmla="*/ 2147483647 h 73"/>
              <a:gd name="T4" fmla="*/ 2147483647 w 67"/>
              <a:gd name="T5" fmla="*/ 2147483647 h 73"/>
              <a:gd name="T6" fmla="*/ 2147483647 w 67"/>
              <a:gd name="T7" fmla="*/ 2147483647 h 73"/>
              <a:gd name="T8" fmla="*/ 2147483647 w 67"/>
              <a:gd name="T9" fmla="*/ 2147483647 h 73"/>
              <a:gd name="T10" fmla="*/ 2147483647 w 67"/>
              <a:gd name="T11" fmla="*/ 2147483647 h 73"/>
              <a:gd name="T12" fmla="*/ 2147483647 w 67"/>
              <a:gd name="T13" fmla="*/ 2147483647 h 73"/>
              <a:gd name="T14" fmla="*/ 2147483647 w 67"/>
              <a:gd name="T15" fmla="*/ 2147483647 h 73"/>
              <a:gd name="T16" fmla="*/ 2147483647 w 67"/>
              <a:gd name="T17" fmla="*/ 0 h 73"/>
              <a:gd name="T18" fmla="*/ 2147483647 w 67"/>
              <a:gd name="T19" fmla="*/ 0 h 73"/>
              <a:gd name="T20" fmla="*/ 2147483647 w 67"/>
              <a:gd name="T21" fmla="*/ 0 h 73"/>
              <a:gd name="T22" fmla="*/ 2147483647 w 67"/>
              <a:gd name="T23" fmla="*/ 2147483647 h 73"/>
              <a:gd name="T24" fmla="*/ 0 w 67"/>
              <a:gd name="T25" fmla="*/ 2147483647 h 73"/>
              <a:gd name="T26" fmla="*/ 2147483647 w 67"/>
              <a:gd name="T27" fmla="*/ 2147483647 h 73"/>
              <a:gd name="T28" fmla="*/ 2147483647 w 67"/>
              <a:gd name="T29" fmla="*/ 2147483647 h 73"/>
              <a:gd name="T30" fmla="*/ 2147483647 w 67"/>
              <a:gd name="T31" fmla="*/ 2147483647 h 73"/>
              <a:gd name="T32" fmla="*/ 2147483647 w 67"/>
              <a:gd name="T33" fmla="*/ 2147483647 h 73"/>
              <a:gd name="T34" fmla="*/ 2147483647 w 67"/>
              <a:gd name="T35" fmla="*/ 2147483647 h 73"/>
              <a:gd name="T36" fmla="*/ 2147483647 w 67"/>
              <a:gd name="T37" fmla="*/ 2147483647 h 73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67"/>
              <a:gd name="T58" fmla="*/ 0 h 73"/>
              <a:gd name="T59" fmla="*/ 67 w 67"/>
              <a:gd name="T60" fmla="*/ 73 h 73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67" h="73">
                <a:moveTo>
                  <a:pt x="66" y="65"/>
                </a:moveTo>
                <a:lnTo>
                  <a:pt x="56" y="41"/>
                </a:lnTo>
                <a:lnTo>
                  <a:pt x="56" y="32"/>
                </a:lnTo>
                <a:lnTo>
                  <a:pt x="49" y="41"/>
                </a:lnTo>
                <a:lnTo>
                  <a:pt x="41" y="41"/>
                </a:lnTo>
                <a:lnTo>
                  <a:pt x="41" y="32"/>
                </a:lnTo>
                <a:lnTo>
                  <a:pt x="56" y="16"/>
                </a:lnTo>
                <a:lnTo>
                  <a:pt x="24" y="16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9" y="7"/>
                </a:lnTo>
                <a:lnTo>
                  <a:pt x="0" y="24"/>
                </a:lnTo>
                <a:lnTo>
                  <a:pt x="9" y="24"/>
                </a:lnTo>
                <a:lnTo>
                  <a:pt x="16" y="65"/>
                </a:lnTo>
                <a:lnTo>
                  <a:pt x="34" y="65"/>
                </a:lnTo>
                <a:lnTo>
                  <a:pt x="49" y="49"/>
                </a:lnTo>
                <a:lnTo>
                  <a:pt x="56" y="72"/>
                </a:lnTo>
                <a:lnTo>
                  <a:pt x="66" y="65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00" name="Freeform 154"/>
          <p:cNvSpPr>
            <a:spLocks/>
          </p:cNvSpPr>
          <p:nvPr>
            <p:custDataLst>
              <p:tags r:id="rId111"/>
            </p:custDataLst>
          </p:nvPr>
        </p:nvSpPr>
        <p:spPr bwMode="gray">
          <a:xfrm>
            <a:off x="6140450" y="4549775"/>
            <a:ext cx="180975" cy="398463"/>
          </a:xfrm>
          <a:custGeom>
            <a:avLst/>
            <a:gdLst>
              <a:gd name="T0" fmla="*/ 2147483647 w 116"/>
              <a:gd name="T1" fmla="*/ 2147483647 h 253"/>
              <a:gd name="T2" fmla="*/ 2147483647 w 116"/>
              <a:gd name="T3" fmla="*/ 2147483647 h 253"/>
              <a:gd name="T4" fmla="*/ 2147483647 w 116"/>
              <a:gd name="T5" fmla="*/ 2147483647 h 253"/>
              <a:gd name="T6" fmla="*/ 2147483647 w 116"/>
              <a:gd name="T7" fmla="*/ 2147483647 h 253"/>
              <a:gd name="T8" fmla="*/ 2147483647 w 116"/>
              <a:gd name="T9" fmla="*/ 2147483647 h 253"/>
              <a:gd name="T10" fmla="*/ 2147483647 w 116"/>
              <a:gd name="T11" fmla="*/ 2147483647 h 253"/>
              <a:gd name="T12" fmla="*/ 2147483647 w 116"/>
              <a:gd name="T13" fmla="*/ 2147483647 h 253"/>
              <a:gd name="T14" fmla="*/ 2147483647 w 116"/>
              <a:gd name="T15" fmla="*/ 2147483647 h 253"/>
              <a:gd name="T16" fmla="*/ 2147483647 w 116"/>
              <a:gd name="T17" fmla="*/ 2147483647 h 253"/>
              <a:gd name="T18" fmla="*/ 2147483647 w 116"/>
              <a:gd name="T19" fmla="*/ 2147483647 h 253"/>
              <a:gd name="T20" fmla="*/ 2147483647 w 116"/>
              <a:gd name="T21" fmla="*/ 2147483647 h 253"/>
              <a:gd name="T22" fmla="*/ 2147483647 w 116"/>
              <a:gd name="T23" fmla="*/ 2147483647 h 253"/>
              <a:gd name="T24" fmla="*/ 2147483647 w 116"/>
              <a:gd name="T25" fmla="*/ 2147483647 h 253"/>
              <a:gd name="T26" fmla="*/ 2147483647 w 116"/>
              <a:gd name="T27" fmla="*/ 2147483647 h 253"/>
              <a:gd name="T28" fmla="*/ 2147483647 w 116"/>
              <a:gd name="T29" fmla="*/ 2147483647 h 253"/>
              <a:gd name="T30" fmla="*/ 2147483647 w 116"/>
              <a:gd name="T31" fmla="*/ 2147483647 h 253"/>
              <a:gd name="T32" fmla="*/ 2147483647 w 116"/>
              <a:gd name="T33" fmla="*/ 0 h 253"/>
              <a:gd name="T34" fmla="*/ 2147483647 w 116"/>
              <a:gd name="T35" fmla="*/ 0 h 253"/>
              <a:gd name="T36" fmla="*/ 2147483647 w 116"/>
              <a:gd name="T37" fmla="*/ 2147483647 h 253"/>
              <a:gd name="T38" fmla="*/ 2147483647 w 116"/>
              <a:gd name="T39" fmla="*/ 2147483647 h 253"/>
              <a:gd name="T40" fmla="*/ 2147483647 w 116"/>
              <a:gd name="T41" fmla="*/ 2147483647 h 253"/>
              <a:gd name="T42" fmla="*/ 2147483647 w 116"/>
              <a:gd name="T43" fmla="*/ 2147483647 h 253"/>
              <a:gd name="T44" fmla="*/ 2147483647 w 116"/>
              <a:gd name="T45" fmla="*/ 2147483647 h 253"/>
              <a:gd name="T46" fmla="*/ 2147483647 w 116"/>
              <a:gd name="T47" fmla="*/ 2147483647 h 253"/>
              <a:gd name="T48" fmla="*/ 2147483647 w 116"/>
              <a:gd name="T49" fmla="*/ 2147483647 h 253"/>
              <a:gd name="T50" fmla="*/ 0 w 116"/>
              <a:gd name="T51" fmla="*/ 2147483647 h 253"/>
              <a:gd name="T52" fmla="*/ 2147483647 w 116"/>
              <a:gd name="T53" fmla="*/ 2147483647 h 253"/>
              <a:gd name="T54" fmla="*/ 2147483647 w 116"/>
              <a:gd name="T55" fmla="*/ 2147483647 h 253"/>
              <a:gd name="T56" fmla="*/ 2147483647 w 116"/>
              <a:gd name="T57" fmla="*/ 2147483647 h 253"/>
              <a:gd name="T58" fmla="*/ 2147483647 w 116"/>
              <a:gd name="T59" fmla="*/ 2147483647 h 253"/>
              <a:gd name="T60" fmla="*/ 2147483647 w 116"/>
              <a:gd name="T61" fmla="*/ 2147483647 h 253"/>
              <a:gd name="T62" fmla="*/ 2147483647 w 116"/>
              <a:gd name="T63" fmla="*/ 2147483647 h 253"/>
              <a:gd name="T64" fmla="*/ 2147483647 w 116"/>
              <a:gd name="T65" fmla="*/ 2147483647 h 253"/>
              <a:gd name="T66" fmla="*/ 2147483647 w 116"/>
              <a:gd name="T67" fmla="*/ 2147483647 h 253"/>
              <a:gd name="T68" fmla="*/ 2147483647 w 116"/>
              <a:gd name="T69" fmla="*/ 2147483647 h 253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16"/>
              <a:gd name="T106" fmla="*/ 0 h 253"/>
              <a:gd name="T107" fmla="*/ 116 w 116"/>
              <a:gd name="T108" fmla="*/ 253 h 253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16" h="253">
                <a:moveTo>
                  <a:pt x="83" y="252"/>
                </a:moveTo>
                <a:lnTo>
                  <a:pt x="99" y="218"/>
                </a:lnTo>
                <a:lnTo>
                  <a:pt x="90" y="196"/>
                </a:lnTo>
                <a:lnTo>
                  <a:pt x="83" y="178"/>
                </a:lnTo>
                <a:lnTo>
                  <a:pt x="83" y="162"/>
                </a:lnTo>
                <a:lnTo>
                  <a:pt x="74" y="138"/>
                </a:lnTo>
                <a:lnTo>
                  <a:pt x="74" y="121"/>
                </a:lnTo>
                <a:lnTo>
                  <a:pt x="106" y="106"/>
                </a:lnTo>
                <a:lnTo>
                  <a:pt x="115" y="90"/>
                </a:lnTo>
                <a:lnTo>
                  <a:pt x="106" y="90"/>
                </a:lnTo>
                <a:lnTo>
                  <a:pt x="90" y="81"/>
                </a:lnTo>
                <a:lnTo>
                  <a:pt x="90" y="74"/>
                </a:lnTo>
                <a:lnTo>
                  <a:pt x="90" y="66"/>
                </a:lnTo>
                <a:lnTo>
                  <a:pt x="83" y="57"/>
                </a:lnTo>
                <a:lnTo>
                  <a:pt x="74" y="57"/>
                </a:lnTo>
                <a:lnTo>
                  <a:pt x="83" y="16"/>
                </a:lnTo>
                <a:lnTo>
                  <a:pt x="74" y="0"/>
                </a:lnTo>
                <a:lnTo>
                  <a:pt x="65" y="0"/>
                </a:lnTo>
                <a:lnTo>
                  <a:pt x="65" y="16"/>
                </a:lnTo>
                <a:lnTo>
                  <a:pt x="50" y="16"/>
                </a:lnTo>
                <a:lnTo>
                  <a:pt x="41" y="25"/>
                </a:lnTo>
                <a:lnTo>
                  <a:pt x="25" y="57"/>
                </a:lnTo>
                <a:lnTo>
                  <a:pt x="18" y="66"/>
                </a:lnTo>
                <a:lnTo>
                  <a:pt x="10" y="81"/>
                </a:lnTo>
                <a:lnTo>
                  <a:pt x="10" y="90"/>
                </a:lnTo>
                <a:lnTo>
                  <a:pt x="0" y="97"/>
                </a:lnTo>
                <a:lnTo>
                  <a:pt x="18" y="115"/>
                </a:lnTo>
                <a:lnTo>
                  <a:pt x="25" y="131"/>
                </a:lnTo>
                <a:lnTo>
                  <a:pt x="34" y="155"/>
                </a:lnTo>
                <a:lnTo>
                  <a:pt x="25" y="162"/>
                </a:lnTo>
                <a:lnTo>
                  <a:pt x="41" y="171"/>
                </a:lnTo>
                <a:lnTo>
                  <a:pt x="59" y="155"/>
                </a:lnTo>
                <a:lnTo>
                  <a:pt x="65" y="162"/>
                </a:lnTo>
                <a:lnTo>
                  <a:pt x="83" y="211"/>
                </a:lnTo>
                <a:lnTo>
                  <a:pt x="83" y="252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01" name="Freeform 155"/>
          <p:cNvSpPr>
            <a:spLocks/>
          </p:cNvSpPr>
          <p:nvPr>
            <p:custDataLst>
              <p:tags r:id="rId112"/>
            </p:custDataLst>
          </p:nvPr>
        </p:nvSpPr>
        <p:spPr bwMode="gray">
          <a:xfrm>
            <a:off x="6254750" y="4718050"/>
            <a:ext cx="153988" cy="306388"/>
          </a:xfrm>
          <a:custGeom>
            <a:avLst/>
            <a:gdLst>
              <a:gd name="T0" fmla="*/ 2147483647 w 98"/>
              <a:gd name="T1" fmla="*/ 0 h 196"/>
              <a:gd name="T2" fmla="*/ 0 w 98"/>
              <a:gd name="T3" fmla="*/ 2147483647 h 196"/>
              <a:gd name="T4" fmla="*/ 0 w 98"/>
              <a:gd name="T5" fmla="*/ 2147483647 h 196"/>
              <a:gd name="T6" fmla="*/ 2147483647 w 98"/>
              <a:gd name="T7" fmla="*/ 2147483647 h 196"/>
              <a:gd name="T8" fmla="*/ 2147483647 w 98"/>
              <a:gd name="T9" fmla="*/ 2147483647 h 196"/>
              <a:gd name="T10" fmla="*/ 2147483647 w 98"/>
              <a:gd name="T11" fmla="*/ 2147483647 h 196"/>
              <a:gd name="T12" fmla="*/ 2147483647 w 98"/>
              <a:gd name="T13" fmla="*/ 2147483647 h 196"/>
              <a:gd name="T14" fmla="*/ 2147483647 w 98"/>
              <a:gd name="T15" fmla="*/ 2147483647 h 196"/>
              <a:gd name="T16" fmla="*/ 2147483647 w 98"/>
              <a:gd name="T17" fmla="*/ 2147483647 h 196"/>
              <a:gd name="T18" fmla="*/ 2147483647 w 98"/>
              <a:gd name="T19" fmla="*/ 2147483647 h 196"/>
              <a:gd name="T20" fmla="*/ 2147483647 w 98"/>
              <a:gd name="T21" fmla="*/ 2147483647 h 196"/>
              <a:gd name="T22" fmla="*/ 2147483647 w 98"/>
              <a:gd name="T23" fmla="*/ 2147483647 h 196"/>
              <a:gd name="T24" fmla="*/ 2147483647 w 98"/>
              <a:gd name="T25" fmla="*/ 2147483647 h 196"/>
              <a:gd name="T26" fmla="*/ 2147483647 w 98"/>
              <a:gd name="T27" fmla="*/ 2147483647 h 196"/>
              <a:gd name="T28" fmla="*/ 2147483647 w 98"/>
              <a:gd name="T29" fmla="*/ 2147483647 h 196"/>
              <a:gd name="T30" fmla="*/ 2147483647 w 98"/>
              <a:gd name="T31" fmla="*/ 2147483647 h 196"/>
              <a:gd name="T32" fmla="*/ 2147483647 w 98"/>
              <a:gd name="T33" fmla="*/ 2147483647 h 196"/>
              <a:gd name="T34" fmla="*/ 2147483647 w 98"/>
              <a:gd name="T35" fmla="*/ 2147483647 h 196"/>
              <a:gd name="T36" fmla="*/ 2147483647 w 98"/>
              <a:gd name="T37" fmla="*/ 2147483647 h 196"/>
              <a:gd name="T38" fmla="*/ 2147483647 w 98"/>
              <a:gd name="T39" fmla="*/ 2147483647 h 196"/>
              <a:gd name="T40" fmla="*/ 2147483647 w 98"/>
              <a:gd name="T41" fmla="*/ 2147483647 h 196"/>
              <a:gd name="T42" fmla="*/ 2147483647 w 98"/>
              <a:gd name="T43" fmla="*/ 2147483647 h 196"/>
              <a:gd name="T44" fmla="*/ 2147483647 w 98"/>
              <a:gd name="T45" fmla="*/ 2147483647 h 196"/>
              <a:gd name="T46" fmla="*/ 2147483647 w 98"/>
              <a:gd name="T47" fmla="*/ 2147483647 h 196"/>
              <a:gd name="T48" fmla="*/ 2147483647 w 98"/>
              <a:gd name="T49" fmla="*/ 2147483647 h 196"/>
              <a:gd name="T50" fmla="*/ 2147483647 w 98"/>
              <a:gd name="T51" fmla="*/ 2147483647 h 196"/>
              <a:gd name="T52" fmla="*/ 2147483647 w 98"/>
              <a:gd name="T53" fmla="*/ 2147483647 h 196"/>
              <a:gd name="T54" fmla="*/ 2147483647 w 98"/>
              <a:gd name="T55" fmla="*/ 2147483647 h 196"/>
              <a:gd name="T56" fmla="*/ 2147483647 w 98"/>
              <a:gd name="T57" fmla="*/ 2147483647 h 196"/>
              <a:gd name="T58" fmla="*/ 2147483647 w 98"/>
              <a:gd name="T59" fmla="*/ 2147483647 h 196"/>
              <a:gd name="T60" fmla="*/ 2147483647 w 98"/>
              <a:gd name="T61" fmla="*/ 2147483647 h 196"/>
              <a:gd name="T62" fmla="*/ 2147483647 w 98"/>
              <a:gd name="T63" fmla="*/ 2147483647 h 196"/>
              <a:gd name="T64" fmla="*/ 2147483647 w 98"/>
              <a:gd name="T65" fmla="*/ 2147483647 h 196"/>
              <a:gd name="T66" fmla="*/ 2147483647 w 98"/>
              <a:gd name="T67" fmla="*/ 2147483647 h 196"/>
              <a:gd name="T68" fmla="*/ 2147483647 w 98"/>
              <a:gd name="T69" fmla="*/ 2147483647 h 196"/>
              <a:gd name="T70" fmla="*/ 2147483647 w 98"/>
              <a:gd name="T71" fmla="*/ 2147483647 h 196"/>
              <a:gd name="T72" fmla="*/ 2147483647 w 98"/>
              <a:gd name="T73" fmla="*/ 2147483647 h 196"/>
              <a:gd name="T74" fmla="*/ 2147483647 w 98"/>
              <a:gd name="T75" fmla="*/ 2147483647 h 196"/>
              <a:gd name="T76" fmla="*/ 2147483647 w 98"/>
              <a:gd name="T77" fmla="*/ 0 h 19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98"/>
              <a:gd name="T118" fmla="*/ 0 h 196"/>
              <a:gd name="T119" fmla="*/ 98 w 98"/>
              <a:gd name="T120" fmla="*/ 196 h 19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98" h="196">
                <a:moveTo>
                  <a:pt x="32" y="0"/>
                </a:moveTo>
                <a:lnTo>
                  <a:pt x="0" y="15"/>
                </a:lnTo>
                <a:lnTo>
                  <a:pt x="0" y="32"/>
                </a:lnTo>
                <a:lnTo>
                  <a:pt x="9" y="56"/>
                </a:lnTo>
                <a:lnTo>
                  <a:pt x="9" y="72"/>
                </a:lnTo>
                <a:lnTo>
                  <a:pt x="16" y="90"/>
                </a:lnTo>
                <a:lnTo>
                  <a:pt x="25" y="112"/>
                </a:lnTo>
                <a:lnTo>
                  <a:pt x="9" y="146"/>
                </a:lnTo>
                <a:lnTo>
                  <a:pt x="9" y="153"/>
                </a:lnTo>
                <a:lnTo>
                  <a:pt x="9" y="162"/>
                </a:lnTo>
                <a:lnTo>
                  <a:pt x="32" y="186"/>
                </a:lnTo>
                <a:lnTo>
                  <a:pt x="32" y="177"/>
                </a:lnTo>
                <a:lnTo>
                  <a:pt x="41" y="186"/>
                </a:lnTo>
                <a:lnTo>
                  <a:pt x="50" y="195"/>
                </a:lnTo>
                <a:lnTo>
                  <a:pt x="56" y="186"/>
                </a:lnTo>
                <a:lnTo>
                  <a:pt x="50" y="177"/>
                </a:lnTo>
                <a:lnTo>
                  <a:pt x="32" y="177"/>
                </a:lnTo>
                <a:lnTo>
                  <a:pt x="25" y="146"/>
                </a:lnTo>
                <a:lnTo>
                  <a:pt x="16" y="146"/>
                </a:lnTo>
                <a:lnTo>
                  <a:pt x="16" y="137"/>
                </a:lnTo>
                <a:lnTo>
                  <a:pt x="25" y="112"/>
                </a:lnTo>
                <a:lnTo>
                  <a:pt x="25" y="97"/>
                </a:lnTo>
                <a:lnTo>
                  <a:pt x="41" y="97"/>
                </a:lnTo>
                <a:lnTo>
                  <a:pt x="41" y="105"/>
                </a:lnTo>
                <a:lnTo>
                  <a:pt x="50" y="105"/>
                </a:lnTo>
                <a:lnTo>
                  <a:pt x="65" y="122"/>
                </a:lnTo>
                <a:lnTo>
                  <a:pt x="65" y="112"/>
                </a:lnTo>
                <a:lnTo>
                  <a:pt x="56" y="97"/>
                </a:lnTo>
                <a:lnTo>
                  <a:pt x="65" y="80"/>
                </a:lnTo>
                <a:lnTo>
                  <a:pt x="97" y="80"/>
                </a:lnTo>
                <a:lnTo>
                  <a:pt x="97" y="65"/>
                </a:lnTo>
                <a:lnTo>
                  <a:pt x="90" y="56"/>
                </a:lnTo>
                <a:lnTo>
                  <a:pt x="81" y="40"/>
                </a:lnTo>
                <a:lnTo>
                  <a:pt x="75" y="25"/>
                </a:lnTo>
                <a:lnTo>
                  <a:pt x="56" y="32"/>
                </a:lnTo>
                <a:lnTo>
                  <a:pt x="41" y="40"/>
                </a:lnTo>
                <a:lnTo>
                  <a:pt x="41" y="15"/>
                </a:lnTo>
                <a:lnTo>
                  <a:pt x="32" y="9"/>
                </a:lnTo>
                <a:lnTo>
                  <a:pt x="32" y="0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02" name="Freeform 156"/>
          <p:cNvSpPr>
            <a:spLocks/>
          </p:cNvSpPr>
          <p:nvPr>
            <p:custDataLst>
              <p:tags r:id="rId113"/>
            </p:custDataLst>
          </p:nvPr>
        </p:nvSpPr>
        <p:spPr bwMode="gray">
          <a:xfrm>
            <a:off x="6305550" y="4678363"/>
            <a:ext cx="142875" cy="182562"/>
          </a:xfrm>
          <a:custGeom>
            <a:avLst/>
            <a:gdLst>
              <a:gd name="T0" fmla="*/ 2147483647 w 91"/>
              <a:gd name="T1" fmla="*/ 2147483647 h 116"/>
              <a:gd name="T2" fmla="*/ 2147483647 w 91"/>
              <a:gd name="T3" fmla="*/ 2147483647 h 116"/>
              <a:gd name="T4" fmla="*/ 2147483647 w 91"/>
              <a:gd name="T5" fmla="*/ 2147483647 h 116"/>
              <a:gd name="T6" fmla="*/ 2147483647 w 91"/>
              <a:gd name="T7" fmla="*/ 2147483647 h 116"/>
              <a:gd name="T8" fmla="*/ 2147483647 w 91"/>
              <a:gd name="T9" fmla="*/ 2147483647 h 116"/>
              <a:gd name="T10" fmla="*/ 2147483647 w 91"/>
              <a:gd name="T11" fmla="*/ 2147483647 h 116"/>
              <a:gd name="T12" fmla="*/ 2147483647 w 91"/>
              <a:gd name="T13" fmla="*/ 2147483647 h 116"/>
              <a:gd name="T14" fmla="*/ 2147483647 w 91"/>
              <a:gd name="T15" fmla="*/ 2147483647 h 116"/>
              <a:gd name="T16" fmla="*/ 2147483647 w 91"/>
              <a:gd name="T17" fmla="*/ 0 h 116"/>
              <a:gd name="T18" fmla="*/ 2147483647 w 91"/>
              <a:gd name="T19" fmla="*/ 0 h 116"/>
              <a:gd name="T20" fmla="*/ 2147483647 w 91"/>
              <a:gd name="T21" fmla="*/ 2147483647 h 116"/>
              <a:gd name="T22" fmla="*/ 2147483647 w 91"/>
              <a:gd name="T23" fmla="*/ 2147483647 h 116"/>
              <a:gd name="T24" fmla="*/ 2147483647 w 91"/>
              <a:gd name="T25" fmla="*/ 2147483647 h 116"/>
              <a:gd name="T26" fmla="*/ 0 w 91"/>
              <a:gd name="T27" fmla="*/ 2147483647 h 116"/>
              <a:gd name="T28" fmla="*/ 0 w 91"/>
              <a:gd name="T29" fmla="*/ 2147483647 h 116"/>
              <a:gd name="T30" fmla="*/ 2147483647 w 91"/>
              <a:gd name="T31" fmla="*/ 2147483647 h 116"/>
              <a:gd name="T32" fmla="*/ 2147483647 w 91"/>
              <a:gd name="T33" fmla="*/ 2147483647 h 116"/>
              <a:gd name="T34" fmla="*/ 2147483647 w 91"/>
              <a:gd name="T35" fmla="*/ 2147483647 h 116"/>
              <a:gd name="T36" fmla="*/ 2147483647 w 91"/>
              <a:gd name="T37" fmla="*/ 2147483647 h 116"/>
              <a:gd name="T38" fmla="*/ 2147483647 w 91"/>
              <a:gd name="T39" fmla="*/ 2147483647 h 116"/>
              <a:gd name="T40" fmla="*/ 2147483647 w 91"/>
              <a:gd name="T41" fmla="*/ 2147483647 h 116"/>
              <a:gd name="T42" fmla="*/ 2147483647 w 91"/>
              <a:gd name="T43" fmla="*/ 2147483647 h 116"/>
              <a:gd name="T44" fmla="*/ 2147483647 w 91"/>
              <a:gd name="T45" fmla="*/ 2147483647 h 116"/>
              <a:gd name="T46" fmla="*/ 2147483647 w 91"/>
              <a:gd name="T47" fmla="*/ 2147483647 h 116"/>
              <a:gd name="T48" fmla="*/ 2147483647 w 91"/>
              <a:gd name="T49" fmla="*/ 2147483647 h 116"/>
              <a:gd name="T50" fmla="*/ 2147483647 w 91"/>
              <a:gd name="T51" fmla="*/ 2147483647 h 11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91"/>
              <a:gd name="T79" fmla="*/ 0 h 116"/>
              <a:gd name="T80" fmla="*/ 91 w 91"/>
              <a:gd name="T81" fmla="*/ 116 h 11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91" h="116">
                <a:moveTo>
                  <a:pt x="90" y="105"/>
                </a:moveTo>
                <a:lnTo>
                  <a:pt x="90" y="90"/>
                </a:lnTo>
                <a:lnTo>
                  <a:pt x="74" y="74"/>
                </a:lnTo>
                <a:lnTo>
                  <a:pt x="74" y="65"/>
                </a:lnTo>
                <a:lnTo>
                  <a:pt x="43" y="40"/>
                </a:lnTo>
                <a:lnTo>
                  <a:pt x="58" y="34"/>
                </a:lnTo>
                <a:lnTo>
                  <a:pt x="49" y="25"/>
                </a:lnTo>
                <a:lnTo>
                  <a:pt x="33" y="16"/>
                </a:lnTo>
                <a:lnTo>
                  <a:pt x="24" y="0"/>
                </a:lnTo>
                <a:lnTo>
                  <a:pt x="18" y="0"/>
                </a:lnTo>
                <a:lnTo>
                  <a:pt x="18" y="16"/>
                </a:lnTo>
                <a:lnTo>
                  <a:pt x="9" y="16"/>
                </a:lnTo>
                <a:lnTo>
                  <a:pt x="9" y="9"/>
                </a:lnTo>
                <a:lnTo>
                  <a:pt x="0" y="25"/>
                </a:lnTo>
                <a:lnTo>
                  <a:pt x="0" y="34"/>
                </a:lnTo>
                <a:lnTo>
                  <a:pt x="9" y="40"/>
                </a:lnTo>
                <a:lnTo>
                  <a:pt x="9" y="65"/>
                </a:lnTo>
                <a:lnTo>
                  <a:pt x="24" y="57"/>
                </a:lnTo>
                <a:lnTo>
                  <a:pt x="43" y="50"/>
                </a:lnTo>
                <a:lnTo>
                  <a:pt x="49" y="65"/>
                </a:lnTo>
                <a:lnTo>
                  <a:pt x="58" y="81"/>
                </a:lnTo>
                <a:lnTo>
                  <a:pt x="65" y="90"/>
                </a:lnTo>
                <a:lnTo>
                  <a:pt x="65" y="105"/>
                </a:lnTo>
                <a:lnTo>
                  <a:pt x="74" y="115"/>
                </a:lnTo>
                <a:lnTo>
                  <a:pt x="74" y="105"/>
                </a:lnTo>
                <a:lnTo>
                  <a:pt x="90" y="105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03" name="Freeform 157"/>
          <p:cNvSpPr>
            <a:spLocks/>
          </p:cNvSpPr>
          <p:nvPr>
            <p:custDataLst>
              <p:tags r:id="rId114"/>
            </p:custDataLst>
          </p:nvPr>
        </p:nvSpPr>
        <p:spPr bwMode="gray">
          <a:xfrm>
            <a:off x="6343650" y="4667250"/>
            <a:ext cx="144463" cy="292100"/>
          </a:xfrm>
          <a:custGeom>
            <a:avLst/>
            <a:gdLst>
              <a:gd name="T0" fmla="*/ 0 w 92"/>
              <a:gd name="T1" fmla="*/ 2147483647 h 186"/>
              <a:gd name="T2" fmla="*/ 0 w 92"/>
              <a:gd name="T3" fmla="*/ 0 h 186"/>
              <a:gd name="T4" fmla="*/ 2147483647 w 92"/>
              <a:gd name="T5" fmla="*/ 2147483647 h 186"/>
              <a:gd name="T6" fmla="*/ 2147483647 w 92"/>
              <a:gd name="T7" fmla="*/ 0 h 186"/>
              <a:gd name="T8" fmla="*/ 2147483647 w 92"/>
              <a:gd name="T9" fmla="*/ 0 h 186"/>
              <a:gd name="T10" fmla="*/ 2147483647 w 92"/>
              <a:gd name="T11" fmla="*/ 2147483647 h 186"/>
              <a:gd name="T12" fmla="*/ 2147483647 w 92"/>
              <a:gd name="T13" fmla="*/ 2147483647 h 186"/>
              <a:gd name="T14" fmla="*/ 2147483647 w 92"/>
              <a:gd name="T15" fmla="*/ 2147483647 h 186"/>
              <a:gd name="T16" fmla="*/ 2147483647 w 92"/>
              <a:gd name="T17" fmla="*/ 2147483647 h 186"/>
              <a:gd name="T18" fmla="*/ 2147483647 w 92"/>
              <a:gd name="T19" fmla="*/ 2147483647 h 186"/>
              <a:gd name="T20" fmla="*/ 2147483647 w 92"/>
              <a:gd name="T21" fmla="*/ 2147483647 h 186"/>
              <a:gd name="T22" fmla="*/ 2147483647 w 92"/>
              <a:gd name="T23" fmla="*/ 2147483647 h 186"/>
              <a:gd name="T24" fmla="*/ 2147483647 w 92"/>
              <a:gd name="T25" fmla="*/ 2147483647 h 186"/>
              <a:gd name="T26" fmla="*/ 2147483647 w 92"/>
              <a:gd name="T27" fmla="*/ 2147483647 h 186"/>
              <a:gd name="T28" fmla="*/ 2147483647 w 92"/>
              <a:gd name="T29" fmla="*/ 2147483647 h 186"/>
              <a:gd name="T30" fmla="*/ 2147483647 w 92"/>
              <a:gd name="T31" fmla="*/ 2147483647 h 186"/>
              <a:gd name="T32" fmla="*/ 2147483647 w 92"/>
              <a:gd name="T33" fmla="*/ 2147483647 h 186"/>
              <a:gd name="T34" fmla="*/ 2147483647 w 92"/>
              <a:gd name="T35" fmla="*/ 2147483647 h 186"/>
              <a:gd name="T36" fmla="*/ 2147483647 w 92"/>
              <a:gd name="T37" fmla="*/ 2147483647 h 186"/>
              <a:gd name="T38" fmla="*/ 2147483647 w 92"/>
              <a:gd name="T39" fmla="*/ 2147483647 h 186"/>
              <a:gd name="T40" fmla="*/ 2147483647 w 92"/>
              <a:gd name="T41" fmla="*/ 2147483647 h 186"/>
              <a:gd name="T42" fmla="*/ 2147483647 w 92"/>
              <a:gd name="T43" fmla="*/ 2147483647 h 186"/>
              <a:gd name="T44" fmla="*/ 2147483647 w 92"/>
              <a:gd name="T45" fmla="*/ 2147483647 h 186"/>
              <a:gd name="T46" fmla="*/ 2147483647 w 92"/>
              <a:gd name="T47" fmla="*/ 2147483647 h 186"/>
              <a:gd name="T48" fmla="*/ 2147483647 w 92"/>
              <a:gd name="T49" fmla="*/ 2147483647 h 186"/>
              <a:gd name="T50" fmla="*/ 2147483647 w 92"/>
              <a:gd name="T51" fmla="*/ 2147483647 h 186"/>
              <a:gd name="T52" fmla="*/ 2147483647 w 92"/>
              <a:gd name="T53" fmla="*/ 2147483647 h 186"/>
              <a:gd name="T54" fmla="*/ 2147483647 w 92"/>
              <a:gd name="T55" fmla="*/ 2147483647 h 186"/>
              <a:gd name="T56" fmla="*/ 2147483647 w 92"/>
              <a:gd name="T57" fmla="*/ 2147483647 h 186"/>
              <a:gd name="T58" fmla="*/ 2147483647 w 92"/>
              <a:gd name="T59" fmla="*/ 2147483647 h 186"/>
              <a:gd name="T60" fmla="*/ 0 w 92"/>
              <a:gd name="T61" fmla="*/ 2147483647 h 18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92"/>
              <a:gd name="T94" fmla="*/ 0 h 186"/>
              <a:gd name="T95" fmla="*/ 92 w 92"/>
              <a:gd name="T96" fmla="*/ 186 h 18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92" h="186">
                <a:moveTo>
                  <a:pt x="0" y="7"/>
                </a:moveTo>
                <a:lnTo>
                  <a:pt x="0" y="0"/>
                </a:lnTo>
                <a:lnTo>
                  <a:pt x="9" y="7"/>
                </a:lnTo>
                <a:lnTo>
                  <a:pt x="41" y="0"/>
                </a:lnTo>
                <a:lnTo>
                  <a:pt x="59" y="0"/>
                </a:lnTo>
                <a:lnTo>
                  <a:pt x="59" y="16"/>
                </a:lnTo>
                <a:lnTo>
                  <a:pt x="74" y="16"/>
                </a:lnTo>
                <a:lnTo>
                  <a:pt x="59" y="23"/>
                </a:lnTo>
                <a:lnTo>
                  <a:pt x="50" y="41"/>
                </a:lnTo>
                <a:lnTo>
                  <a:pt x="41" y="47"/>
                </a:lnTo>
                <a:lnTo>
                  <a:pt x="82" y="104"/>
                </a:lnTo>
                <a:lnTo>
                  <a:pt x="91" y="122"/>
                </a:lnTo>
                <a:lnTo>
                  <a:pt x="82" y="154"/>
                </a:lnTo>
                <a:lnTo>
                  <a:pt x="66" y="162"/>
                </a:lnTo>
                <a:lnTo>
                  <a:pt x="59" y="162"/>
                </a:lnTo>
                <a:lnTo>
                  <a:pt x="50" y="178"/>
                </a:lnTo>
                <a:lnTo>
                  <a:pt x="34" y="185"/>
                </a:lnTo>
                <a:lnTo>
                  <a:pt x="34" y="169"/>
                </a:lnTo>
                <a:lnTo>
                  <a:pt x="25" y="162"/>
                </a:lnTo>
                <a:lnTo>
                  <a:pt x="41" y="154"/>
                </a:lnTo>
                <a:lnTo>
                  <a:pt x="50" y="144"/>
                </a:lnTo>
                <a:lnTo>
                  <a:pt x="66" y="137"/>
                </a:lnTo>
                <a:lnTo>
                  <a:pt x="66" y="112"/>
                </a:lnTo>
                <a:lnTo>
                  <a:pt x="66" y="97"/>
                </a:lnTo>
                <a:lnTo>
                  <a:pt x="50" y="81"/>
                </a:lnTo>
                <a:lnTo>
                  <a:pt x="50" y="72"/>
                </a:lnTo>
                <a:lnTo>
                  <a:pt x="19" y="47"/>
                </a:lnTo>
                <a:lnTo>
                  <a:pt x="34" y="41"/>
                </a:lnTo>
                <a:lnTo>
                  <a:pt x="25" y="32"/>
                </a:lnTo>
                <a:lnTo>
                  <a:pt x="9" y="23"/>
                </a:lnTo>
                <a:lnTo>
                  <a:pt x="0" y="7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04" name="Freeform 158"/>
          <p:cNvSpPr>
            <a:spLocks/>
          </p:cNvSpPr>
          <p:nvPr>
            <p:custDataLst>
              <p:tags r:id="rId115"/>
            </p:custDataLst>
          </p:nvPr>
        </p:nvSpPr>
        <p:spPr bwMode="gray">
          <a:xfrm>
            <a:off x="6343650" y="4843463"/>
            <a:ext cx="104775" cy="80962"/>
          </a:xfrm>
          <a:custGeom>
            <a:avLst/>
            <a:gdLst>
              <a:gd name="T0" fmla="*/ 2147483647 w 67"/>
              <a:gd name="T1" fmla="*/ 2147483647 h 51"/>
              <a:gd name="T2" fmla="*/ 2147483647 w 67"/>
              <a:gd name="T3" fmla="*/ 2147483647 h 51"/>
              <a:gd name="T4" fmla="*/ 2147483647 w 67"/>
              <a:gd name="T5" fmla="*/ 2147483647 h 51"/>
              <a:gd name="T6" fmla="*/ 2147483647 w 67"/>
              <a:gd name="T7" fmla="*/ 2147483647 h 51"/>
              <a:gd name="T8" fmla="*/ 2147483647 w 67"/>
              <a:gd name="T9" fmla="*/ 0 h 51"/>
              <a:gd name="T10" fmla="*/ 2147483647 w 67"/>
              <a:gd name="T11" fmla="*/ 0 h 51"/>
              <a:gd name="T12" fmla="*/ 2147483647 w 67"/>
              <a:gd name="T13" fmla="*/ 2147483647 h 51"/>
              <a:gd name="T14" fmla="*/ 2147483647 w 67"/>
              <a:gd name="T15" fmla="*/ 0 h 51"/>
              <a:gd name="T16" fmla="*/ 2147483647 w 67"/>
              <a:gd name="T17" fmla="*/ 0 h 51"/>
              <a:gd name="T18" fmla="*/ 0 w 67"/>
              <a:gd name="T19" fmla="*/ 2147483647 h 51"/>
              <a:gd name="T20" fmla="*/ 2147483647 w 67"/>
              <a:gd name="T21" fmla="*/ 2147483647 h 51"/>
              <a:gd name="T22" fmla="*/ 2147483647 w 67"/>
              <a:gd name="T23" fmla="*/ 2147483647 h 51"/>
              <a:gd name="T24" fmla="*/ 2147483647 w 67"/>
              <a:gd name="T25" fmla="*/ 2147483647 h 51"/>
              <a:gd name="T26" fmla="*/ 2147483647 w 67"/>
              <a:gd name="T27" fmla="*/ 2147483647 h 51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67"/>
              <a:gd name="T43" fmla="*/ 0 h 51"/>
              <a:gd name="T44" fmla="*/ 67 w 67"/>
              <a:gd name="T45" fmla="*/ 51 h 51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67" h="51">
                <a:moveTo>
                  <a:pt x="25" y="50"/>
                </a:moveTo>
                <a:lnTo>
                  <a:pt x="41" y="42"/>
                </a:lnTo>
                <a:lnTo>
                  <a:pt x="50" y="32"/>
                </a:lnTo>
                <a:lnTo>
                  <a:pt x="66" y="25"/>
                </a:lnTo>
                <a:lnTo>
                  <a:pt x="66" y="0"/>
                </a:lnTo>
                <a:lnTo>
                  <a:pt x="50" y="0"/>
                </a:lnTo>
                <a:lnTo>
                  <a:pt x="50" y="10"/>
                </a:lnTo>
                <a:lnTo>
                  <a:pt x="41" y="0"/>
                </a:lnTo>
                <a:lnTo>
                  <a:pt x="9" y="0"/>
                </a:lnTo>
                <a:lnTo>
                  <a:pt x="0" y="17"/>
                </a:lnTo>
                <a:lnTo>
                  <a:pt x="9" y="32"/>
                </a:lnTo>
                <a:lnTo>
                  <a:pt x="9" y="42"/>
                </a:lnTo>
                <a:lnTo>
                  <a:pt x="9" y="50"/>
                </a:lnTo>
                <a:lnTo>
                  <a:pt x="25" y="50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05" name="Freeform 159"/>
          <p:cNvSpPr>
            <a:spLocks/>
          </p:cNvSpPr>
          <p:nvPr>
            <p:custDataLst>
              <p:tags r:id="rId116"/>
            </p:custDataLst>
          </p:nvPr>
        </p:nvSpPr>
        <p:spPr bwMode="gray">
          <a:xfrm>
            <a:off x="6305550" y="4995863"/>
            <a:ext cx="77788" cy="115887"/>
          </a:xfrm>
          <a:custGeom>
            <a:avLst/>
            <a:gdLst>
              <a:gd name="T0" fmla="*/ 2147483647 w 50"/>
              <a:gd name="T1" fmla="*/ 2147483647 h 75"/>
              <a:gd name="T2" fmla="*/ 2147483647 w 50"/>
              <a:gd name="T3" fmla="*/ 2147483647 h 75"/>
              <a:gd name="T4" fmla="*/ 2147483647 w 50"/>
              <a:gd name="T5" fmla="*/ 2147483647 h 75"/>
              <a:gd name="T6" fmla="*/ 0 w 50"/>
              <a:gd name="T7" fmla="*/ 0 h 75"/>
              <a:gd name="T8" fmla="*/ 0 w 50"/>
              <a:gd name="T9" fmla="*/ 2147483647 h 75"/>
              <a:gd name="T10" fmla="*/ 0 w 50"/>
              <a:gd name="T11" fmla="*/ 2147483647 h 75"/>
              <a:gd name="T12" fmla="*/ 2147483647 w 50"/>
              <a:gd name="T13" fmla="*/ 2147483647 h 75"/>
              <a:gd name="T14" fmla="*/ 2147483647 w 50"/>
              <a:gd name="T15" fmla="*/ 2147483647 h 75"/>
              <a:gd name="T16" fmla="*/ 2147483647 w 50"/>
              <a:gd name="T17" fmla="*/ 2147483647 h 75"/>
              <a:gd name="T18" fmla="*/ 2147483647 w 50"/>
              <a:gd name="T19" fmla="*/ 2147483647 h 75"/>
              <a:gd name="T20" fmla="*/ 2147483647 w 50"/>
              <a:gd name="T21" fmla="*/ 2147483647 h 75"/>
              <a:gd name="T22" fmla="*/ 2147483647 w 50"/>
              <a:gd name="T23" fmla="*/ 2147483647 h 7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50"/>
              <a:gd name="T37" fmla="*/ 0 h 75"/>
              <a:gd name="T38" fmla="*/ 50 w 50"/>
              <a:gd name="T39" fmla="*/ 75 h 7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50" h="75">
                <a:moveTo>
                  <a:pt x="24" y="9"/>
                </a:moveTo>
                <a:lnTo>
                  <a:pt x="18" y="18"/>
                </a:lnTo>
                <a:lnTo>
                  <a:pt x="9" y="9"/>
                </a:lnTo>
                <a:lnTo>
                  <a:pt x="0" y="0"/>
                </a:lnTo>
                <a:lnTo>
                  <a:pt x="0" y="9"/>
                </a:lnTo>
                <a:lnTo>
                  <a:pt x="0" y="34"/>
                </a:lnTo>
                <a:lnTo>
                  <a:pt x="18" y="50"/>
                </a:lnTo>
                <a:lnTo>
                  <a:pt x="43" y="74"/>
                </a:lnTo>
                <a:lnTo>
                  <a:pt x="49" y="74"/>
                </a:lnTo>
                <a:lnTo>
                  <a:pt x="43" y="50"/>
                </a:lnTo>
                <a:lnTo>
                  <a:pt x="43" y="25"/>
                </a:lnTo>
                <a:lnTo>
                  <a:pt x="24" y="9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06" name="Freeform 160"/>
          <p:cNvSpPr>
            <a:spLocks/>
          </p:cNvSpPr>
          <p:nvPr>
            <p:custDataLst>
              <p:tags r:id="rId117"/>
            </p:custDataLst>
          </p:nvPr>
        </p:nvSpPr>
        <p:spPr bwMode="gray">
          <a:xfrm>
            <a:off x="6486525" y="4995863"/>
            <a:ext cx="206375" cy="115887"/>
          </a:xfrm>
          <a:custGeom>
            <a:avLst/>
            <a:gdLst>
              <a:gd name="T0" fmla="*/ 2147483647 w 131"/>
              <a:gd name="T1" fmla="*/ 2147483647 h 75"/>
              <a:gd name="T2" fmla="*/ 2147483647 w 131"/>
              <a:gd name="T3" fmla="*/ 2147483647 h 75"/>
              <a:gd name="T4" fmla="*/ 2147483647 w 131"/>
              <a:gd name="T5" fmla="*/ 2147483647 h 75"/>
              <a:gd name="T6" fmla="*/ 2147483647 w 131"/>
              <a:gd name="T7" fmla="*/ 2147483647 h 75"/>
              <a:gd name="T8" fmla="*/ 2147483647 w 131"/>
              <a:gd name="T9" fmla="*/ 2147483647 h 75"/>
              <a:gd name="T10" fmla="*/ 2147483647 w 131"/>
              <a:gd name="T11" fmla="*/ 2147483647 h 75"/>
              <a:gd name="T12" fmla="*/ 2147483647 w 131"/>
              <a:gd name="T13" fmla="*/ 2147483647 h 75"/>
              <a:gd name="T14" fmla="*/ 2147483647 w 131"/>
              <a:gd name="T15" fmla="*/ 2147483647 h 75"/>
              <a:gd name="T16" fmla="*/ 0 w 131"/>
              <a:gd name="T17" fmla="*/ 2147483647 h 75"/>
              <a:gd name="T18" fmla="*/ 2147483647 w 131"/>
              <a:gd name="T19" fmla="*/ 2147483647 h 75"/>
              <a:gd name="T20" fmla="*/ 2147483647 w 131"/>
              <a:gd name="T21" fmla="*/ 2147483647 h 75"/>
              <a:gd name="T22" fmla="*/ 2147483647 w 131"/>
              <a:gd name="T23" fmla="*/ 2147483647 h 75"/>
              <a:gd name="T24" fmla="*/ 2147483647 w 131"/>
              <a:gd name="T25" fmla="*/ 2147483647 h 75"/>
              <a:gd name="T26" fmla="*/ 2147483647 w 131"/>
              <a:gd name="T27" fmla="*/ 2147483647 h 75"/>
              <a:gd name="T28" fmla="*/ 2147483647 w 131"/>
              <a:gd name="T29" fmla="*/ 2147483647 h 75"/>
              <a:gd name="T30" fmla="*/ 2147483647 w 131"/>
              <a:gd name="T31" fmla="*/ 2147483647 h 75"/>
              <a:gd name="T32" fmla="*/ 2147483647 w 131"/>
              <a:gd name="T33" fmla="*/ 2147483647 h 75"/>
              <a:gd name="T34" fmla="*/ 2147483647 w 131"/>
              <a:gd name="T35" fmla="*/ 2147483647 h 75"/>
              <a:gd name="T36" fmla="*/ 2147483647 w 131"/>
              <a:gd name="T37" fmla="*/ 2147483647 h 75"/>
              <a:gd name="T38" fmla="*/ 2147483647 w 131"/>
              <a:gd name="T39" fmla="*/ 2147483647 h 75"/>
              <a:gd name="T40" fmla="*/ 2147483647 w 131"/>
              <a:gd name="T41" fmla="*/ 2147483647 h 75"/>
              <a:gd name="T42" fmla="*/ 2147483647 w 131"/>
              <a:gd name="T43" fmla="*/ 0 h 75"/>
              <a:gd name="T44" fmla="*/ 2147483647 w 131"/>
              <a:gd name="T45" fmla="*/ 2147483647 h 75"/>
              <a:gd name="T46" fmla="*/ 2147483647 w 131"/>
              <a:gd name="T47" fmla="*/ 2147483647 h 7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31"/>
              <a:gd name="T73" fmla="*/ 0 h 75"/>
              <a:gd name="T74" fmla="*/ 131 w 131"/>
              <a:gd name="T75" fmla="*/ 75 h 75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31" h="75">
                <a:moveTo>
                  <a:pt x="71" y="25"/>
                </a:moveTo>
                <a:lnTo>
                  <a:pt x="80" y="25"/>
                </a:lnTo>
                <a:lnTo>
                  <a:pt x="71" y="34"/>
                </a:lnTo>
                <a:lnTo>
                  <a:pt x="65" y="34"/>
                </a:lnTo>
                <a:lnTo>
                  <a:pt x="56" y="34"/>
                </a:lnTo>
                <a:lnTo>
                  <a:pt x="40" y="50"/>
                </a:lnTo>
                <a:lnTo>
                  <a:pt x="25" y="50"/>
                </a:lnTo>
                <a:lnTo>
                  <a:pt x="25" y="65"/>
                </a:lnTo>
                <a:lnTo>
                  <a:pt x="0" y="65"/>
                </a:lnTo>
                <a:lnTo>
                  <a:pt x="15" y="74"/>
                </a:lnTo>
                <a:lnTo>
                  <a:pt x="31" y="74"/>
                </a:lnTo>
                <a:lnTo>
                  <a:pt x="40" y="65"/>
                </a:lnTo>
                <a:lnTo>
                  <a:pt x="56" y="74"/>
                </a:lnTo>
                <a:lnTo>
                  <a:pt x="65" y="65"/>
                </a:lnTo>
                <a:lnTo>
                  <a:pt x="89" y="34"/>
                </a:lnTo>
                <a:lnTo>
                  <a:pt x="112" y="34"/>
                </a:lnTo>
                <a:lnTo>
                  <a:pt x="120" y="34"/>
                </a:lnTo>
                <a:lnTo>
                  <a:pt x="112" y="25"/>
                </a:lnTo>
                <a:lnTo>
                  <a:pt x="130" y="25"/>
                </a:lnTo>
                <a:lnTo>
                  <a:pt x="105" y="18"/>
                </a:lnTo>
                <a:lnTo>
                  <a:pt x="105" y="9"/>
                </a:lnTo>
                <a:lnTo>
                  <a:pt x="96" y="0"/>
                </a:lnTo>
                <a:lnTo>
                  <a:pt x="80" y="18"/>
                </a:lnTo>
                <a:lnTo>
                  <a:pt x="71" y="25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07" name="Freeform 161"/>
          <p:cNvSpPr>
            <a:spLocks/>
          </p:cNvSpPr>
          <p:nvPr>
            <p:custDataLst>
              <p:tags r:id="rId118"/>
            </p:custDataLst>
          </p:nvPr>
        </p:nvSpPr>
        <p:spPr bwMode="gray">
          <a:xfrm>
            <a:off x="6575425" y="5033963"/>
            <a:ext cx="38100" cy="26987"/>
          </a:xfrm>
          <a:custGeom>
            <a:avLst/>
            <a:gdLst>
              <a:gd name="T0" fmla="*/ 0 w 25"/>
              <a:gd name="T1" fmla="*/ 2147483647 h 17"/>
              <a:gd name="T2" fmla="*/ 2147483647 w 25"/>
              <a:gd name="T3" fmla="*/ 2147483647 h 17"/>
              <a:gd name="T4" fmla="*/ 2147483647 w 25"/>
              <a:gd name="T5" fmla="*/ 2147483647 h 17"/>
              <a:gd name="T6" fmla="*/ 2147483647 w 25"/>
              <a:gd name="T7" fmla="*/ 0 h 17"/>
              <a:gd name="T8" fmla="*/ 2147483647 w 25"/>
              <a:gd name="T9" fmla="*/ 0 h 17"/>
              <a:gd name="T10" fmla="*/ 0 w 25"/>
              <a:gd name="T11" fmla="*/ 2147483647 h 1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5"/>
              <a:gd name="T19" fmla="*/ 0 h 17"/>
              <a:gd name="T20" fmla="*/ 25 w 25"/>
              <a:gd name="T21" fmla="*/ 17 h 1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5" h="17">
                <a:moveTo>
                  <a:pt x="0" y="16"/>
                </a:moveTo>
                <a:lnTo>
                  <a:pt x="9" y="16"/>
                </a:lnTo>
                <a:lnTo>
                  <a:pt x="15" y="16"/>
                </a:lnTo>
                <a:lnTo>
                  <a:pt x="24" y="0"/>
                </a:lnTo>
                <a:lnTo>
                  <a:pt x="15" y="0"/>
                </a:lnTo>
                <a:lnTo>
                  <a:pt x="0" y="16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08" name="Freeform 162"/>
          <p:cNvSpPr>
            <a:spLocks/>
          </p:cNvSpPr>
          <p:nvPr>
            <p:custDataLst>
              <p:tags r:id="rId119"/>
            </p:custDataLst>
          </p:nvPr>
        </p:nvSpPr>
        <p:spPr bwMode="gray">
          <a:xfrm>
            <a:off x="6472238" y="5048250"/>
            <a:ext cx="204787" cy="166688"/>
          </a:xfrm>
          <a:custGeom>
            <a:avLst/>
            <a:gdLst>
              <a:gd name="T0" fmla="*/ 2147483647 w 130"/>
              <a:gd name="T1" fmla="*/ 2147483647 h 106"/>
              <a:gd name="T2" fmla="*/ 2147483647 w 130"/>
              <a:gd name="T3" fmla="*/ 2147483647 h 106"/>
              <a:gd name="T4" fmla="*/ 2147483647 w 130"/>
              <a:gd name="T5" fmla="*/ 2147483647 h 106"/>
              <a:gd name="T6" fmla="*/ 2147483647 w 130"/>
              <a:gd name="T7" fmla="*/ 2147483647 h 106"/>
              <a:gd name="T8" fmla="*/ 2147483647 w 130"/>
              <a:gd name="T9" fmla="*/ 2147483647 h 106"/>
              <a:gd name="T10" fmla="*/ 2147483647 w 130"/>
              <a:gd name="T11" fmla="*/ 2147483647 h 106"/>
              <a:gd name="T12" fmla="*/ 2147483647 w 130"/>
              <a:gd name="T13" fmla="*/ 0 h 106"/>
              <a:gd name="T14" fmla="*/ 2147483647 w 130"/>
              <a:gd name="T15" fmla="*/ 0 h 106"/>
              <a:gd name="T16" fmla="*/ 2147483647 w 130"/>
              <a:gd name="T17" fmla="*/ 2147483647 h 106"/>
              <a:gd name="T18" fmla="*/ 2147483647 w 130"/>
              <a:gd name="T19" fmla="*/ 2147483647 h 106"/>
              <a:gd name="T20" fmla="*/ 2147483647 w 130"/>
              <a:gd name="T21" fmla="*/ 2147483647 h 106"/>
              <a:gd name="T22" fmla="*/ 2147483647 w 130"/>
              <a:gd name="T23" fmla="*/ 2147483647 h 106"/>
              <a:gd name="T24" fmla="*/ 2147483647 w 130"/>
              <a:gd name="T25" fmla="*/ 2147483647 h 106"/>
              <a:gd name="T26" fmla="*/ 2147483647 w 130"/>
              <a:gd name="T27" fmla="*/ 2147483647 h 106"/>
              <a:gd name="T28" fmla="*/ 2147483647 w 130"/>
              <a:gd name="T29" fmla="*/ 2147483647 h 106"/>
              <a:gd name="T30" fmla="*/ 2147483647 w 130"/>
              <a:gd name="T31" fmla="*/ 2147483647 h 106"/>
              <a:gd name="T32" fmla="*/ 2147483647 w 130"/>
              <a:gd name="T33" fmla="*/ 2147483647 h 106"/>
              <a:gd name="T34" fmla="*/ 2147483647 w 130"/>
              <a:gd name="T35" fmla="*/ 2147483647 h 106"/>
              <a:gd name="T36" fmla="*/ 2147483647 w 130"/>
              <a:gd name="T37" fmla="*/ 2147483647 h 106"/>
              <a:gd name="T38" fmla="*/ 2147483647 w 130"/>
              <a:gd name="T39" fmla="*/ 2147483647 h 106"/>
              <a:gd name="T40" fmla="*/ 2147483647 w 130"/>
              <a:gd name="T41" fmla="*/ 2147483647 h 106"/>
              <a:gd name="T42" fmla="*/ 2147483647 w 130"/>
              <a:gd name="T43" fmla="*/ 2147483647 h 106"/>
              <a:gd name="T44" fmla="*/ 2147483647 w 130"/>
              <a:gd name="T45" fmla="*/ 2147483647 h 106"/>
              <a:gd name="T46" fmla="*/ 2147483647 w 130"/>
              <a:gd name="T47" fmla="*/ 2147483647 h 106"/>
              <a:gd name="T48" fmla="*/ 2147483647 w 130"/>
              <a:gd name="T49" fmla="*/ 2147483647 h 106"/>
              <a:gd name="T50" fmla="*/ 0 w 130"/>
              <a:gd name="T51" fmla="*/ 2147483647 h 106"/>
              <a:gd name="T52" fmla="*/ 2147483647 w 130"/>
              <a:gd name="T53" fmla="*/ 2147483647 h 10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30"/>
              <a:gd name="T82" fmla="*/ 0 h 106"/>
              <a:gd name="T83" fmla="*/ 130 w 130"/>
              <a:gd name="T84" fmla="*/ 106 h 10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30" h="106">
                <a:moveTo>
                  <a:pt x="9" y="31"/>
                </a:moveTo>
                <a:lnTo>
                  <a:pt x="24" y="40"/>
                </a:lnTo>
                <a:lnTo>
                  <a:pt x="40" y="40"/>
                </a:lnTo>
                <a:lnTo>
                  <a:pt x="49" y="31"/>
                </a:lnTo>
                <a:lnTo>
                  <a:pt x="65" y="40"/>
                </a:lnTo>
                <a:lnTo>
                  <a:pt x="74" y="31"/>
                </a:lnTo>
                <a:lnTo>
                  <a:pt x="98" y="0"/>
                </a:lnTo>
                <a:lnTo>
                  <a:pt x="121" y="0"/>
                </a:lnTo>
                <a:lnTo>
                  <a:pt x="114" y="16"/>
                </a:lnTo>
                <a:lnTo>
                  <a:pt x="121" y="25"/>
                </a:lnTo>
                <a:lnTo>
                  <a:pt x="114" y="31"/>
                </a:lnTo>
                <a:lnTo>
                  <a:pt x="129" y="40"/>
                </a:lnTo>
                <a:lnTo>
                  <a:pt x="121" y="48"/>
                </a:lnTo>
                <a:lnTo>
                  <a:pt x="105" y="65"/>
                </a:lnTo>
                <a:lnTo>
                  <a:pt x="98" y="81"/>
                </a:lnTo>
                <a:lnTo>
                  <a:pt x="105" y="81"/>
                </a:lnTo>
                <a:lnTo>
                  <a:pt x="98" y="97"/>
                </a:lnTo>
                <a:lnTo>
                  <a:pt x="80" y="105"/>
                </a:lnTo>
                <a:lnTo>
                  <a:pt x="74" y="97"/>
                </a:lnTo>
                <a:lnTo>
                  <a:pt x="57" y="97"/>
                </a:lnTo>
                <a:lnTo>
                  <a:pt x="40" y="97"/>
                </a:lnTo>
                <a:lnTo>
                  <a:pt x="40" y="88"/>
                </a:lnTo>
                <a:lnTo>
                  <a:pt x="24" y="88"/>
                </a:lnTo>
                <a:lnTo>
                  <a:pt x="17" y="72"/>
                </a:lnTo>
                <a:lnTo>
                  <a:pt x="9" y="56"/>
                </a:lnTo>
                <a:lnTo>
                  <a:pt x="0" y="40"/>
                </a:lnTo>
                <a:lnTo>
                  <a:pt x="9" y="31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09" name="Freeform 163"/>
          <p:cNvSpPr>
            <a:spLocks/>
          </p:cNvSpPr>
          <p:nvPr>
            <p:custDataLst>
              <p:tags r:id="rId120"/>
            </p:custDataLst>
          </p:nvPr>
        </p:nvSpPr>
        <p:spPr bwMode="gray">
          <a:xfrm>
            <a:off x="6921500" y="5135563"/>
            <a:ext cx="206375" cy="177800"/>
          </a:xfrm>
          <a:custGeom>
            <a:avLst/>
            <a:gdLst>
              <a:gd name="T0" fmla="*/ 2147483647 w 131"/>
              <a:gd name="T1" fmla="*/ 2147483647 h 113"/>
              <a:gd name="T2" fmla="*/ 2147483647 w 131"/>
              <a:gd name="T3" fmla="*/ 2147483647 h 113"/>
              <a:gd name="T4" fmla="*/ 2147483647 w 131"/>
              <a:gd name="T5" fmla="*/ 2147483647 h 113"/>
              <a:gd name="T6" fmla="*/ 2147483647 w 131"/>
              <a:gd name="T7" fmla="*/ 2147483647 h 113"/>
              <a:gd name="T8" fmla="*/ 2147483647 w 131"/>
              <a:gd name="T9" fmla="*/ 2147483647 h 113"/>
              <a:gd name="T10" fmla="*/ 2147483647 w 131"/>
              <a:gd name="T11" fmla="*/ 2147483647 h 113"/>
              <a:gd name="T12" fmla="*/ 2147483647 w 131"/>
              <a:gd name="T13" fmla="*/ 2147483647 h 113"/>
              <a:gd name="T14" fmla="*/ 2147483647 w 131"/>
              <a:gd name="T15" fmla="*/ 2147483647 h 113"/>
              <a:gd name="T16" fmla="*/ 2147483647 w 131"/>
              <a:gd name="T17" fmla="*/ 2147483647 h 113"/>
              <a:gd name="T18" fmla="*/ 2147483647 w 131"/>
              <a:gd name="T19" fmla="*/ 2147483647 h 113"/>
              <a:gd name="T20" fmla="*/ 2147483647 w 131"/>
              <a:gd name="T21" fmla="*/ 2147483647 h 113"/>
              <a:gd name="T22" fmla="*/ 2147483647 w 131"/>
              <a:gd name="T23" fmla="*/ 2147483647 h 113"/>
              <a:gd name="T24" fmla="*/ 2147483647 w 131"/>
              <a:gd name="T25" fmla="*/ 2147483647 h 113"/>
              <a:gd name="T26" fmla="*/ 2147483647 w 131"/>
              <a:gd name="T27" fmla="*/ 2147483647 h 113"/>
              <a:gd name="T28" fmla="*/ 2147483647 w 131"/>
              <a:gd name="T29" fmla="*/ 2147483647 h 113"/>
              <a:gd name="T30" fmla="*/ 0 w 131"/>
              <a:gd name="T31" fmla="*/ 2147483647 h 113"/>
              <a:gd name="T32" fmla="*/ 2147483647 w 131"/>
              <a:gd name="T33" fmla="*/ 0 h 113"/>
              <a:gd name="T34" fmla="*/ 2147483647 w 131"/>
              <a:gd name="T35" fmla="*/ 0 h 113"/>
              <a:gd name="T36" fmla="*/ 2147483647 w 131"/>
              <a:gd name="T37" fmla="*/ 2147483647 h 113"/>
              <a:gd name="T38" fmla="*/ 2147483647 w 131"/>
              <a:gd name="T39" fmla="*/ 2147483647 h 113"/>
              <a:gd name="T40" fmla="*/ 2147483647 w 131"/>
              <a:gd name="T41" fmla="*/ 2147483647 h 113"/>
              <a:gd name="T42" fmla="*/ 2147483647 w 131"/>
              <a:gd name="T43" fmla="*/ 2147483647 h 113"/>
              <a:gd name="T44" fmla="*/ 2147483647 w 131"/>
              <a:gd name="T45" fmla="*/ 2147483647 h 113"/>
              <a:gd name="T46" fmla="*/ 2147483647 w 131"/>
              <a:gd name="T47" fmla="*/ 2147483647 h 11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31"/>
              <a:gd name="T73" fmla="*/ 0 h 113"/>
              <a:gd name="T74" fmla="*/ 131 w 131"/>
              <a:gd name="T75" fmla="*/ 113 h 113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31" h="113">
                <a:moveTo>
                  <a:pt x="130" y="32"/>
                </a:moveTo>
                <a:lnTo>
                  <a:pt x="130" y="65"/>
                </a:lnTo>
                <a:lnTo>
                  <a:pt x="130" y="112"/>
                </a:lnTo>
                <a:lnTo>
                  <a:pt x="112" y="97"/>
                </a:lnTo>
                <a:lnTo>
                  <a:pt x="88" y="106"/>
                </a:lnTo>
                <a:lnTo>
                  <a:pt x="97" y="89"/>
                </a:lnTo>
                <a:lnTo>
                  <a:pt x="88" y="72"/>
                </a:lnTo>
                <a:lnTo>
                  <a:pt x="31" y="41"/>
                </a:lnTo>
                <a:lnTo>
                  <a:pt x="25" y="49"/>
                </a:lnTo>
                <a:lnTo>
                  <a:pt x="25" y="41"/>
                </a:lnTo>
                <a:lnTo>
                  <a:pt x="16" y="32"/>
                </a:lnTo>
                <a:lnTo>
                  <a:pt x="31" y="32"/>
                </a:lnTo>
                <a:lnTo>
                  <a:pt x="40" y="25"/>
                </a:lnTo>
                <a:lnTo>
                  <a:pt x="16" y="25"/>
                </a:lnTo>
                <a:lnTo>
                  <a:pt x="6" y="16"/>
                </a:lnTo>
                <a:lnTo>
                  <a:pt x="0" y="16"/>
                </a:lnTo>
                <a:lnTo>
                  <a:pt x="16" y="0"/>
                </a:lnTo>
                <a:lnTo>
                  <a:pt x="25" y="0"/>
                </a:lnTo>
                <a:lnTo>
                  <a:pt x="40" y="9"/>
                </a:lnTo>
                <a:lnTo>
                  <a:pt x="40" y="25"/>
                </a:lnTo>
                <a:lnTo>
                  <a:pt x="56" y="41"/>
                </a:lnTo>
                <a:lnTo>
                  <a:pt x="72" y="25"/>
                </a:lnTo>
                <a:lnTo>
                  <a:pt x="88" y="16"/>
                </a:lnTo>
                <a:lnTo>
                  <a:pt x="130" y="32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10" name="Freeform 164"/>
          <p:cNvSpPr>
            <a:spLocks/>
          </p:cNvSpPr>
          <p:nvPr>
            <p:custDataLst>
              <p:tags r:id="rId121"/>
            </p:custDataLst>
          </p:nvPr>
        </p:nvSpPr>
        <p:spPr bwMode="gray">
          <a:xfrm>
            <a:off x="7124700" y="5186363"/>
            <a:ext cx="192088" cy="166687"/>
          </a:xfrm>
          <a:custGeom>
            <a:avLst/>
            <a:gdLst>
              <a:gd name="T0" fmla="*/ 0 w 123"/>
              <a:gd name="T1" fmla="*/ 2147483647 h 106"/>
              <a:gd name="T2" fmla="*/ 0 w 123"/>
              <a:gd name="T3" fmla="*/ 2147483647 h 106"/>
              <a:gd name="T4" fmla="*/ 0 w 123"/>
              <a:gd name="T5" fmla="*/ 0 h 106"/>
              <a:gd name="T6" fmla="*/ 2147483647 w 123"/>
              <a:gd name="T7" fmla="*/ 2147483647 h 106"/>
              <a:gd name="T8" fmla="*/ 2147483647 w 123"/>
              <a:gd name="T9" fmla="*/ 2147483647 h 106"/>
              <a:gd name="T10" fmla="*/ 2147483647 w 123"/>
              <a:gd name="T11" fmla="*/ 2147483647 h 106"/>
              <a:gd name="T12" fmla="*/ 2147483647 w 123"/>
              <a:gd name="T13" fmla="*/ 2147483647 h 106"/>
              <a:gd name="T14" fmla="*/ 2147483647 w 123"/>
              <a:gd name="T15" fmla="*/ 2147483647 h 106"/>
              <a:gd name="T16" fmla="*/ 2147483647 w 123"/>
              <a:gd name="T17" fmla="*/ 2147483647 h 106"/>
              <a:gd name="T18" fmla="*/ 2147483647 w 123"/>
              <a:gd name="T19" fmla="*/ 2147483647 h 106"/>
              <a:gd name="T20" fmla="*/ 2147483647 w 123"/>
              <a:gd name="T21" fmla="*/ 2147483647 h 106"/>
              <a:gd name="T22" fmla="*/ 2147483647 w 123"/>
              <a:gd name="T23" fmla="*/ 2147483647 h 106"/>
              <a:gd name="T24" fmla="*/ 2147483647 w 123"/>
              <a:gd name="T25" fmla="*/ 2147483647 h 106"/>
              <a:gd name="T26" fmla="*/ 2147483647 w 123"/>
              <a:gd name="T27" fmla="*/ 2147483647 h 106"/>
              <a:gd name="T28" fmla="*/ 2147483647 w 123"/>
              <a:gd name="T29" fmla="*/ 2147483647 h 106"/>
              <a:gd name="T30" fmla="*/ 2147483647 w 123"/>
              <a:gd name="T31" fmla="*/ 2147483647 h 106"/>
              <a:gd name="T32" fmla="*/ 2147483647 w 123"/>
              <a:gd name="T33" fmla="*/ 2147483647 h 106"/>
              <a:gd name="T34" fmla="*/ 2147483647 w 123"/>
              <a:gd name="T35" fmla="*/ 2147483647 h 106"/>
              <a:gd name="T36" fmla="*/ 2147483647 w 123"/>
              <a:gd name="T37" fmla="*/ 2147483647 h 106"/>
              <a:gd name="T38" fmla="*/ 2147483647 w 123"/>
              <a:gd name="T39" fmla="*/ 2147483647 h 106"/>
              <a:gd name="T40" fmla="*/ 2147483647 w 123"/>
              <a:gd name="T41" fmla="*/ 2147483647 h 106"/>
              <a:gd name="T42" fmla="*/ 2147483647 w 123"/>
              <a:gd name="T43" fmla="*/ 2147483647 h 106"/>
              <a:gd name="T44" fmla="*/ 0 w 123"/>
              <a:gd name="T45" fmla="*/ 2147483647 h 10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23"/>
              <a:gd name="T70" fmla="*/ 0 h 106"/>
              <a:gd name="T71" fmla="*/ 123 w 123"/>
              <a:gd name="T72" fmla="*/ 106 h 10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23" h="106">
                <a:moveTo>
                  <a:pt x="0" y="80"/>
                </a:moveTo>
                <a:lnTo>
                  <a:pt x="0" y="33"/>
                </a:lnTo>
                <a:lnTo>
                  <a:pt x="0" y="0"/>
                </a:lnTo>
                <a:lnTo>
                  <a:pt x="32" y="9"/>
                </a:lnTo>
                <a:lnTo>
                  <a:pt x="57" y="25"/>
                </a:lnTo>
                <a:lnTo>
                  <a:pt x="57" y="33"/>
                </a:lnTo>
                <a:lnTo>
                  <a:pt x="88" y="49"/>
                </a:lnTo>
                <a:lnTo>
                  <a:pt x="72" y="57"/>
                </a:lnTo>
                <a:lnTo>
                  <a:pt x="81" y="57"/>
                </a:lnTo>
                <a:lnTo>
                  <a:pt x="88" y="65"/>
                </a:lnTo>
                <a:lnTo>
                  <a:pt x="97" y="80"/>
                </a:lnTo>
                <a:lnTo>
                  <a:pt x="104" y="80"/>
                </a:lnTo>
                <a:lnTo>
                  <a:pt x="104" y="90"/>
                </a:lnTo>
                <a:lnTo>
                  <a:pt x="122" y="99"/>
                </a:lnTo>
                <a:lnTo>
                  <a:pt x="122" y="105"/>
                </a:lnTo>
                <a:lnTo>
                  <a:pt x="81" y="99"/>
                </a:lnTo>
                <a:lnTo>
                  <a:pt x="63" y="65"/>
                </a:lnTo>
                <a:lnTo>
                  <a:pt x="47" y="65"/>
                </a:lnTo>
                <a:lnTo>
                  <a:pt x="40" y="65"/>
                </a:lnTo>
                <a:lnTo>
                  <a:pt x="23" y="74"/>
                </a:lnTo>
                <a:lnTo>
                  <a:pt x="32" y="80"/>
                </a:lnTo>
                <a:lnTo>
                  <a:pt x="15" y="80"/>
                </a:lnTo>
                <a:lnTo>
                  <a:pt x="0" y="80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11" name="Freeform 165"/>
          <p:cNvSpPr>
            <a:spLocks/>
          </p:cNvSpPr>
          <p:nvPr>
            <p:custDataLst>
              <p:tags r:id="rId122"/>
            </p:custDataLst>
          </p:nvPr>
        </p:nvSpPr>
        <p:spPr bwMode="gray">
          <a:xfrm>
            <a:off x="6826250" y="4298950"/>
            <a:ext cx="71438" cy="103188"/>
          </a:xfrm>
          <a:custGeom>
            <a:avLst/>
            <a:gdLst>
              <a:gd name="T0" fmla="*/ 0 w 44"/>
              <a:gd name="T1" fmla="*/ 2147483647 h 66"/>
              <a:gd name="T2" fmla="*/ 2147483647 w 44"/>
              <a:gd name="T3" fmla="*/ 0 h 66"/>
              <a:gd name="T4" fmla="*/ 2147483647 w 44"/>
              <a:gd name="T5" fmla="*/ 2147483647 h 66"/>
              <a:gd name="T6" fmla="*/ 2147483647 w 44"/>
              <a:gd name="T7" fmla="*/ 2147483647 h 66"/>
              <a:gd name="T8" fmla="*/ 2147483647 w 44"/>
              <a:gd name="T9" fmla="*/ 2147483647 h 66"/>
              <a:gd name="T10" fmla="*/ 0 w 44"/>
              <a:gd name="T11" fmla="*/ 2147483647 h 66"/>
              <a:gd name="T12" fmla="*/ 0 w 44"/>
              <a:gd name="T13" fmla="*/ 2147483647 h 66"/>
              <a:gd name="T14" fmla="*/ 0 w 44"/>
              <a:gd name="T15" fmla="*/ 2147483647 h 66"/>
              <a:gd name="T16" fmla="*/ 0 w 44"/>
              <a:gd name="T17" fmla="*/ 2147483647 h 66"/>
              <a:gd name="T18" fmla="*/ 0 w 44"/>
              <a:gd name="T19" fmla="*/ 2147483647 h 6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4"/>
              <a:gd name="T31" fmla="*/ 0 h 66"/>
              <a:gd name="T32" fmla="*/ 44 w 44"/>
              <a:gd name="T33" fmla="*/ 66 h 6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4" h="66">
                <a:moveTo>
                  <a:pt x="0" y="16"/>
                </a:moveTo>
                <a:lnTo>
                  <a:pt x="25" y="0"/>
                </a:lnTo>
                <a:lnTo>
                  <a:pt x="34" y="16"/>
                </a:lnTo>
                <a:lnTo>
                  <a:pt x="43" y="40"/>
                </a:lnTo>
                <a:lnTo>
                  <a:pt x="34" y="56"/>
                </a:lnTo>
                <a:lnTo>
                  <a:pt x="0" y="65"/>
                </a:lnTo>
                <a:lnTo>
                  <a:pt x="0" y="56"/>
                </a:lnTo>
                <a:lnTo>
                  <a:pt x="0" y="48"/>
                </a:lnTo>
                <a:lnTo>
                  <a:pt x="0" y="24"/>
                </a:lnTo>
                <a:lnTo>
                  <a:pt x="0" y="16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12" name="Freeform 166"/>
          <p:cNvSpPr>
            <a:spLocks/>
          </p:cNvSpPr>
          <p:nvPr>
            <p:custDataLst>
              <p:tags r:id="rId123"/>
            </p:custDataLst>
          </p:nvPr>
        </p:nvSpPr>
        <p:spPr bwMode="gray">
          <a:xfrm>
            <a:off x="6792913" y="4194175"/>
            <a:ext cx="128587" cy="130175"/>
          </a:xfrm>
          <a:custGeom>
            <a:avLst/>
            <a:gdLst>
              <a:gd name="T0" fmla="*/ 2147483647 w 82"/>
              <a:gd name="T1" fmla="*/ 0 h 83"/>
              <a:gd name="T2" fmla="*/ 2147483647 w 82"/>
              <a:gd name="T3" fmla="*/ 0 h 83"/>
              <a:gd name="T4" fmla="*/ 2147483647 w 82"/>
              <a:gd name="T5" fmla="*/ 2147483647 h 83"/>
              <a:gd name="T6" fmla="*/ 2147483647 w 82"/>
              <a:gd name="T7" fmla="*/ 2147483647 h 83"/>
              <a:gd name="T8" fmla="*/ 2147483647 w 82"/>
              <a:gd name="T9" fmla="*/ 2147483647 h 83"/>
              <a:gd name="T10" fmla="*/ 2147483647 w 82"/>
              <a:gd name="T11" fmla="*/ 2147483647 h 83"/>
              <a:gd name="T12" fmla="*/ 0 w 82"/>
              <a:gd name="T13" fmla="*/ 2147483647 h 83"/>
              <a:gd name="T14" fmla="*/ 0 w 82"/>
              <a:gd name="T15" fmla="*/ 2147483647 h 83"/>
              <a:gd name="T16" fmla="*/ 2147483647 w 82"/>
              <a:gd name="T17" fmla="*/ 2147483647 h 83"/>
              <a:gd name="T18" fmla="*/ 0 w 82"/>
              <a:gd name="T19" fmla="*/ 2147483647 h 83"/>
              <a:gd name="T20" fmla="*/ 2147483647 w 82"/>
              <a:gd name="T21" fmla="*/ 2147483647 h 83"/>
              <a:gd name="T22" fmla="*/ 2147483647 w 82"/>
              <a:gd name="T23" fmla="*/ 2147483647 h 83"/>
              <a:gd name="T24" fmla="*/ 2147483647 w 82"/>
              <a:gd name="T25" fmla="*/ 2147483647 h 83"/>
              <a:gd name="T26" fmla="*/ 2147483647 w 82"/>
              <a:gd name="T27" fmla="*/ 2147483647 h 83"/>
              <a:gd name="T28" fmla="*/ 2147483647 w 82"/>
              <a:gd name="T29" fmla="*/ 2147483647 h 83"/>
              <a:gd name="T30" fmla="*/ 2147483647 w 82"/>
              <a:gd name="T31" fmla="*/ 2147483647 h 83"/>
              <a:gd name="T32" fmla="*/ 2147483647 w 82"/>
              <a:gd name="T33" fmla="*/ 2147483647 h 83"/>
              <a:gd name="T34" fmla="*/ 2147483647 w 82"/>
              <a:gd name="T35" fmla="*/ 2147483647 h 83"/>
              <a:gd name="T36" fmla="*/ 2147483647 w 82"/>
              <a:gd name="T37" fmla="*/ 0 h 83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82"/>
              <a:gd name="T58" fmla="*/ 0 h 83"/>
              <a:gd name="T59" fmla="*/ 82 w 82"/>
              <a:gd name="T60" fmla="*/ 83 h 83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82" h="83">
                <a:moveTo>
                  <a:pt x="81" y="0"/>
                </a:moveTo>
                <a:lnTo>
                  <a:pt x="72" y="0"/>
                </a:lnTo>
                <a:lnTo>
                  <a:pt x="56" y="9"/>
                </a:lnTo>
                <a:lnTo>
                  <a:pt x="47" y="9"/>
                </a:lnTo>
                <a:lnTo>
                  <a:pt x="40" y="17"/>
                </a:lnTo>
                <a:lnTo>
                  <a:pt x="32" y="17"/>
                </a:lnTo>
                <a:lnTo>
                  <a:pt x="0" y="41"/>
                </a:lnTo>
                <a:lnTo>
                  <a:pt x="0" y="50"/>
                </a:lnTo>
                <a:lnTo>
                  <a:pt x="7" y="50"/>
                </a:lnTo>
                <a:lnTo>
                  <a:pt x="0" y="74"/>
                </a:lnTo>
                <a:lnTo>
                  <a:pt x="7" y="82"/>
                </a:lnTo>
                <a:lnTo>
                  <a:pt x="16" y="82"/>
                </a:lnTo>
                <a:lnTo>
                  <a:pt x="22" y="82"/>
                </a:lnTo>
                <a:lnTo>
                  <a:pt x="47" y="66"/>
                </a:lnTo>
                <a:lnTo>
                  <a:pt x="32" y="57"/>
                </a:lnTo>
                <a:lnTo>
                  <a:pt x="32" y="50"/>
                </a:lnTo>
                <a:lnTo>
                  <a:pt x="65" y="34"/>
                </a:lnTo>
                <a:lnTo>
                  <a:pt x="65" y="17"/>
                </a:lnTo>
                <a:lnTo>
                  <a:pt x="81" y="0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13" name="Freeform 167"/>
          <p:cNvSpPr>
            <a:spLocks/>
          </p:cNvSpPr>
          <p:nvPr>
            <p:custDataLst>
              <p:tags r:id="rId124"/>
            </p:custDataLst>
          </p:nvPr>
        </p:nvSpPr>
        <p:spPr bwMode="gray">
          <a:xfrm>
            <a:off x="6535738" y="2847975"/>
            <a:ext cx="28575" cy="39688"/>
          </a:xfrm>
          <a:custGeom>
            <a:avLst/>
            <a:gdLst>
              <a:gd name="T0" fmla="*/ 2147483647 w 18"/>
              <a:gd name="T1" fmla="*/ 2147483647 h 25"/>
              <a:gd name="T2" fmla="*/ 2147483647 w 18"/>
              <a:gd name="T3" fmla="*/ 2147483647 h 25"/>
              <a:gd name="T4" fmla="*/ 0 w 18"/>
              <a:gd name="T5" fmla="*/ 0 h 25"/>
              <a:gd name="T6" fmla="*/ 0 w 18"/>
              <a:gd name="T7" fmla="*/ 2147483647 h 25"/>
              <a:gd name="T8" fmla="*/ 2147483647 w 18"/>
              <a:gd name="T9" fmla="*/ 2147483647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8"/>
              <a:gd name="T16" fmla="*/ 0 h 25"/>
              <a:gd name="T17" fmla="*/ 18 w 18"/>
              <a:gd name="T18" fmla="*/ 25 h 2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8" h="25">
                <a:moveTo>
                  <a:pt x="17" y="24"/>
                </a:moveTo>
                <a:lnTo>
                  <a:pt x="17" y="8"/>
                </a:lnTo>
                <a:lnTo>
                  <a:pt x="0" y="0"/>
                </a:lnTo>
                <a:lnTo>
                  <a:pt x="0" y="8"/>
                </a:lnTo>
                <a:lnTo>
                  <a:pt x="17" y="24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14" name="Freeform 170"/>
          <p:cNvSpPr>
            <a:spLocks/>
          </p:cNvSpPr>
          <p:nvPr>
            <p:custDataLst>
              <p:tags r:id="rId125"/>
            </p:custDataLst>
          </p:nvPr>
        </p:nvSpPr>
        <p:spPr bwMode="gray">
          <a:xfrm>
            <a:off x="4957763" y="4767263"/>
            <a:ext cx="292100" cy="293687"/>
          </a:xfrm>
          <a:custGeom>
            <a:avLst/>
            <a:gdLst>
              <a:gd name="T0" fmla="*/ 2147483647 w 187"/>
              <a:gd name="T1" fmla="*/ 2147483647 h 187"/>
              <a:gd name="T2" fmla="*/ 2147483647 w 187"/>
              <a:gd name="T3" fmla="*/ 2147483647 h 187"/>
              <a:gd name="T4" fmla="*/ 2147483647 w 187"/>
              <a:gd name="T5" fmla="*/ 2147483647 h 187"/>
              <a:gd name="T6" fmla="*/ 2147483647 w 187"/>
              <a:gd name="T7" fmla="*/ 2147483647 h 187"/>
              <a:gd name="T8" fmla="*/ 2147483647 w 187"/>
              <a:gd name="T9" fmla="*/ 2147483647 h 187"/>
              <a:gd name="T10" fmla="*/ 2147483647 w 187"/>
              <a:gd name="T11" fmla="*/ 2147483647 h 187"/>
              <a:gd name="T12" fmla="*/ 2147483647 w 187"/>
              <a:gd name="T13" fmla="*/ 2147483647 h 187"/>
              <a:gd name="T14" fmla="*/ 2147483647 w 187"/>
              <a:gd name="T15" fmla="*/ 2147483647 h 187"/>
              <a:gd name="T16" fmla="*/ 2147483647 w 187"/>
              <a:gd name="T17" fmla="*/ 2147483647 h 187"/>
              <a:gd name="T18" fmla="*/ 2147483647 w 187"/>
              <a:gd name="T19" fmla="*/ 2147483647 h 187"/>
              <a:gd name="T20" fmla="*/ 2147483647 w 187"/>
              <a:gd name="T21" fmla="*/ 2147483647 h 187"/>
              <a:gd name="T22" fmla="*/ 2147483647 w 187"/>
              <a:gd name="T23" fmla="*/ 2147483647 h 187"/>
              <a:gd name="T24" fmla="*/ 2147483647 w 187"/>
              <a:gd name="T25" fmla="*/ 2147483647 h 187"/>
              <a:gd name="T26" fmla="*/ 2147483647 w 187"/>
              <a:gd name="T27" fmla="*/ 2147483647 h 187"/>
              <a:gd name="T28" fmla="*/ 2147483647 w 187"/>
              <a:gd name="T29" fmla="*/ 2147483647 h 187"/>
              <a:gd name="T30" fmla="*/ 2147483647 w 187"/>
              <a:gd name="T31" fmla="*/ 2147483647 h 187"/>
              <a:gd name="T32" fmla="*/ 2147483647 w 187"/>
              <a:gd name="T33" fmla="*/ 2147483647 h 187"/>
              <a:gd name="T34" fmla="*/ 2147483647 w 187"/>
              <a:gd name="T35" fmla="*/ 2147483647 h 187"/>
              <a:gd name="T36" fmla="*/ 0 w 187"/>
              <a:gd name="T37" fmla="*/ 2147483647 h 187"/>
              <a:gd name="T38" fmla="*/ 2147483647 w 187"/>
              <a:gd name="T39" fmla="*/ 2147483647 h 187"/>
              <a:gd name="T40" fmla="*/ 2147483647 w 187"/>
              <a:gd name="T41" fmla="*/ 2147483647 h 187"/>
              <a:gd name="T42" fmla="*/ 2147483647 w 187"/>
              <a:gd name="T43" fmla="*/ 2147483647 h 187"/>
              <a:gd name="T44" fmla="*/ 2147483647 w 187"/>
              <a:gd name="T45" fmla="*/ 2147483647 h 187"/>
              <a:gd name="T46" fmla="*/ 2147483647 w 187"/>
              <a:gd name="T47" fmla="*/ 2147483647 h 187"/>
              <a:gd name="T48" fmla="*/ 2147483647 w 187"/>
              <a:gd name="T49" fmla="*/ 0 h 187"/>
              <a:gd name="T50" fmla="*/ 2147483647 w 187"/>
              <a:gd name="T51" fmla="*/ 2147483647 h 187"/>
              <a:gd name="T52" fmla="*/ 2147483647 w 187"/>
              <a:gd name="T53" fmla="*/ 2147483647 h 187"/>
              <a:gd name="T54" fmla="*/ 2147483647 w 187"/>
              <a:gd name="T55" fmla="*/ 2147483647 h 187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187"/>
              <a:gd name="T85" fmla="*/ 0 h 187"/>
              <a:gd name="T86" fmla="*/ 187 w 187"/>
              <a:gd name="T87" fmla="*/ 187 h 187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187" h="187">
                <a:moveTo>
                  <a:pt x="121" y="73"/>
                </a:moveTo>
                <a:lnTo>
                  <a:pt x="113" y="73"/>
                </a:lnTo>
                <a:lnTo>
                  <a:pt x="113" y="90"/>
                </a:lnTo>
                <a:lnTo>
                  <a:pt x="113" y="98"/>
                </a:lnTo>
                <a:lnTo>
                  <a:pt x="121" y="98"/>
                </a:lnTo>
                <a:lnTo>
                  <a:pt x="121" y="105"/>
                </a:lnTo>
                <a:lnTo>
                  <a:pt x="138" y="121"/>
                </a:lnTo>
                <a:lnTo>
                  <a:pt x="178" y="130"/>
                </a:lnTo>
                <a:lnTo>
                  <a:pt x="186" y="130"/>
                </a:lnTo>
                <a:lnTo>
                  <a:pt x="153" y="170"/>
                </a:lnTo>
                <a:lnTo>
                  <a:pt x="129" y="170"/>
                </a:lnTo>
                <a:lnTo>
                  <a:pt x="113" y="186"/>
                </a:lnTo>
                <a:lnTo>
                  <a:pt x="97" y="179"/>
                </a:lnTo>
                <a:lnTo>
                  <a:pt x="72" y="186"/>
                </a:lnTo>
                <a:lnTo>
                  <a:pt x="32" y="179"/>
                </a:lnTo>
                <a:lnTo>
                  <a:pt x="32" y="163"/>
                </a:lnTo>
                <a:lnTo>
                  <a:pt x="24" y="163"/>
                </a:lnTo>
                <a:lnTo>
                  <a:pt x="7" y="139"/>
                </a:lnTo>
                <a:lnTo>
                  <a:pt x="0" y="130"/>
                </a:lnTo>
                <a:lnTo>
                  <a:pt x="7" y="121"/>
                </a:lnTo>
                <a:lnTo>
                  <a:pt x="16" y="98"/>
                </a:lnTo>
                <a:lnTo>
                  <a:pt x="41" y="65"/>
                </a:lnTo>
                <a:lnTo>
                  <a:pt x="47" y="17"/>
                </a:lnTo>
                <a:lnTo>
                  <a:pt x="66" y="8"/>
                </a:lnTo>
                <a:lnTo>
                  <a:pt x="66" y="0"/>
                </a:lnTo>
                <a:lnTo>
                  <a:pt x="81" y="33"/>
                </a:lnTo>
                <a:lnTo>
                  <a:pt x="97" y="48"/>
                </a:lnTo>
                <a:lnTo>
                  <a:pt x="121" y="73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15" name="Freeform 171"/>
          <p:cNvSpPr>
            <a:spLocks/>
          </p:cNvSpPr>
          <p:nvPr>
            <p:custDataLst>
              <p:tags r:id="rId126"/>
            </p:custDataLst>
          </p:nvPr>
        </p:nvSpPr>
        <p:spPr bwMode="gray">
          <a:xfrm>
            <a:off x="5133975" y="4881563"/>
            <a:ext cx="26988" cy="42862"/>
          </a:xfrm>
          <a:custGeom>
            <a:avLst/>
            <a:gdLst>
              <a:gd name="T0" fmla="*/ 2147483647 w 17"/>
              <a:gd name="T1" fmla="*/ 2147483647 h 26"/>
              <a:gd name="T2" fmla="*/ 0 w 17"/>
              <a:gd name="T3" fmla="*/ 2147483647 h 26"/>
              <a:gd name="T4" fmla="*/ 0 w 17"/>
              <a:gd name="T5" fmla="*/ 2147483647 h 26"/>
              <a:gd name="T6" fmla="*/ 0 w 17"/>
              <a:gd name="T7" fmla="*/ 0 h 26"/>
              <a:gd name="T8" fmla="*/ 2147483647 w 17"/>
              <a:gd name="T9" fmla="*/ 0 h 26"/>
              <a:gd name="T10" fmla="*/ 2147483647 w 17"/>
              <a:gd name="T11" fmla="*/ 0 h 26"/>
              <a:gd name="T12" fmla="*/ 2147483647 w 17"/>
              <a:gd name="T13" fmla="*/ 2147483647 h 26"/>
              <a:gd name="T14" fmla="*/ 2147483647 w 17"/>
              <a:gd name="T15" fmla="*/ 2147483647 h 26"/>
              <a:gd name="T16" fmla="*/ 2147483647 w 17"/>
              <a:gd name="T17" fmla="*/ 2147483647 h 26"/>
              <a:gd name="T18" fmla="*/ 2147483647 w 17"/>
              <a:gd name="T19" fmla="*/ 2147483647 h 2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7"/>
              <a:gd name="T31" fmla="*/ 0 h 26"/>
              <a:gd name="T32" fmla="*/ 17 w 17"/>
              <a:gd name="T33" fmla="*/ 26 h 2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7" h="26">
                <a:moveTo>
                  <a:pt x="8" y="25"/>
                </a:moveTo>
                <a:lnTo>
                  <a:pt x="0" y="25"/>
                </a:lnTo>
                <a:lnTo>
                  <a:pt x="0" y="17"/>
                </a:lnTo>
                <a:lnTo>
                  <a:pt x="0" y="0"/>
                </a:lnTo>
                <a:lnTo>
                  <a:pt x="8" y="0"/>
                </a:lnTo>
                <a:lnTo>
                  <a:pt x="16" y="0"/>
                </a:lnTo>
                <a:lnTo>
                  <a:pt x="16" y="7"/>
                </a:lnTo>
                <a:lnTo>
                  <a:pt x="8" y="7"/>
                </a:lnTo>
                <a:lnTo>
                  <a:pt x="16" y="17"/>
                </a:lnTo>
                <a:lnTo>
                  <a:pt x="8" y="25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16" name="Freeform 172"/>
          <p:cNvSpPr>
            <a:spLocks/>
          </p:cNvSpPr>
          <p:nvPr>
            <p:custDataLst>
              <p:tags r:id="rId127"/>
            </p:custDataLst>
          </p:nvPr>
        </p:nvSpPr>
        <p:spPr bwMode="gray">
          <a:xfrm>
            <a:off x="5133975" y="4881563"/>
            <a:ext cx="26988" cy="42862"/>
          </a:xfrm>
          <a:custGeom>
            <a:avLst/>
            <a:gdLst>
              <a:gd name="T0" fmla="*/ 2147483647 w 17"/>
              <a:gd name="T1" fmla="*/ 2147483647 h 26"/>
              <a:gd name="T2" fmla="*/ 0 w 17"/>
              <a:gd name="T3" fmla="*/ 2147483647 h 26"/>
              <a:gd name="T4" fmla="*/ 0 w 17"/>
              <a:gd name="T5" fmla="*/ 2147483647 h 26"/>
              <a:gd name="T6" fmla="*/ 0 w 17"/>
              <a:gd name="T7" fmla="*/ 0 h 26"/>
              <a:gd name="T8" fmla="*/ 2147483647 w 17"/>
              <a:gd name="T9" fmla="*/ 0 h 26"/>
              <a:gd name="T10" fmla="*/ 2147483647 w 17"/>
              <a:gd name="T11" fmla="*/ 0 h 26"/>
              <a:gd name="T12" fmla="*/ 2147483647 w 17"/>
              <a:gd name="T13" fmla="*/ 2147483647 h 26"/>
              <a:gd name="T14" fmla="*/ 2147483647 w 17"/>
              <a:gd name="T15" fmla="*/ 2147483647 h 26"/>
              <a:gd name="T16" fmla="*/ 2147483647 w 17"/>
              <a:gd name="T17" fmla="*/ 2147483647 h 26"/>
              <a:gd name="T18" fmla="*/ 2147483647 w 17"/>
              <a:gd name="T19" fmla="*/ 2147483647 h 2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7"/>
              <a:gd name="T31" fmla="*/ 0 h 26"/>
              <a:gd name="T32" fmla="*/ 17 w 17"/>
              <a:gd name="T33" fmla="*/ 26 h 2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7" h="26">
                <a:moveTo>
                  <a:pt x="8" y="25"/>
                </a:moveTo>
                <a:lnTo>
                  <a:pt x="0" y="25"/>
                </a:lnTo>
                <a:lnTo>
                  <a:pt x="0" y="17"/>
                </a:lnTo>
                <a:lnTo>
                  <a:pt x="0" y="0"/>
                </a:lnTo>
                <a:lnTo>
                  <a:pt x="8" y="0"/>
                </a:lnTo>
                <a:lnTo>
                  <a:pt x="16" y="0"/>
                </a:lnTo>
                <a:lnTo>
                  <a:pt x="16" y="7"/>
                </a:lnTo>
                <a:lnTo>
                  <a:pt x="8" y="7"/>
                </a:lnTo>
                <a:lnTo>
                  <a:pt x="16" y="17"/>
                </a:lnTo>
                <a:lnTo>
                  <a:pt x="8" y="25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17" name="Freeform 173"/>
          <p:cNvSpPr>
            <a:spLocks/>
          </p:cNvSpPr>
          <p:nvPr>
            <p:custDataLst>
              <p:tags r:id="rId128"/>
            </p:custDataLst>
          </p:nvPr>
        </p:nvSpPr>
        <p:spPr bwMode="gray">
          <a:xfrm>
            <a:off x="5110163" y="4894263"/>
            <a:ext cx="206375" cy="268287"/>
          </a:xfrm>
          <a:custGeom>
            <a:avLst/>
            <a:gdLst>
              <a:gd name="T0" fmla="*/ 2147483647 w 132"/>
              <a:gd name="T1" fmla="*/ 2147483647 h 172"/>
              <a:gd name="T2" fmla="*/ 0 w 132"/>
              <a:gd name="T3" fmla="*/ 2147483647 h 172"/>
              <a:gd name="T4" fmla="*/ 0 w 132"/>
              <a:gd name="T5" fmla="*/ 2147483647 h 172"/>
              <a:gd name="T6" fmla="*/ 2147483647 w 132"/>
              <a:gd name="T7" fmla="*/ 2147483647 h 172"/>
              <a:gd name="T8" fmla="*/ 2147483647 w 132"/>
              <a:gd name="T9" fmla="*/ 2147483647 h 172"/>
              <a:gd name="T10" fmla="*/ 2147483647 w 132"/>
              <a:gd name="T11" fmla="*/ 2147483647 h 172"/>
              <a:gd name="T12" fmla="*/ 2147483647 w 132"/>
              <a:gd name="T13" fmla="*/ 2147483647 h 172"/>
              <a:gd name="T14" fmla="*/ 2147483647 w 132"/>
              <a:gd name="T15" fmla="*/ 2147483647 h 172"/>
              <a:gd name="T16" fmla="*/ 2147483647 w 132"/>
              <a:gd name="T17" fmla="*/ 2147483647 h 172"/>
              <a:gd name="T18" fmla="*/ 2147483647 w 132"/>
              <a:gd name="T19" fmla="*/ 0 h 172"/>
              <a:gd name="T20" fmla="*/ 2147483647 w 132"/>
              <a:gd name="T21" fmla="*/ 0 h 172"/>
              <a:gd name="T22" fmla="*/ 2147483647 w 132"/>
              <a:gd name="T23" fmla="*/ 2147483647 h 172"/>
              <a:gd name="T24" fmla="*/ 2147483647 w 132"/>
              <a:gd name="T25" fmla="*/ 2147483647 h 172"/>
              <a:gd name="T26" fmla="*/ 2147483647 w 132"/>
              <a:gd name="T27" fmla="*/ 2147483647 h 172"/>
              <a:gd name="T28" fmla="*/ 2147483647 w 132"/>
              <a:gd name="T29" fmla="*/ 2147483647 h 172"/>
              <a:gd name="T30" fmla="*/ 2147483647 w 132"/>
              <a:gd name="T31" fmla="*/ 2147483647 h 172"/>
              <a:gd name="T32" fmla="*/ 2147483647 w 132"/>
              <a:gd name="T33" fmla="*/ 2147483647 h 172"/>
              <a:gd name="T34" fmla="*/ 2147483647 w 132"/>
              <a:gd name="T35" fmla="*/ 2147483647 h 172"/>
              <a:gd name="T36" fmla="*/ 2147483647 w 132"/>
              <a:gd name="T37" fmla="*/ 2147483647 h 172"/>
              <a:gd name="T38" fmla="*/ 2147483647 w 132"/>
              <a:gd name="T39" fmla="*/ 2147483647 h 172"/>
              <a:gd name="T40" fmla="*/ 2147483647 w 132"/>
              <a:gd name="T41" fmla="*/ 2147483647 h 172"/>
              <a:gd name="T42" fmla="*/ 2147483647 w 132"/>
              <a:gd name="T43" fmla="*/ 2147483647 h 172"/>
              <a:gd name="T44" fmla="*/ 2147483647 w 132"/>
              <a:gd name="T45" fmla="*/ 2147483647 h 172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32"/>
              <a:gd name="T70" fmla="*/ 0 h 172"/>
              <a:gd name="T71" fmla="*/ 132 w 132"/>
              <a:gd name="T72" fmla="*/ 172 h 172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32" h="172">
                <a:moveTo>
                  <a:pt x="16" y="106"/>
                </a:moveTo>
                <a:lnTo>
                  <a:pt x="0" y="124"/>
                </a:lnTo>
                <a:lnTo>
                  <a:pt x="0" y="164"/>
                </a:lnTo>
                <a:lnTo>
                  <a:pt x="9" y="171"/>
                </a:lnTo>
                <a:lnTo>
                  <a:pt x="32" y="147"/>
                </a:lnTo>
                <a:lnTo>
                  <a:pt x="65" y="124"/>
                </a:lnTo>
                <a:lnTo>
                  <a:pt x="89" y="99"/>
                </a:lnTo>
                <a:lnTo>
                  <a:pt x="106" y="83"/>
                </a:lnTo>
                <a:lnTo>
                  <a:pt x="131" y="18"/>
                </a:lnTo>
                <a:lnTo>
                  <a:pt x="131" y="0"/>
                </a:lnTo>
                <a:lnTo>
                  <a:pt x="121" y="0"/>
                </a:lnTo>
                <a:lnTo>
                  <a:pt x="106" y="10"/>
                </a:lnTo>
                <a:lnTo>
                  <a:pt x="49" y="25"/>
                </a:lnTo>
                <a:lnTo>
                  <a:pt x="41" y="18"/>
                </a:lnTo>
                <a:lnTo>
                  <a:pt x="32" y="10"/>
                </a:lnTo>
                <a:lnTo>
                  <a:pt x="24" y="18"/>
                </a:lnTo>
                <a:lnTo>
                  <a:pt x="24" y="25"/>
                </a:lnTo>
                <a:lnTo>
                  <a:pt x="41" y="41"/>
                </a:lnTo>
                <a:lnTo>
                  <a:pt x="81" y="50"/>
                </a:lnTo>
                <a:lnTo>
                  <a:pt x="89" y="50"/>
                </a:lnTo>
                <a:lnTo>
                  <a:pt x="56" y="90"/>
                </a:lnTo>
                <a:lnTo>
                  <a:pt x="32" y="90"/>
                </a:lnTo>
                <a:lnTo>
                  <a:pt x="16" y="106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18" name="Freeform 174"/>
          <p:cNvSpPr>
            <a:spLocks/>
          </p:cNvSpPr>
          <p:nvPr>
            <p:custDataLst>
              <p:tags r:id="rId129"/>
            </p:custDataLst>
          </p:nvPr>
        </p:nvSpPr>
        <p:spPr bwMode="gray">
          <a:xfrm>
            <a:off x="3948113" y="4564063"/>
            <a:ext cx="244475" cy="266700"/>
          </a:xfrm>
          <a:custGeom>
            <a:avLst/>
            <a:gdLst>
              <a:gd name="T0" fmla="*/ 0 w 155"/>
              <a:gd name="T1" fmla="*/ 2147483647 h 170"/>
              <a:gd name="T2" fmla="*/ 2147483647 w 155"/>
              <a:gd name="T3" fmla="*/ 2147483647 h 170"/>
              <a:gd name="T4" fmla="*/ 2147483647 w 155"/>
              <a:gd name="T5" fmla="*/ 2147483647 h 170"/>
              <a:gd name="T6" fmla="*/ 2147483647 w 155"/>
              <a:gd name="T7" fmla="*/ 2147483647 h 170"/>
              <a:gd name="T8" fmla="*/ 2147483647 w 155"/>
              <a:gd name="T9" fmla="*/ 2147483647 h 170"/>
              <a:gd name="T10" fmla="*/ 2147483647 w 155"/>
              <a:gd name="T11" fmla="*/ 2147483647 h 170"/>
              <a:gd name="T12" fmla="*/ 2147483647 w 155"/>
              <a:gd name="T13" fmla="*/ 2147483647 h 170"/>
              <a:gd name="T14" fmla="*/ 2147483647 w 155"/>
              <a:gd name="T15" fmla="*/ 0 h 170"/>
              <a:gd name="T16" fmla="*/ 2147483647 w 155"/>
              <a:gd name="T17" fmla="*/ 2147483647 h 170"/>
              <a:gd name="T18" fmla="*/ 2147483647 w 155"/>
              <a:gd name="T19" fmla="*/ 2147483647 h 170"/>
              <a:gd name="T20" fmla="*/ 2147483647 w 155"/>
              <a:gd name="T21" fmla="*/ 2147483647 h 170"/>
              <a:gd name="T22" fmla="*/ 2147483647 w 155"/>
              <a:gd name="T23" fmla="*/ 2147483647 h 170"/>
              <a:gd name="T24" fmla="*/ 2147483647 w 155"/>
              <a:gd name="T25" fmla="*/ 2147483647 h 170"/>
              <a:gd name="T26" fmla="*/ 2147483647 w 155"/>
              <a:gd name="T27" fmla="*/ 2147483647 h 170"/>
              <a:gd name="T28" fmla="*/ 2147483647 w 155"/>
              <a:gd name="T29" fmla="*/ 2147483647 h 170"/>
              <a:gd name="T30" fmla="*/ 2147483647 w 155"/>
              <a:gd name="T31" fmla="*/ 2147483647 h 170"/>
              <a:gd name="T32" fmla="*/ 2147483647 w 155"/>
              <a:gd name="T33" fmla="*/ 2147483647 h 170"/>
              <a:gd name="T34" fmla="*/ 2147483647 w 155"/>
              <a:gd name="T35" fmla="*/ 2147483647 h 170"/>
              <a:gd name="T36" fmla="*/ 0 w 155"/>
              <a:gd name="T37" fmla="*/ 2147483647 h 170"/>
              <a:gd name="T38" fmla="*/ 2147483647 w 155"/>
              <a:gd name="T39" fmla="*/ 2147483647 h 170"/>
              <a:gd name="T40" fmla="*/ 0 w 155"/>
              <a:gd name="T41" fmla="*/ 2147483647 h 170"/>
              <a:gd name="T42" fmla="*/ 2147483647 w 155"/>
              <a:gd name="T43" fmla="*/ 2147483647 h 170"/>
              <a:gd name="T44" fmla="*/ 0 w 155"/>
              <a:gd name="T45" fmla="*/ 2147483647 h 170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55"/>
              <a:gd name="T70" fmla="*/ 0 h 170"/>
              <a:gd name="T71" fmla="*/ 155 w 155"/>
              <a:gd name="T72" fmla="*/ 170 h 170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55" h="170">
                <a:moveTo>
                  <a:pt x="0" y="88"/>
                </a:moveTo>
                <a:lnTo>
                  <a:pt x="9" y="81"/>
                </a:lnTo>
                <a:lnTo>
                  <a:pt x="49" y="81"/>
                </a:lnTo>
                <a:lnTo>
                  <a:pt x="49" y="65"/>
                </a:lnTo>
                <a:lnTo>
                  <a:pt x="65" y="57"/>
                </a:lnTo>
                <a:lnTo>
                  <a:pt x="65" y="16"/>
                </a:lnTo>
                <a:lnTo>
                  <a:pt x="106" y="16"/>
                </a:lnTo>
                <a:lnTo>
                  <a:pt x="106" y="0"/>
                </a:lnTo>
                <a:lnTo>
                  <a:pt x="154" y="32"/>
                </a:lnTo>
                <a:lnTo>
                  <a:pt x="130" y="32"/>
                </a:lnTo>
                <a:lnTo>
                  <a:pt x="148" y="162"/>
                </a:lnTo>
                <a:lnTo>
                  <a:pt x="89" y="162"/>
                </a:lnTo>
                <a:lnTo>
                  <a:pt x="81" y="169"/>
                </a:lnTo>
                <a:lnTo>
                  <a:pt x="74" y="162"/>
                </a:lnTo>
                <a:lnTo>
                  <a:pt x="58" y="169"/>
                </a:lnTo>
                <a:lnTo>
                  <a:pt x="49" y="153"/>
                </a:lnTo>
                <a:lnTo>
                  <a:pt x="24" y="146"/>
                </a:lnTo>
                <a:lnTo>
                  <a:pt x="9" y="146"/>
                </a:lnTo>
                <a:lnTo>
                  <a:pt x="0" y="153"/>
                </a:lnTo>
                <a:lnTo>
                  <a:pt x="9" y="122"/>
                </a:lnTo>
                <a:lnTo>
                  <a:pt x="0" y="112"/>
                </a:lnTo>
                <a:lnTo>
                  <a:pt x="9" y="97"/>
                </a:lnTo>
                <a:lnTo>
                  <a:pt x="0" y="88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19" name="Freeform 175"/>
          <p:cNvSpPr>
            <a:spLocks/>
          </p:cNvSpPr>
          <p:nvPr>
            <p:custDataLst>
              <p:tags r:id="rId130"/>
            </p:custDataLst>
          </p:nvPr>
        </p:nvSpPr>
        <p:spPr bwMode="gray">
          <a:xfrm>
            <a:off x="3948113" y="4549775"/>
            <a:ext cx="168275" cy="153988"/>
          </a:xfrm>
          <a:custGeom>
            <a:avLst/>
            <a:gdLst>
              <a:gd name="T0" fmla="*/ 0 w 107"/>
              <a:gd name="T1" fmla="*/ 2147483647 h 98"/>
              <a:gd name="T2" fmla="*/ 2147483647 w 107"/>
              <a:gd name="T3" fmla="*/ 2147483647 h 98"/>
              <a:gd name="T4" fmla="*/ 2147483647 w 107"/>
              <a:gd name="T5" fmla="*/ 2147483647 h 98"/>
              <a:gd name="T6" fmla="*/ 2147483647 w 107"/>
              <a:gd name="T7" fmla="*/ 2147483647 h 98"/>
              <a:gd name="T8" fmla="*/ 2147483647 w 107"/>
              <a:gd name="T9" fmla="*/ 2147483647 h 98"/>
              <a:gd name="T10" fmla="*/ 2147483647 w 107"/>
              <a:gd name="T11" fmla="*/ 2147483647 h 98"/>
              <a:gd name="T12" fmla="*/ 2147483647 w 107"/>
              <a:gd name="T13" fmla="*/ 2147483647 h 98"/>
              <a:gd name="T14" fmla="*/ 2147483647 w 107"/>
              <a:gd name="T15" fmla="*/ 2147483647 h 98"/>
              <a:gd name="T16" fmla="*/ 2147483647 w 107"/>
              <a:gd name="T17" fmla="*/ 0 h 98"/>
              <a:gd name="T18" fmla="*/ 2147483647 w 107"/>
              <a:gd name="T19" fmla="*/ 2147483647 h 98"/>
              <a:gd name="T20" fmla="*/ 2147483647 w 107"/>
              <a:gd name="T21" fmla="*/ 2147483647 h 98"/>
              <a:gd name="T22" fmla="*/ 2147483647 w 107"/>
              <a:gd name="T23" fmla="*/ 2147483647 h 98"/>
              <a:gd name="T24" fmla="*/ 0 w 107"/>
              <a:gd name="T25" fmla="*/ 2147483647 h 98"/>
              <a:gd name="T26" fmla="*/ 0 w 107"/>
              <a:gd name="T27" fmla="*/ 2147483647 h 9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07"/>
              <a:gd name="T43" fmla="*/ 0 h 98"/>
              <a:gd name="T44" fmla="*/ 107 w 107"/>
              <a:gd name="T45" fmla="*/ 98 h 98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07" h="98">
                <a:moveTo>
                  <a:pt x="0" y="97"/>
                </a:moveTo>
                <a:lnTo>
                  <a:pt x="9" y="90"/>
                </a:lnTo>
                <a:lnTo>
                  <a:pt x="49" y="90"/>
                </a:lnTo>
                <a:lnTo>
                  <a:pt x="49" y="74"/>
                </a:lnTo>
                <a:lnTo>
                  <a:pt x="65" y="66"/>
                </a:lnTo>
                <a:lnTo>
                  <a:pt x="65" y="25"/>
                </a:lnTo>
                <a:lnTo>
                  <a:pt x="106" y="25"/>
                </a:lnTo>
                <a:lnTo>
                  <a:pt x="106" y="9"/>
                </a:lnTo>
                <a:lnTo>
                  <a:pt x="49" y="0"/>
                </a:lnTo>
                <a:lnTo>
                  <a:pt x="40" y="16"/>
                </a:lnTo>
                <a:lnTo>
                  <a:pt x="34" y="25"/>
                </a:lnTo>
                <a:lnTo>
                  <a:pt x="24" y="49"/>
                </a:lnTo>
                <a:lnTo>
                  <a:pt x="0" y="81"/>
                </a:lnTo>
                <a:lnTo>
                  <a:pt x="0" y="97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20" name="Freeform 176"/>
          <p:cNvSpPr>
            <a:spLocks/>
          </p:cNvSpPr>
          <p:nvPr>
            <p:custDataLst>
              <p:tags r:id="rId131"/>
            </p:custDataLst>
          </p:nvPr>
        </p:nvSpPr>
        <p:spPr bwMode="gray">
          <a:xfrm>
            <a:off x="3937000" y="4795838"/>
            <a:ext cx="130175" cy="88900"/>
          </a:xfrm>
          <a:custGeom>
            <a:avLst/>
            <a:gdLst>
              <a:gd name="T0" fmla="*/ 2147483647 w 83"/>
              <a:gd name="T1" fmla="*/ 2147483647 h 57"/>
              <a:gd name="T2" fmla="*/ 2147483647 w 83"/>
              <a:gd name="T3" fmla="*/ 2147483647 h 57"/>
              <a:gd name="T4" fmla="*/ 2147483647 w 83"/>
              <a:gd name="T5" fmla="*/ 2147483647 h 57"/>
              <a:gd name="T6" fmla="*/ 2147483647 w 83"/>
              <a:gd name="T7" fmla="*/ 2147483647 h 57"/>
              <a:gd name="T8" fmla="*/ 2147483647 w 83"/>
              <a:gd name="T9" fmla="*/ 2147483647 h 57"/>
              <a:gd name="T10" fmla="*/ 2147483647 w 83"/>
              <a:gd name="T11" fmla="*/ 2147483647 h 57"/>
              <a:gd name="T12" fmla="*/ 2147483647 w 83"/>
              <a:gd name="T13" fmla="*/ 2147483647 h 57"/>
              <a:gd name="T14" fmla="*/ 0 w 83"/>
              <a:gd name="T15" fmla="*/ 2147483647 h 57"/>
              <a:gd name="T16" fmla="*/ 2147483647 w 83"/>
              <a:gd name="T17" fmla="*/ 2147483647 h 57"/>
              <a:gd name="T18" fmla="*/ 2147483647 w 83"/>
              <a:gd name="T19" fmla="*/ 0 h 57"/>
              <a:gd name="T20" fmla="*/ 2147483647 w 83"/>
              <a:gd name="T21" fmla="*/ 0 h 57"/>
              <a:gd name="T22" fmla="*/ 2147483647 w 83"/>
              <a:gd name="T23" fmla="*/ 2147483647 h 57"/>
              <a:gd name="T24" fmla="*/ 2147483647 w 83"/>
              <a:gd name="T25" fmla="*/ 2147483647 h 57"/>
              <a:gd name="T26" fmla="*/ 2147483647 w 83"/>
              <a:gd name="T27" fmla="*/ 2147483647 h 57"/>
              <a:gd name="T28" fmla="*/ 2147483647 w 83"/>
              <a:gd name="T29" fmla="*/ 2147483647 h 57"/>
              <a:gd name="T30" fmla="*/ 2147483647 w 83"/>
              <a:gd name="T31" fmla="*/ 2147483647 h 57"/>
              <a:gd name="T32" fmla="*/ 2147483647 w 83"/>
              <a:gd name="T33" fmla="*/ 2147483647 h 5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83"/>
              <a:gd name="T52" fmla="*/ 0 h 57"/>
              <a:gd name="T53" fmla="*/ 83 w 83"/>
              <a:gd name="T54" fmla="*/ 57 h 57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83" h="57">
                <a:moveTo>
                  <a:pt x="8" y="48"/>
                </a:moveTo>
                <a:lnTo>
                  <a:pt x="17" y="48"/>
                </a:lnTo>
                <a:lnTo>
                  <a:pt x="32" y="41"/>
                </a:lnTo>
                <a:lnTo>
                  <a:pt x="42" y="48"/>
                </a:lnTo>
                <a:lnTo>
                  <a:pt x="48" y="41"/>
                </a:lnTo>
                <a:lnTo>
                  <a:pt x="32" y="41"/>
                </a:lnTo>
                <a:lnTo>
                  <a:pt x="8" y="41"/>
                </a:lnTo>
                <a:lnTo>
                  <a:pt x="0" y="23"/>
                </a:lnTo>
                <a:lnTo>
                  <a:pt x="8" y="7"/>
                </a:lnTo>
                <a:lnTo>
                  <a:pt x="17" y="0"/>
                </a:lnTo>
                <a:lnTo>
                  <a:pt x="32" y="0"/>
                </a:lnTo>
                <a:lnTo>
                  <a:pt x="57" y="7"/>
                </a:lnTo>
                <a:lnTo>
                  <a:pt x="66" y="23"/>
                </a:lnTo>
                <a:lnTo>
                  <a:pt x="82" y="56"/>
                </a:lnTo>
                <a:lnTo>
                  <a:pt x="48" y="56"/>
                </a:lnTo>
                <a:lnTo>
                  <a:pt x="8" y="56"/>
                </a:lnTo>
                <a:lnTo>
                  <a:pt x="8" y="48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21" name="Freeform 177"/>
          <p:cNvSpPr>
            <a:spLocks/>
          </p:cNvSpPr>
          <p:nvPr>
            <p:custDataLst>
              <p:tags r:id="rId132"/>
            </p:custDataLst>
          </p:nvPr>
        </p:nvSpPr>
        <p:spPr bwMode="gray">
          <a:xfrm>
            <a:off x="3948113" y="4859338"/>
            <a:ext cx="65087" cy="25400"/>
          </a:xfrm>
          <a:custGeom>
            <a:avLst/>
            <a:gdLst>
              <a:gd name="T0" fmla="*/ 0 w 41"/>
              <a:gd name="T1" fmla="*/ 2147483647 h 17"/>
              <a:gd name="T2" fmla="*/ 2147483647 w 41"/>
              <a:gd name="T3" fmla="*/ 2147483647 h 17"/>
              <a:gd name="T4" fmla="*/ 2147483647 w 41"/>
              <a:gd name="T5" fmla="*/ 0 h 17"/>
              <a:gd name="T6" fmla="*/ 2147483647 w 41"/>
              <a:gd name="T7" fmla="*/ 2147483647 h 17"/>
              <a:gd name="T8" fmla="*/ 2147483647 w 41"/>
              <a:gd name="T9" fmla="*/ 0 h 17"/>
              <a:gd name="T10" fmla="*/ 2147483647 w 41"/>
              <a:gd name="T11" fmla="*/ 0 h 17"/>
              <a:gd name="T12" fmla="*/ 0 w 41"/>
              <a:gd name="T13" fmla="*/ 0 h 17"/>
              <a:gd name="T14" fmla="*/ 0 w 41"/>
              <a:gd name="T15" fmla="*/ 2147483647 h 1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1"/>
              <a:gd name="T25" fmla="*/ 0 h 17"/>
              <a:gd name="T26" fmla="*/ 41 w 41"/>
              <a:gd name="T27" fmla="*/ 17 h 17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1" h="17">
                <a:moveTo>
                  <a:pt x="0" y="16"/>
                </a:moveTo>
                <a:lnTo>
                  <a:pt x="9" y="16"/>
                </a:lnTo>
                <a:lnTo>
                  <a:pt x="24" y="0"/>
                </a:lnTo>
                <a:lnTo>
                  <a:pt x="34" y="16"/>
                </a:lnTo>
                <a:lnTo>
                  <a:pt x="40" y="0"/>
                </a:lnTo>
                <a:lnTo>
                  <a:pt x="24" y="0"/>
                </a:lnTo>
                <a:lnTo>
                  <a:pt x="0" y="0"/>
                </a:lnTo>
                <a:lnTo>
                  <a:pt x="0" y="16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22" name="Freeform 178"/>
          <p:cNvSpPr>
            <a:spLocks/>
          </p:cNvSpPr>
          <p:nvPr>
            <p:custDataLst>
              <p:tags r:id="rId133"/>
            </p:custDataLst>
          </p:nvPr>
        </p:nvSpPr>
        <p:spPr bwMode="gray">
          <a:xfrm>
            <a:off x="3948113" y="4881563"/>
            <a:ext cx="65087" cy="42862"/>
          </a:xfrm>
          <a:custGeom>
            <a:avLst/>
            <a:gdLst>
              <a:gd name="T0" fmla="*/ 2147483647 w 41"/>
              <a:gd name="T1" fmla="*/ 2147483647 h 26"/>
              <a:gd name="T2" fmla="*/ 2147483647 w 41"/>
              <a:gd name="T3" fmla="*/ 2147483647 h 26"/>
              <a:gd name="T4" fmla="*/ 2147483647 w 41"/>
              <a:gd name="T5" fmla="*/ 0 h 26"/>
              <a:gd name="T6" fmla="*/ 0 w 41"/>
              <a:gd name="T7" fmla="*/ 0 h 26"/>
              <a:gd name="T8" fmla="*/ 2147483647 w 41"/>
              <a:gd name="T9" fmla="*/ 2147483647 h 26"/>
              <a:gd name="T10" fmla="*/ 2147483647 w 41"/>
              <a:gd name="T11" fmla="*/ 2147483647 h 26"/>
              <a:gd name="T12" fmla="*/ 2147483647 w 41"/>
              <a:gd name="T13" fmla="*/ 2147483647 h 2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1"/>
              <a:gd name="T22" fmla="*/ 0 h 26"/>
              <a:gd name="T23" fmla="*/ 41 w 41"/>
              <a:gd name="T24" fmla="*/ 26 h 2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1" h="26">
                <a:moveTo>
                  <a:pt x="24" y="25"/>
                </a:moveTo>
                <a:lnTo>
                  <a:pt x="40" y="7"/>
                </a:lnTo>
                <a:lnTo>
                  <a:pt x="40" y="0"/>
                </a:lnTo>
                <a:lnTo>
                  <a:pt x="0" y="0"/>
                </a:lnTo>
                <a:lnTo>
                  <a:pt x="17" y="7"/>
                </a:lnTo>
                <a:lnTo>
                  <a:pt x="17" y="17"/>
                </a:lnTo>
                <a:lnTo>
                  <a:pt x="24" y="25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23" name="Freeform 179"/>
          <p:cNvSpPr>
            <a:spLocks/>
          </p:cNvSpPr>
          <p:nvPr>
            <p:custDataLst>
              <p:tags r:id="rId134"/>
            </p:custDataLst>
          </p:nvPr>
        </p:nvSpPr>
        <p:spPr bwMode="gray">
          <a:xfrm>
            <a:off x="3986213" y="4881563"/>
            <a:ext cx="142875" cy="106362"/>
          </a:xfrm>
          <a:custGeom>
            <a:avLst/>
            <a:gdLst>
              <a:gd name="T0" fmla="*/ 2147483647 w 91"/>
              <a:gd name="T1" fmla="*/ 2147483647 h 67"/>
              <a:gd name="T2" fmla="*/ 2147483647 w 91"/>
              <a:gd name="T3" fmla="*/ 2147483647 h 67"/>
              <a:gd name="T4" fmla="*/ 2147483647 w 91"/>
              <a:gd name="T5" fmla="*/ 2147483647 h 67"/>
              <a:gd name="T6" fmla="*/ 2147483647 w 91"/>
              <a:gd name="T7" fmla="*/ 2147483647 h 67"/>
              <a:gd name="T8" fmla="*/ 2147483647 w 91"/>
              <a:gd name="T9" fmla="*/ 2147483647 h 67"/>
              <a:gd name="T10" fmla="*/ 2147483647 w 91"/>
              <a:gd name="T11" fmla="*/ 2147483647 h 67"/>
              <a:gd name="T12" fmla="*/ 2147483647 w 91"/>
              <a:gd name="T13" fmla="*/ 0 h 67"/>
              <a:gd name="T14" fmla="*/ 2147483647 w 91"/>
              <a:gd name="T15" fmla="*/ 2147483647 h 67"/>
              <a:gd name="T16" fmla="*/ 2147483647 w 91"/>
              <a:gd name="T17" fmla="*/ 2147483647 h 67"/>
              <a:gd name="T18" fmla="*/ 2147483647 w 91"/>
              <a:gd name="T19" fmla="*/ 0 h 67"/>
              <a:gd name="T20" fmla="*/ 2147483647 w 91"/>
              <a:gd name="T21" fmla="*/ 0 h 67"/>
              <a:gd name="T22" fmla="*/ 2147483647 w 91"/>
              <a:gd name="T23" fmla="*/ 2147483647 h 67"/>
              <a:gd name="T24" fmla="*/ 0 w 91"/>
              <a:gd name="T25" fmla="*/ 2147483647 h 67"/>
              <a:gd name="T26" fmla="*/ 2147483647 w 91"/>
              <a:gd name="T27" fmla="*/ 2147483647 h 67"/>
              <a:gd name="T28" fmla="*/ 2147483647 w 91"/>
              <a:gd name="T29" fmla="*/ 2147483647 h 67"/>
              <a:gd name="T30" fmla="*/ 2147483647 w 91"/>
              <a:gd name="T31" fmla="*/ 2147483647 h 67"/>
              <a:gd name="T32" fmla="*/ 2147483647 w 91"/>
              <a:gd name="T33" fmla="*/ 2147483647 h 67"/>
              <a:gd name="T34" fmla="*/ 2147483647 w 91"/>
              <a:gd name="T35" fmla="*/ 2147483647 h 67"/>
              <a:gd name="T36" fmla="*/ 2147483647 w 91"/>
              <a:gd name="T37" fmla="*/ 2147483647 h 67"/>
              <a:gd name="T38" fmla="*/ 2147483647 w 91"/>
              <a:gd name="T39" fmla="*/ 2147483647 h 67"/>
              <a:gd name="T40" fmla="*/ 2147483647 w 91"/>
              <a:gd name="T41" fmla="*/ 2147483647 h 67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91"/>
              <a:gd name="T64" fmla="*/ 0 h 67"/>
              <a:gd name="T65" fmla="*/ 91 w 91"/>
              <a:gd name="T66" fmla="*/ 67 h 67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91" h="67">
                <a:moveTo>
                  <a:pt x="82" y="66"/>
                </a:moveTo>
                <a:lnTo>
                  <a:pt x="90" y="66"/>
                </a:lnTo>
                <a:lnTo>
                  <a:pt x="90" y="57"/>
                </a:lnTo>
                <a:lnTo>
                  <a:pt x="90" y="48"/>
                </a:lnTo>
                <a:lnTo>
                  <a:pt x="90" y="41"/>
                </a:lnTo>
                <a:lnTo>
                  <a:pt x="90" y="32"/>
                </a:lnTo>
                <a:lnTo>
                  <a:pt x="75" y="0"/>
                </a:lnTo>
                <a:lnTo>
                  <a:pt x="57" y="7"/>
                </a:lnTo>
                <a:lnTo>
                  <a:pt x="41" y="7"/>
                </a:lnTo>
                <a:lnTo>
                  <a:pt x="50" y="0"/>
                </a:lnTo>
                <a:lnTo>
                  <a:pt x="16" y="0"/>
                </a:lnTo>
                <a:lnTo>
                  <a:pt x="16" y="7"/>
                </a:lnTo>
                <a:lnTo>
                  <a:pt x="0" y="25"/>
                </a:lnTo>
                <a:lnTo>
                  <a:pt x="25" y="41"/>
                </a:lnTo>
                <a:lnTo>
                  <a:pt x="34" y="32"/>
                </a:lnTo>
                <a:lnTo>
                  <a:pt x="41" y="32"/>
                </a:lnTo>
                <a:lnTo>
                  <a:pt x="57" y="48"/>
                </a:lnTo>
                <a:lnTo>
                  <a:pt x="57" y="57"/>
                </a:lnTo>
                <a:lnTo>
                  <a:pt x="65" y="48"/>
                </a:lnTo>
                <a:lnTo>
                  <a:pt x="75" y="66"/>
                </a:lnTo>
                <a:lnTo>
                  <a:pt x="82" y="66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24" name="Freeform 180"/>
          <p:cNvSpPr>
            <a:spLocks/>
          </p:cNvSpPr>
          <p:nvPr>
            <p:custDataLst>
              <p:tags r:id="rId135"/>
            </p:custDataLst>
          </p:nvPr>
        </p:nvSpPr>
        <p:spPr bwMode="gray">
          <a:xfrm>
            <a:off x="4024313" y="4932363"/>
            <a:ext cx="52387" cy="65087"/>
          </a:xfrm>
          <a:custGeom>
            <a:avLst/>
            <a:gdLst>
              <a:gd name="T0" fmla="*/ 0 w 33"/>
              <a:gd name="T1" fmla="*/ 2147483647 h 41"/>
              <a:gd name="T2" fmla="*/ 2147483647 w 33"/>
              <a:gd name="T3" fmla="*/ 0 h 41"/>
              <a:gd name="T4" fmla="*/ 2147483647 w 33"/>
              <a:gd name="T5" fmla="*/ 0 h 41"/>
              <a:gd name="T6" fmla="*/ 2147483647 w 33"/>
              <a:gd name="T7" fmla="*/ 2147483647 h 41"/>
              <a:gd name="T8" fmla="*/ 2147483647 w 33"/>
              <a:gd name="T9" fmla="*/ 2147483647 h 41"/>
              <a:gd name="T10" fmla="*/ 2147483647 w 33"/>
              <a:gd name="T11" fmla="*/ 2147483647 h 41"/>
              <a:gd name="T12" fmla="*/ 2147483647 w 33"/>
              <a:gd name="T13" fmla="*/ 2147483647 h 41"/>
              <a:gd name="T14" fmla="*/ 0 w 33"/>
              <a:gd name="T15" fmla="*/ 2147483647 h 41"/>
              <a:gd name="T16" fmla="*/ 0 w 33"/>
              <a:gd name="T17" fmla="*/ 2147483647 h 4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3"/>
              <a:gd name="T28" fmla="*/ 0 h 41"/>
              <a:gd name="T29" fmla="*/ 33 w 33"/>
              <a:gd name="T30" fmla="*/ 41 h 4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3" h="41">
                <a:moveTo>
                  <a:pt x="0" y="9"/>
                </a:moveTo>
                <a:lnTo>
                  <a:pt x="9" y="0"/>
                </a:lnTo>
                <a:lnTo>
                  <a:pt x="16" y="0"/>
                </a:lnTo>
                <a:lnTo>
                  <a:pt x="32" y="16"/>
                </a:lnTo>
                <a:lnTo>
                  <a:pt x="32" y="25"/>
                </a:lnTo>
                <a:lnTo>
                  <a:pt x="16" y="40"/>
                </a:lnTo>
                <a:lnTo>
                  <a:pt x="9" y="34"/>
                </a:lnTo>
                <a:lnTo>
                  <a:pt x="0" y="34"/>
                </a:lnTo>
                <a:lnTo>
                  <a:pt x="0" y="9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25" name="Freeform 181"/>
          <p:cNvSpPr>
            <a:spLocks/>
          </p:cNvSpPr>
          <p:nvPr>
            <p:custDataLst>
              <p:tags r:id="rId136"/>
            </p:custDataLst>
          </p:nvPr>
        </p:nvSpPr>
        <p:spPr bwMode="gray">
          <a:xfrm>
            <a:off x="4049713" y="4957763"/>
            <a:ext cx="93662" cy="92075"/>
          </a:xfrm>
          <a:custGeom>
            <a:avLst/>
            <a:gdLst>
              <a:gd name="T0" fmla="*/ 2147483647 w 59"/>
              <a:gd name="T1" fmla="*/ 2147483647 h 59"/>
              <a:gd name="T2" fmla="*/ 2147483647 w 59"/>
              <a:gd name="T3" fmla="*/ 2147483647 h 59"/>
              <a:gd name="T4" fmla="*/ 2147483647 w 59"/>
              <a:gd name="T5" fmla="*/ 2147483647 h 59"/>
              <a:gd name="T6" fmla="*/ 2147483647 w 59"/>
              <a:gd name="T7" fmla="*/ 2147483647 h 59"/>
              <a:gd name="T8" fmla="*/ 2147483647 w 59"/>
              <a:gd name="T9" fmla="*/ 2147483647 h 59"/>
              <a:gd name="T10" fmla="*/ 2147483647 w 59"/>
              <a:gd name="T11" fmla="*/ 0 h 59"/>
              <a:gd name="T12" fmla="*/ 2147483647 w 59"/>
              <a:gd name="T13" fmla="*/ 2147483647 h 59"/>
              <a:gd name="T14" fmla="*/ 0 w 59"/>
              <a:gd name="T15" fmla="*/ 2147483647 h 59"/>
              <a:gd name="T16" fmla="*/ 2147483647 w 59"/>
              <a:gd name="T17" fmla="*/ 2147483647 h 59"/>
              <a:gd name="T18" fmla="*/ 2147483647 w 59"/>
              <a:gd name="T19" fmla="*/ 2147483647 h 5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59"/>
              <a:gd name="T31" fmla="*/ 0 h 59"/>
              <a:gd name="T32" fmla="*/ 59 w 59"/>
              <a:gd name="T33" fmla="*/ 59 h 5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59" h="59">
                <a:moveTo>
                  <a:pt x="58" y="58"/>
                </a:moveTo>
                <a:lnTo>
                  <a:pt x="58" y="42"/>
                </a:lnTo>
                <a:lnTo>
                  <a:pt x="41" y="33"/>
                </a:lnTo>
                <a:lnTo>
                  <a:pt x="41" y="18"/>
                </a:lnTo>
                <a:lnTo>
                  <a:pt x="34" y="18"/>
                </a:lnTo>
                <a:lnTo>
                  <a:pt x="24" y="0"/>
                </a:lnTo>
                <a:lnTo>
                  <a:pt x="16" y="9"/>
                </a:lnTo>
                <a:lnTo>
                  <a:pt x="0" y="24"/>
                </a:lnTo>
                <a:lnTo>
                  <a:pt x="41" y="58"/>
                </a:lnTo>
                <a:lnTo>
                  <a:pt x="58" y="58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26" name="Freeform 182"/>
          <p:cNvSpPr>
            <a:spLocks/>
          </p:cNvSpPr>
          <p:nvPr>
            <p:custDataLst>
              <p:tags r:id="rId137"/>
            </p:custDataLst>
          </p:nvPr>
        </p:nvSpPr>
        <p:spPr bwMode="gray">
          <a:xfrm>
            <a:off x="4278313" y="4908550"/>
            <a:ext cx="42862" cy="101600"/>
          </a:xfrm>
          <a:custGeom>
            <a:avLst/>
            <a:gdLst>
              <a:gd name="T0" fmla="*/ 2147483647 w 26"/>
              <a:gd name="T1" fmla="*/ 0 h 65"/>
              <a:gd name="T2" fmla="*/ 0 w 26"/>
              <a:gd name="T3" fmla="*/ 0 h 65"/>
              <a:gd name="T4" fmla="*/ 2147483647 w 26"/>
              <a:gd name="T5" fmla="*/ 2147483647 h 65"/>
              <a:gd name="T6" fmla="*/ 2147483647 w 26"/>
              <a:gd name="T7" fmla="*/ 2147483647 h 65"/>
              <a:gd name="T8" fmla="*/ 2147483647 w 26"/>
              <a:gd name="T9" fmla="*/ 2147483647 h 65"/>
              <a:gd name="T10" fmla="*/ 2147483647 w 26"/>
              <a:gd name="T11" fmla="*/ 2147483647 h 65"/>
              <a:gd name="T12" fmla="*/ 2147483647 w 26"/>
              <a:gd name="T13" fmla="*/ 2147483647 h 65"/>
              <a:gd name="T14" fmla="*/ 2147483647 w 26"/>
              <a:gd name="T15" fmla="*/ 2147483647 h 65"/>
              <a:gd name="T16" fmla="*/ 2147483647 w 26"/>
              <a:gd name="T17" fmla="*/ 2147483647 h 65"/>
              <a:gd name="T18" fmla="*/ 2147483647 w 26"/>
              <a:gd name="T19" fmla="*/ 0 h 6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6"/>
              <a:gd name="T31" fmla="*/ 0 h 65"/>
              <a:gd name="T32" fmla="*/ 26 w 26"/>
              <a:gd name="T33" fmla="*/ 65 h 6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6" h="65">
                <a:moveTo>
                  <a:pt x="17" y="0"/>
                </a:moveTo>
                <a:lnTo>
                  <a:pt x="0" y="0"/>
                </a:lnTo>
                <a:lnTo>
                  <a:pt x="9" y="31"/>
                </a:lnTo>
                <a:lnTo>
                  <a:pt x="17" y="55"/>
                </a:lnTo>
                <a:lnTo>
                  <a:pt x="17" y="64"/>
                </a:lnTo>
                <a:lnTo>
                  <a:pt x="25" y="64"/>
                </a:lnTo>
                <a:lnTo>
                  <a:pt x="25" y="31"/>
                </a:lnTo>
                <a:lnTo>
                  <a:pt x="25" y="15"/>
                </a:lnTo>
                <a:lnTo>
                  <a:pt x="17" y="8"/>
                </a:lnTo>
                <a:lnTo>
                  <a:pt x="17" y="0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27" name="Freeform 183"/>
          <p:cNvSpPr>
            <a:spLocks/>
          </p:cNvSpPr>
          <p:nvPr>
            <p:custDataLst>
              <p:tags r:id="rId138"/>
            </p:custDataLst>
          </p:nvPr>
        </p:nvSpPr>
        <p:spPr bwMode="gray">
          <a:xfrm>
            <a:off x="4475163" y="5087938"/>
            <a:ext cx="34925" cy="25400"/>
          </a:xfrm>
          <a:custGeom>
            <a:avLst/>
            <a:gdLst>
              <a:gd name="T0" fmla="*/ 2147483647 w 23"/>
              <a:gd name="T1" fmla="*/ 0 h 17"/>
              <a:gd name="T2" fmla="*/ 2147483647 w 23"/>
              <a:gd name="T3" fmla="*/ 2147483647 h 17"/>
              <a:gd name="T4" fmla="*/ 2147483647 w 23"/>
              <a:gd name="T5" fmla="*/ 2147483647 h 17"/>
              <a:gd name="T6" fmla="*/ 0 w 23"/>
              <a:gd name="T7" fmla="*/ 2147483647 h 17"/>
              <a:gd name="T8" fmla="*/ 2147483647 w 23"/>
              <a:gd name="T9" fmla="*/ 0 h 17"/>
              <a:gd name="T10" fmla="*/ 2147483647 w 23"/>
              <a:gd name="T11" fmla="*/ 0 h 1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3"/>
              <a:gd name="T19" fmla="*/ 0 h 17"/>
              <a:gd name="T20" fmla="*/ 23 w 23"/>
              <a:gd name="T21" fmla="*/ 17 h 1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3" h="17">
                <a:moveTo>
                  <a:pt x="22" y="0"/>
                </a:moveTo>
                <a:lnTo>
                  <a:pt x="22" y="16"/>
                </a:lnTo>
                <a:lnTo>
                  <a:pt x="6" y="16"/>
                </a:lnTo>
                <a:lnTo>
                  <a:pt x="0" y="16"/>
                </a:lnTo>
                <a:lnTo>
                  <a:pt x="6" y="0"/>
                </a:lnTo>
                <a:lnTo>
                  <a:pt x="22" y="0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28" name="Freeform 184"/>
          <p:cNvSpPr>
            <a:spLocks/>
          </p:cNvSpPr>
          <p:nvPr>
            <p:custDataLst>
              <p:tags r:id="rId139"/>
            </p:custDataLst>
          </p:nvPr>
        </p:nvSpPr>
        <p:spPr bwMode="gray">
          <a:xfrm>
            <a:off x="4508500" y="5059363"/>
            <a:ext cx="155575" cy="180975"/>
          </a:xfrm>
          <a:custGeom>
            <a:avLst/>
            <a:gdLst>
              <a:gd name="T0" fmla="*/ 2147483647 w 99"/>
              <a:gd name="T1" fmla="*/ 2147483647 h 115"/>
              <a:gd name="T2" fmla="*/ 2147483647 w 99"/>
              <a:gd name="T3" fmla="*/ 2147483647 h 115"/>
              <a:gd name="T4" fmla="*/ 2147483647 w 99"/>
              <a:gd name="T5" fmla="*/ 2147483647 h 115"/>
              <a:gd name="T6" fmla="*/ 2147483647 w 99"/>
              <a:gd name="T7" fmla="*/ 2147483647 h 115"/>
              <a:gd name="T8" fmla="*/ 2147483647 w 99"/>
              <a:gd name="T9" fmla="*/ 2147483647 h 115"/>
              <a:gd name="T10" fmla="*/ 2147483647 w 99"/>
              <a:gd name="T11" fmla="*/ 2147483647 h 115"/>
              <a:gd name="T12" fmla="*/ 2147483647 w 99"/>
              <a:gd name="T13" fmla="*/ 2147483647 h 115"/>
              <a:gd name="T14" fmla="*/ 2147483647 w 99"/>
              <a:gd name="T15" fmla="*/ 2147483647 h 115"/>
              <a:gd name="T16" fmla="*/ 2147483647 w 99"/>
              <a:gd name="T17" fmla="*/ 2147483647 h 115"/>
              <a:gd name="T18" fmla="*/ 2147483647 w 99"/>
              <a:gd name="T19" fmla="*/ 2147483647 h 115"/>
              <a:gd name="T20" fmla="*/ 2147483647 w 99"/>
              <a:gd name="T21" fmla="*/ 2147483647 h 115"/>
              <a:gd name="T22" fmla="*/ 0 w 99"/>
              <a:gd name="T23" fmla="*/ 2147483647 h 115"/>
              <a:gd name="T24" fmla="*/ 0 w 99"/>
              <a:gd name="T25" fmla="*/ 2147483647 h 115"/>
              <a:gd name="T26" fmla="*/ 2147483647 w 99"/>
              <a:gd name="T27" fmla="*/ 2147483647 h 115"/>
              <a:gd name="T28" fmla="*/ 2147483647 w 99"/>
              <a:gd name="T29" fmla="*/ 2147483647 h 115"/>
              <a:gd name="T30" fmla="*/ 2147483647 w 99"/>
              <a:gd name="T31" fmla="*/ 2147483647 h 115"/>
              <a:gd name="T32" fmla="*/ 2147483647 w 99"/>
              <a:gd name="T33" fmla="*/ 2147483647 h 115"/>
              <a:gd name="T34" fmla="*/ 2147483647 w 99"/>
              <a:gd name="T35" fmla="*/ 2147483647 h 115"/>
              <a:gd name="T36" fmla="*/ 2147483647 w 99"/>
              <a:gd name="T37" fmla="*/ 2147483647 h 115"/>
              <a:gd name="T38" fmla="*/ 2147483647 w 99"/>
              <a:gd name="T39" fmla="*/ 2147483647 h 115"/>
              <a:gd name="T40" fmla="*/ 2147483647 w 99"/>
              <a:gd name="T41" fmla="*/ 0 h 115"/>
              <a:gd name="T42" fmla="*/ 2147483647 w 99"/>
              <a:gd name="T43" fmla="*/ 2147483647 h 115"/>
              <a:gd name="T44" fmla="*/ 2147483647 w 99"/>
              <a:gd name="T45" fmla="*/ 2147483647 h 11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99"/>
              <a:gd name="T70" fmla="*/ 0 h 115"/>
              <a:gd name="T71" fmla="*/ 99 w 99"/>
              <a:gd name="T72" fmla="*/ 115 h 115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99" h="115">
                <a:moveTo>
                  <a:pt x="65" y="9"/>
                </a:moveTo>
                <a:lnTo>
                  <a:pt x="65" y="24"/>
                </a:lnTo>
                <a:lnTo>
                  <a:pt x="25" y="18"/>
                </a:lnTo>
                <a:lnTo>
                  <a:pt x="25" y="33"/>
                </a:lnTo>
                <a:lnTo>
                  <a:pt x="33" y="24"/>
                </a:lnTo>
                <a:lnTo>
                  <a:pt x="41" y="33"/>
                </a:lnTo>
                <a:lnTo>
                  <a:pt x="41" y="41"/>
                </a:lnTo>
                <a:lnTo>
                  <a:pt x="41" y="74"/>
                </a:lnTo>
                <a:lnTo>
                  <a:pt x="18" y="74"/>
                </a:lnTo>
                <a:lnTo>
                  <a:pt x="9" y="81"/>
                </a:lnTo>
                <a:lnTo>
                  <a:pt x="9" y="90"/>
                </a:lnTo>
                <a:lnTo>
                  <a:pt x="0" y="90"/>
                </a:lnTo>
                <a:lnTo>
                  <a:pt x="0" y="98"/>
                </a:lnTo>
                <a:lnTo>
                  <a:pt x="18" y="114"/>
                </a:lnTo>
                <a:lnTo>
                  <a:pt x="18" y="106"/>
                </a:lnTo>
                <a:lnTo>
                  <a:pt x="25" y="106"/>
                </a:lnTo>
                <a:lnTo>
                  <a:pt x="41" y="106"/>
                </a:lnTo>
                <a:lnTo>
                  <a:pt x="58" y="98"/>
                </a:lnTo>
                <a:lnTo>
                  <a:pt x="65" y="74"/>
                </a:lnTo>
                <a:lnTo>
                  <a:pt x="81" y="58"/>
                </a:lnTo>
                <a:lnTo>
                  <a:pt x="98" y="0"/>
                </a:lnTo>
                <a:lnTo>
                  <a:pt x="75" y="9"/>
                </a:lnTo>
                <a:lnTo>
                  <a:pt x="65" y="9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29" name="Freeform 185"/>
          <p:cNvSpPr>
            <a:spLocks/>
          </p:cNvSpPr>
          <p:nvPr>
            <p:custDataLst>
              <p:tags r:id="rId140"/>
            </p:custDataLst>
          </p:nvPr>
        </p:nvSpPr>
        <p:spPr bwMode="gray">
          <a:xfrm>
            <a:off x="4864100" y="5151438"/>
            <a:ext cx="41275" cy="36512"/>
          </a:xfrm>
          <a:custGeom>
            <a:avLst/>
            <a:gdLst>
              <a:gd name="T0" fmla="*/ 2147483647 w 26"/>
              <a:gd name="T1" fmla="*/ 2147483647 h 24"/>
              <a:gd name="T2" fmla="*/ 2147483647 w 26"/>
              <a:gd name="T3" fmla="*/ 2147483647 h 24"/>
              <a:gd name="T4" fmla="*/ 0 w 26"/>
              <a:gd name="T5" fmla="*/ 2147483647 h 24"/>
              <a:gd name="T6" fmla="*/ 2147483647 w 26"/>
              <a:gd name="T7" fmla="*/ 2147483647 h 24"/>
              <a:gd name="T8" fmla="*/ 2147483647 w 26"/>
              <a:gd name="T9" fmla="*/ 0 h 24"/>
              <a:gd name="T10" fmla="*/ 2147483647 w 26"/>
              <a:gd name="T11" fmla="*/ 2147483647 h 24"/>
              <a:gd name="T12" fmla="*/ 2147483647 w 26"/>
              <a:gd name="T13" fmla="*/ 2147483647 h 2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6"/>
              <a:gd name="T22" fmla="*/ 0 h 24"/>
              <a:gd name="T23" fmla="*/ 26 w 26"/>
              <a:gd name="T24" fmla="*/ 24 h 2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6" h="24">
                <a:moveTo>
                  <a:pt x="25" y="23"/>
                </a:moveTo>
                <a:lnTo>
                  <a:pt x="9" y="23"/>
                </a:lnTo>
                <a:lnTo>
                  <a:pt x="0" y="23"/>
                </a:lnTo>
                <a:lnTo>
                  <a:pt x="9" y="7"/>
                </a:lnTo>
                <a:lnTo>
                  <a:pt x="25" y="0"/>
                </a:lnTo>
                <a:lnTo>
                  <a:pt x="25" y="16"/>
                </a:lnTo>
                <a:lnTo>
                  <a:pt x="25" y="23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30" name="Freeform 186"/>
          <p:cNvSpPr>
            <a:spLocks/>
          </p:cNvSpPr>
          <p:nvPr>
            <p:custDataLst>
              <p:tags r:id="rId141"/>
            </p:custDataLst>
          </p:nvPr>
        </p:nvSpPr>
        <p:spPr bwMode="gray">
          <a:xfrm>
            <a:off x="4879975" y="5186363"/>
            <a:ext cx="25400" cy="41275"/>
          </a:xfrm>
          <a:custGeom>
            <a:avLst/>
            <a:gdLst>
              <a:gd name="T0" fmla="*/ 2147483647 w 17"/>
              <a:gd name="T1" fmla="*/ 0 h 26"/>
              <a:gd name="T2" fmla="*/ 2147483647 w 17"/>
              <a:gd name="T3" fmla="*/ 2147483647 h 26"/>
              <a:gd name="T4" fmla="*/ 0 w 17"/>
              <a:gd name="T5" fmla="*/ 2147483647 h 26"/>
              <a:gd name="T6" fmla="*/ 0 w 17"/>
              <a:gd name="T7" fmla="*/ 2147483647 h 26"/>
              <a:gd name="T8" fmla="*/ 0 w 17"/>
              <a:gd name="T9" fmla="*/ 0 h 26"/>
              <a:gd name="T10" fmla="*/ 2147483647 w 17"/>
              <a:gd name="T11" fmla="*/ 0 h 2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7"/>
              <a:gd name="T19" fmla="*/ 0 h 26"/>
              <a:gd name="T20" fmla="*/ 17 w 17"/>
              <a:gd name="T21" fmla="*/ 26 h 2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7" h="26">
                <a:moveTo>
                  <a:pt x="16" y="0"/>
                </a:moveTo>
                <a:lnTo>
                  <a:pt x="16" y="9"/>
                </a:lnTo>
                <a:lnTo>
                  <a:pt x="0" y="25"/>
                </a:lnTo>
                <a:lnTo>
                  <a:pt x="0" y="9"/>
                </a:lnTo>
                <a:lnTo>
                  <a:pt x="0" y="0"/>
                </a:lnTo>
                <a:lnTo>
                  <a:pt x="16" y="0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31" name="Freeform 187"/>
          <p:cNvSpPr>
            <a:spLocks/>
          </p:cNvSpPr>
          <p:nvPr>
            <p:custDataLst>
              <p:tags r:id="rId142"/>
            </p:custDataLst>
          </p:nvPr>
        </p:nvSpPr>
        <p:spPr bwMode="gray">
          <a:xfrm>
            <a:off x="4524375" y="5478463"/>
            <a:ext cx="268288" cy="257175"/>
          </a:xfrm>
          <a:custGeom>
            <a:avLst/>
            <a:gdLst>
              <a:gd name="T0" fmla="*/ 2147483647 w 172"/>
              <a:gd name="T1" fmla="*/ 2147483647 h 163"/>
              <a:gd name="T2" fmla="*/ 2147483647 w 172"/>
              <a:gd name="T3" fmla="*/ 2147483647 h 163"/>
              <a:gd name="T4" fmla="*/ 2147483647 w 172"/>
              <a:gd name="T5" fmla="*/ 2147483647 h 163"/>
              <a:gd name="T6" fmla="*/ 2147483647 w 172"/>
              <a:gd name="T7" fmla="*/ 2147483647 h 163"/>
              <a:gd name="T8" fmla="*/ 0 w 172"/>
              <a:gd name="T9" fmla="*/ 2147483647 h 163"/>
              <a:gd name="T10" fmla="*/ 0 w 172"/>
              <a:gd name="T11" fmla="*/ 0 h 163"/>
              <a:gd name="T12" fmla="*/ 2147483647 w 172"/>
              <a:gd name="T13" fmla="*/ 0 h 163"/>
              <a:gd name="T14" fmla="*/ 2147483647 w 172"/>
              <a:gd name="T15" fmla="*/ 0 h 163"/>
              <a:gd name="T16" fmla="*/ 2147483647 w 172"/>
              <a:gd name="T17" fmla="*/ 2147483647 h 163"/>
              <a:gd name="T18" fmla="*/ 2147483647 w 172"/>
              <a:gd name="T19" fmla="*/ 2147483647 h 163"/>
              <a:gd name="T20" fmla="*/ 2147483647 w 172"/>
              <a:gd name="T21" fmla="*/ 2147483647 h 163"/>
              <a:gd name="T22" fmla="*/ 2147483647 w 172"/>
              <a:gd name="T23" fmla="*/ 2147483647 h 163"/>
              <a:gd name="T24" fmla="*/ 2147483647 w 172"/>
              <a:gd name="T25" fmla="*/ 0 h 163"/>
              <a:gd name="T26" fmla="*/ 2147483647 w 172"/>
              <a:gd name="T27" fmla="*/ 2147483647 h 163"/>
              <a:gd name="T28" fmla="*/ 2147483647 w 172"/>
              <a:gd name="T29" fmla="*/ 2147483647 h 163"/>
              <a:gd name="T30" fmla="*/ 2147483647 w 172"/>
              <a:gd name="T31" fmla="*/ 2147483647 h 163"/>
              <a:gd name="T32" fmla="*/ 2147483647 w 172"/>
              <a:gd name="T33" fmla="*/ 2147483647 h 163"/>
              <a:gd name="T34" fmla="*/ 2147483647 w 172"/>
              <a:gd name="T35" fmla="*/ 2147483647 h 163"/>
              <a:gd name="T36" fmla="*/ 2147483647 w 172"/>
              <a:gd name="T37" fmla="*/ 2147483647 h 163"/>
              <a:gd name="T38" fmla="*/ 2147483647 w 172"/>
              <a:gd name="T39" fmla="*/ 2147483647 h 163"/>
              <a:gd name="T40" fmla="*/ 2147483647 w 172"/>
              <a:gd name="T41" fmla="*/ 2147483647 h 163"/>
              <a:gd name="T42" fmla="*/ 2147483647 w 172"/>
              <a:gd name="T43" fmla="*/ 2147483647 h 163"/>
              <a:gd name="T44" fmla="*/ 2147483647 w 172"/>
              <a:gd name="T45" fmla="*/ 2147483647 h 163"/>
              <a:gd name="T46" fmla="*/ 2147483647 w 172"/>
              <a:gd name="T47" fmla="*/ 2147483647 h 163"/>
              <a:gd name="T48" fmla="*/ 2147483647 w 172"/>
              <a:gd name="T49" fmla="*/ 2147483647 h 16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72"/>
              <a:gd name="T76" fmla="*/ 0 h 163"/>
              <a:gd name="T77" fmla="*/ 172 w 172"/>
              <a:gd name="T78" fmla="*/ 163 h 163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72" h="163">
                <a:moveTo>
                  <a:pt x="56" y="162"/>
                </a:moveTo>
                <a:lnTo>
                  <a:pt x="49" y="146"/>
                </a:lnTo>
                <a:lnTo>
                  <a:pt x="32" y="99"/>
                </a:lnTo>
                <a:lnTo>
                  <a:pt x="32" y="75"/>
                </a:lnTo>
                <a:lnTo>
                  <a:pt x="0" y="9"/>
                </a:lnTo>
                <a:lnTo>
                  <a:pt x="0" y="0"/>
                </a:lnTo>
                <a:lnTo>
                  <a:pt x="16" y="0"/>
                </a:lnTo>
                <a:lnTo>
                  <a:pt x="32" y="0"/>
                </a:lnTo>
                <a:lnTo>
                  <a:pt x="81" y="9"/>
                </a:lnTo>
                <a:lnTo>
                  <a:pt x="97" y="9"/>
                </a:lnTo>
                <a:lnTo>
                  <a:pt x="130" y="16"/>
                </a:lnTo>
                <a:lnTo>
                  <a:pt x="146" y="9"/>
                </a:lnTo>
                <a:lnTo>
                  <a:pt x="153" y="0"/>
                </a:lnTo>
                <a:lnTo>
                  <a:pt x="171" y="9"/>
                </a:lnTo>
                <a:lnTo>
                  <a:pt x="153" y="25"/>
                </a:lnTo>
                <a:lnTo>
                  <a:pt x="146" y="16"/>
                </a:lnTo>
                <a:lnTo>
                  <a:pt x="121" y="16"/>
                </a:lnTo>
                <a:lnTo>
                  <a:pt x="112" y="65"/>
                </a:lnTo>
                <a:lnTo>
                  <a:pt x="106" y="75"/>
                </a:lnTo>
                <a:lnTo>
                  <a:pt x="106" y="106"/>
                </a:lnTo>
                <a:lnTo>
                  <a:pt x="106" y="155"/>
                </a:lnTo>
                <a:lnTo>
                  <a:pt x="89" y="162"/>
                </a:lnTo>
                <a:lnTo>
                  <a:pt x="72" y="162"/>
                </a:lnTo>
                <a:lnTo>
                  <a:pt x="66" y="155"/>
                </a:lnTo>
                <a:lnTo>
                  <a:pt x="56" y="162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32" name="Freeform 188"/>
          <p:cNvSpPr>
            <a:spLocks/>
          </p:cNvSpPr>
          <p:nvPr>
            <p:custDataLst>
              <p:tags r:id="rId143"/>
            </p:custDataLst>
          </p:nvPr>
        </p:nvSpPr>
        <p:spPr bwMode="gray">
          <a:xfrm>
            <a:off x="4524375" y="5249863"/>
            <a:ext cx="252413" cy="255587"/>
          </a:xfrm>
          <a:custGeom>
            <a:avLst/>
            <a:gdLst>
              <a:gd name="T0" fmla="*/ 0 w 162"/>
              <a:gd name="T1" fmla="*/ 2147483647 h 163"/>
              <a:gd name="T2" fmla="*/ 2147483647 w 162"/>
              <a:gd name="T3" fmla="*/ 2147483647 h 163"/>
              <a:gd name="T4" fmla="*/ 2147483647 w 162"/>
              <a:gd name="T5" fmla="*/ 2147483647 h 163"/>
              <a:gd name="T6" fmla="*/ 2147483647 w 162"/>
              <a:gd name="T7" fmla="*/ 2147483647 h 163"/>
              <a:gd name="T8" fmla="*/ 2147483647 w 162"/>
              <a:gd name="T9" fmla="*/ 2147483647 h 163"/>
              <a:gd name="T10" fmla="*/ 2147483647 w 162"/>
              <a:gd name="T11" fmla="*/ 2147483647 h 163"/>
              <a:gd name="T12" fmla="*/ 2147483647 w 162"/>
              <a:gd name="T13" fmla="*/ 2147483647 h 163"/>
              <a:gd name="T14" fmla="*/ 2147483647 w 162"/>
              <a:gd name="T15" fmla="*/ 2147483647 h 163"/>
              <a:gd name="T16" fmla="*/ 2147483647 w 162"/>
              <a:gd name="T17" fmla="*/ 2147483647 h 163"/>
              <a:gd name="T18" fmla="*/ 2147483647 w 162"/>
              <a:gd name="T19" fmla="*/ 2147483647 h 163"/>
              <a:gd name="T20" fmla="*/ 2147483647 w 162"/>
              <a:gd name="T21" fmla="*/ 2147483647 h 163"/>
              <a:gd name="T22" fmla="*/ 2147483647 w 162"/>
              <a:gd name="T23" fmla="*/ 2147483647 h 163"/>
              <a:gd name="T24" fmla="*/ 2147483647 w 162"/>
              <a:gd name="T25" fmla="*/ 2147483647 h 163"/>
              <a:gd name="T26" fmla="*/ 2147483647 w 162"/>
              <a:gd name="T27" fmla="*/ 2147483647 h 163"/>
              <a:gd name="T28" fmla="*/ 2147483647 w 162"/>
              <a:gd name="T29" fmla="*/ 2147483647 h 163"/>
              <a:gd name="T30" fmla="*/ 2147483647 w 162"/>
              <a:gd name="T31" fmla="*/ 2147483647 h 163"/>
              <a:gd name="T32" fmla="*/ 2147483647 w 162"/>
              <a:gd name="T33" fmla="*/ 2147483647 h 163"/>
              <a:gd name="T34" fmla="*/ 2147483647 w 162"/>
              <a:gd name="T35" fmla="*/ 2147483647 h 163"/>
              <a:gd name="T36" fmla="*/ 2147483647 w 162"/>
              <a:gd name="T37" fmla="*/ 2147483647 h 163"/>
              <a:gd name="T38" fmla="*/ 2147483647 w 162"/>
              <a:gd name="T39" fmla="*/ 2147483647 h 163"/>
              <a:gd name="T40" fmla="*/ 2147483647 w 162"/>
              <a:gd name="T41" fmla="*/ 2147483647 h 163"/>
              <a:gd name="T42" fmla="*/ 2147483647 w 162"/>
              <a:gd name="T43" fmla="*/ 0 h 163"/>
              <a:gd name="T44" fmla="*/ 2147483647 w 162"/>
              <a:gd name="T45" fmla="*/ 0 h 163"/>
              <a:gd name="T46" fmla="*/ 2147483647 w 162"/>
              <a:gd name="T47" fmla="*/ 0 h 163"/>
              <a:gd name="T48" fmla="*/ 2147483647 w 162"/>
              <a:gd name="T49" fmla="*/ 2147483647 h 163"/>
              <a:gd name="T50" fmla="*/ 2147483647 w 162"/>
              <a:gd name="T51" fmla="*/ 2147483647 h 163"/>
              <a:gd name="T52" fmla="*/ 2147483647 w 162"/>
              <a:gd name="T53" fmla="*/ 2147483647 h 163"/>
              <a:gd name="T54" fmla="*/ 2147483647 w 162"/>
              <a:gd name="T55" fmla="*/ 2147483647 h 163"/>
              <a:gd name="T56" fmla="*/ 2147483647 w 162"/>
              <a:gd name="T57" fmla="*/ 2147483647 h 163"/>
              <a:gd name="T58" fmla="*/ 2147483647 w 162"/>
              <a:gd name="T59" fmla="*/ 2147483647 h 163"/>
              <a:gd name="T60" fmla="*/ 0 w 162"/>
              <a:gd name="T61" fmla="*/ 2147483647 h 163"/>
              <a:gd name="T62" fmla="*/ 0 w 162"/>
              <a:gd name="T63" fmla="*/ 2147483647 h 163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62"/>
              <a:gd name="T97" fmla="*/ 0 h 163"/>
              <a:gd name="T98" fmla="*/ 162 w 162"/>
              <a:gd name="T99" fmla="*/ 163 h 163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62" h="163">
                <a:moveTo>
                  <a:pt x="0" y="146"/>
                </a:moveTo>
                <a:lnTo>
                  <a:pt x="16" y="146"/>
                </a:lnTo>
                <a:lnTo>
                  <a:pt x="32" y="146"/>
                </a:lnTo>
                <a:lnTo>
                  <a:pt x="81" y="155"/>
                </a:lnTo>
                <a:lnTo>
                  <a:pt x="97" y="155"/>
                </a:lnTo>
                <a:lnTo>
                  <a:pt x="130" y="162"/>
                </a:lnTo>
                <a:lnTo>
                  <a:pt x="146" y="155"/>
                </a:lnTo>
                <a:lnTo>
                  <a:pt x="130" y="139"/>
                </a:lnTo>
                <a:lnTo>
                  <a:pt x="130" y="99"/>
                </a:lnTo>
                <a:lnTo>
                  <a:pt x="161" y="90"/>
                </a:lnTo>
                <a:lnTo>
                  <a:pt x="153" y="65"/>
                </a:lnTo>
                <a:lnTo>
                  <a:pt x="130" y="74"/>
                </a:lnTo>
                <a:lnTo>
                  <a:pt x="130" y="65"/>
                </a:lnTo>
                <a:lnTo>
                  <a:pt x="137" y="59"/>
                </a:lnTo>
                <a:lnTo>
                  <a:pt x="130" y="50"/>
                </a:lnTo>
                <a:lnTo>
                  <a:pt x="130" y="25"/>
                </a:lnTo>
                <a:lnTo>
                  <a:pt x="112" y="17"/>
                </a:lnTo>
                <a:lnTo>
                  <a:pt x="97" y="17"/>
                </a:lnTo>
                <a:lnTo>
                  <a:pt x="97" y="25"/>
                </a:lnTo>
                <a:lnTo>
                  <a:pt x="81" y="34"/>
                </a:lnTo>
                <a:lnTo>
                  <a:pt x="66" y="17"/>
                </a:lnTo>
                <a:lnTo>
                  <a:pt x="66" y="0"/>
                </a:lnTo>
                <a:lnTo>
                  <a:pt x="56" y="0"/>
                </a:lnTo>
                <a:lnTo>
                  <a:pt x="24" y="0"/>
                </a:lnTo>
                <a:lnTo>
                  <a:pt x="9" y="9"/>
                </a:lnTo>
                <a:lnTo>
                  <a:pt x="16" y="34"/>
                </a:lnTo>
                <a:lnTo>
                  <a:pt x="16" y="40"/>
                </a:lnTo>
                <a:lnTo>
                  <a:pt x="24" y="74"/>
                </a:lnTo>
                <a:lnTo>
                  <a:pt x="24" y="90"/>
                </a:lnTo>
                <a:lnTo>
                  <a:pt x="9" y="99"/>
                </a:lnTo>
                <a:lnTo>
                  <a:pt x="0" y="131"/>
                </a:lnTo>
                <a:lnTo>
                  <a:pt x="0" y="146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33" name="Freeform 189"/>
          <p:cNvSpPr>
            <a:spLocks/>
          </p:cNvSpPr>
          <p:nvPr>
            <p:custDataLst>
              <p:tags r:id="rId144"/>
            </p:custDataLst>
          </p:nvPr>
        </p:nvSpPr>
        <p:spPr bwMode="gray">
          <a:xfrm>
            <a:off x="4537075" y="5226050"/>
            <a:ext cx="26988" cy="26988"/>
          </a:xfrm>
          <a:custGeom>
            <a:avLst/>
            <a:gdLst>
              <a:gd name="T0" fmla="*/ 2147483647 w 17"/>
              <a:gd name="T1" fmla="*/ 0 h 17"/>
              <a:gd name="T2" fmla="*/ 0 w 17"/>
              <a:gd name="T3" fmla="*/ 2147483647 h 17"/>
              <a:gd name="T4" fmla="*/ 0 w 17"/>
              <a:gd name="T5" fmla="*/ 2147483647 h 17"/>
              <a:gd name="T6" fmla="*/ 0 w 17"/>
              <a:gd name="T7" fmla="*/ 0 h 17"/>
              <a:gd name="T8" fmla="*/ 2147483647 w 17"/>
              <a:gd name="T9" fmla="*/ 0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17"/>
              <a:gd name="T17" fmla="*/ 17 w 17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17">
                <a:moveTo>
                  <a:pt x="16" y="0"/>
                </a:moveTo>
                <a:lnTo>
                  <a:pt x="0" y="16"/>
                </a:lnTo>
                <a:lnTo>
                  <a:pt x="0" y="8"/>
                </a:lnTo>
                <a:lnTo>
                  <a:pt x="0" y="0"/>
                </a:lnTo>
                <a:lnTo>
                  <a:pt x="16" y="0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34" name="Freeform 190"/>
          <p:cNvSpPr>
            <a:spLocks/>
          </p:cNvSpPr>
          <p:nvPr>
            <p:custDataLst>
              <p:tags r:id="rId145"/>
            </p:custDataLst>
          </p:nvPr>
        </p:nvSpPr>
        <p:spPr bwMode="gray">
          <a:xfrm>
            <a:off x="4537075" y="5226050"/>
            <a:ext cx="26988" cy="26988"/>
          </a:xfrm>
          <a:custGeom>
            <a:avLst/>
            <a:gdLst>
              <a:gd name="T0" fmla="*/ 2147483647 w 17"/>
              <a:gd name="T1" fmla="*/ 0 h 17"/>
              <a:gd name="T2" fmla="*/ 0 w 17"/>
              <a:gd name="T3" fmla="*/ 2147483647 h 17"/>
              <a:gd name="T4" fmla="*/ 0 w 17"/>
              <a:gd name="T5" fmla="*/ 2147483647 h 17"/>
              <a:gd name="T6" fmla="*/ 0 w 17"/>
              <a:gd name="T7" fmla="*/ 0 h 17"/>
              <a:gd name="T8" fmla="*/ 2147483647 w 17"/>
              <a:gd name="T9" fmla="*/ 0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17"/>
              <a:gd name="T17" fmla="*/ 17 w 17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17">
                <a:moveTo>
                  <a:pt x="16" y="0"/>
                </a:moveTo>
                <a:lnTo>
                  <a:pt x="0" y="16"/>
                </a:lnTo>
                <a:lnTo>
                  <a:pt x="0" y="8"/>
                </a:lnTo>
                <a:lnTo>
                  <a:pt x="0" y="0"/>
                </a:lnTo>
                <a:lnTo>
                  <a:pt x="16" y="0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35" name="Freeform 191"/>
          <p:cNvSpPr>
            <a:spLocks/>
          </p:cNvSpPr>
          <p:nvPr>
            <p:custDataLst>
              <p:tags r:id="rId146"/>
            </p:custDataLst>
          </p:nvPr>
        </p:nvSpPr>
        <p:spPr bwMode="gray">
          <a:xfrm>
            <a:off x="4610100" y="5580063"/>
            <a:ext cx="334963" cy="295275"/>
          </a:xfrm>
          <a:custGeom>
            <a:avLst/>
            <a:gdLst>
              <a:gd name="T0" fmla="*/ 2147483647 w 213"/>
              <a:gd name="T1" fmla="*/ 2147483647 h 188"/>
              <a:gd name="T2" fmla="*/ 2147483647 w 213"/>
              <a:gd name="T3" fmla="*/ 2147483647 h 188"/>
              <a:gd name="T4" fmla="*/ 2147483647 w 213"/>
              <a:gd name="T5" fmla="*/ 2147483647 h 188"/>
              <a:gd name="T6" fmla="*/ 2147483647 w 213"/>
              <a:gd name="T7" fmla="*/ 2147483647 h 188"/>
              <a:gd name="T8" fmla="*/ 2147483647 w 213"/>
              <a:gd name="T9" fmla="*/ 2147483647 h 188"/>
              <a:gd name="T10" fmla="*/ 2147483647 w 213"/>
              <a:gd name="T11" fmla="*/ 2147483647 h 188"/>
              <a:gd name="T12" fmla="*/ 2147483647 w 213"/>
              <a:gd name="T13" fmla="*/ 2147483647 h 188"/>
              <a:gd name="T14" fmla="*/ 2147483647 w 213"/>
              <a:gd name="T15" fmla="*/ 2147483647 h 188"/>
              <a:gd name="T16" fmla="*/ 2147483647 w 213"/>
              <a:gd name="T17" fmla="*/ 2147483647 h 188"/>
              <a:gd name="T18" fmla="*/ 2147483647 w 213"/>
              <a:gd name="T19" fmla="*/ 2147483647 h 188"/>
              <a:gd name="T20" fmla="*/ 2147483647 w 213"/>
              <a:gd name="T21" fmla="*/ 2147483647 h 188"/>
              <a:gd name="T22" fmla="*/ 2147483647 w 213"/>
              <a:gd name="T23" fmla="*/ 2147483647 h 188"/>
              <a:gd name="T24" fmla="*/ 2147483647 w 213"/>
              <a:gd name="T25" fmla="*/ 2147483647 h 188"/>
              <a:gd name="T26" fmla="*/ 2147483647 w 213"/>
              <a:gd name="T27" fmla="*/ 2147483647 h 188"/>
              <a:gd name="T28" fmla="*/ 2147483647 w 213"/>
              <a:gd name="T29" fmla="*/ 2147483647 h 188"/>
              <a:gd name="T30" fmla="*/ 2147483647 w 213"/>
              <a:gd name="T31" fmla="*/ 2147483647 h 188"/>
              <a:gd name="T32" fmla="*/ 2147483647 w 213"/>
              <a:gd name="T33" fmla="*/ 2147483647 h 188"/>
              <a:gd name="T34" fmla="*/ 2147483647 w 213"/>
              <a:gd name="T35" fmla="*/ 2147483647 h 188"/>
              <a:gd name="T36" fmla="*/ 2147483647 w 213"/>
              <a:gd name="T37" fmla="*/ 2147483647 h 188"/>
              <a:gd name="T38" fmla="*/ 2147483647 w 213"/>
              <a:gd name="T39" fmla="*/ 2147483647 h 188"/>
              <a:gd name="T40" fmla="*/ 2147483647 w 213"/>
              <a:gd name="T41" fmla="*/ 2147483647 h 188"/>
              <a:gd name="T42" fmla="*/ 2147483647 w 213"/>
              <a:gd name="T43" fmla="*/ 2147483647 h 188"/>
              <a:gd name="T44" fmla="*/ 0 w 213"/>
              <a:gd name="T45" fmla="*/ 2147483647 h 188"/>
              <a:gd name="T46" fmla="*/ 2147483647 w 213"/>
              <a:gd name="T47" fmla="*/ 2147483647 h 188"/>
              <a:gd name="T48" fmla="*/ 2147483647 w 213"/>
              <a:gd name="T49" fmla="*/ 2147483647 h 188"/>
              <a:gd name="T50" fmla="*/ 2147483647 w 213"/>
              <a:gd name="T51" fmla="*/ 2147483647 h 188"/>
              <a:gd name="T52" fmla="*/ 2147483647 w 213"/>
              <a:gd name="T53" fmla="*/ 2147483647 h 188"/>
              <a:gd name="T54" fmla="*/ 2147483647 w 213"/>
              <a:gd name="T55" fmla="*/ 2147483647 h 188"/>
              <a:gd name="T56" fmla="*/ 2147483647 w 213"/>
              <a:gd name="T57" fmla="*/ 2147483647 h 188"/>
              <a:gd name="T58" fmla="*/ 2147483647 w 213"/>
              <a:gd name="T59" fmla="*/ 2147483647 h 188"/>
              <a:gd name="T60" fmla="*/ 2147483647 w 213"/>
              <a:gd name="T61" fmla="*/ 2147483647 h 188"/>
              <a:gd name="T62" fmla="*/ 2147483647 w 213"/>
              <a:gd name="T63" fmla="*/ 2147483647 h 188"/>
              <a:gd name="T64" fmla="*/ 2147483647 w 213"/>
              <a:gd name="T65" fmla="*/ 2147483647 h 188"/>
              <a:gd name="T66" fmla="*/ 2147483647 w 213"/>
              <a:gd name="T67" fmla="*/ 2147483647 h 188"/>
              <a:gd name="T68" fmla="*/ 2147483647 w 213"/>
              <a:gd name="T69" fmla="*/ 2147483647 h 188"/>
              <a:gd name="T70" fmla="*/ 2147483647 w 213"/>
              <a:gd name="T71" fmla="*/ 0 h 188"/>
              <a:gd name="T72" fmla="*/ 2147483647 w 213"/>
              <a:gd name="T73" fmla="*/ 2147483647 h 188"/>
              <a:gd name="T74" fmla="*/ 2147483647 w 213"/>
              <a:gd name="T75" fmla="*/ 2147483647 h 188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13"/>
              <a:gd name="T115" fmla="*/ 0 h 188"/>
              <a:gd name="T116" fmla="*/ 213 w 213"/>
              <a:gd name="T117" fmla="*/ 188 h 188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213" h="188">
                <a:moveTo>
                  <a:pt x="196" y="10"/>
                </a:moveTo>
                <a:lnTo>
                  <a:pt x="202" y="57"/>
                </a:lnTo>
                <a:lnTo>
                  <a:pt x="196" y="57"/>
                </a:lnTo>
                <a:lnTo>
                  <a:pt x="187" y="65"/>
                </a:lnTo>
                <a:lnTo>
                  <a:pt x="196" y="74"/>
                </a:lnTo>
                <a:lnTo>
                  <a:pt x="202" y="65"/>
                </a:lnTo>
                <a:lnTo>
                  <a:pt x="212" y="65"/>
                </a:lnTo>
                <a:lnTo>
                  <a:pt x="212" y="74"/>
                </a:lnTo>
                <a:lnTo>
                  <a:pt x="212" y="97"/>
                </a:lnTo>
                <a:lnTo>
                  <a:pt x="196" y="105"/>
                </a:lnTo>
                <a:lnTo>
                  <a:pt x="180" y="130"/>
                </a:lnTo>
                <a:lnTo>
                  <a:pt x="155" y="153"/>
                </a:lnTo>
                <a:lnTo>
                  <a:pt x="139" y="171"/>
                </a:lnTo>
                <a:lnTo>
                  <a:pt x="115" y="178"/>
                </a:lnTo>
                <a:lnTo>
                  <a:pt x="97" y="178"/>
                </a:lnTo>
                <a:lnTo>
                  <a:pt x="74" y="178"/>
                </a:lnTo>
                <a:lnTo>
                  <a:pt x="50" y="187"/>
                </a:lnTo>
                <a:lnTo>
                  <a:pt x="41" y="187"/>
                </a:lnTo>
                <a:lnTo>
                  <a:pt x="33" y="178"/>
                </a:lnTo>
                <a:lnTo>
                  <a:pt x="25" y="153"/>
                </a:lnTo>
                <a:lnTo>
                  <a:pt x="25" y="147"/>
                </a:lnTo>
                <a:lnTo>
                  <a:pt x="10" y="97"/>
                </a:lnTo>
                <a:lnTo>
                  <a:pt x="0" y="97"/>
                </a:lnTo>
                <a:lnTo>
                  <a:pt x="10" y="90"/>
                </a:lnTo>
                <a:lnTo>
                  <a:pt x="16" y="97"/>
                </a:lnTo>
                <a:lnTo>
                  <a:pt x="33" y="97"/>
                </a:lnTo>
                <a:lnTo>
                  <a:pt x="50" y="90"/>
                </a:lnTo>
                <a:lnTo>
                  <a:pt x="50" y="41"/>
                </a:lnTo>
                <a:lnTo>
                  <a:pt x="56" y="50"/>
                </a:lnTo>
                <a:lnTo>
                  <a:pt x="56" y="65"/>
                </a:lnTo>
                <a:lnTo>
                  <a:pt x="74" y="65"/>
                </a:lnTo>
                <a:lnTo>
                  <a:pt x="97" y="50"/>
                </a:lnTo>
                <a:lnTo>
                  <a:pt x="105" y="57"/>
                </a:lnTo>
                <a:lnTo>
                  <a:pt x="115" y="50"/>
                </a:lnTo>
                <a:lnTo>
                  <a:pt x="147" y="16"/>
                </a:lnTo>
                <a:lnTo>
                  <a:pt x="171" y="0"/>
                </a:lnTo>
                <a:lnTo>
                  <a:pt x="187" y="10"/>
                </a:lnTo>
                <a:lnTo>
                  <a:pt x="196" y="10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36" name="Freeform 192"/>
          <p:cNvSpPr>
            <a:spLocks/>
          </p:cNvSpPr>
          <p:nvPr>
            <p:custDataLst>
              <p:tags r:id="rId147"/>
            </p:custDataLst>
          </p:nvPr>
        </p:nvSpPr>
        <p:spPr bwMode="gray">
          <a:xfrm>
            <a:off x="4687888" y="5492750"/>
            <a:ext cx="193675" cy="190500"/>
          </a:xfrm>
          <a:custGeom>
            <a:avLst/>
            <a:gdLst>
              <a:gd name="T0" fmla="*/ 0 w 122"/>
              <a:gd name="T1" fmla="*/ 2147483647 h 122"/>
              <a:gd name="T2" fmla="*/ 2147483647 w 122"/>
              <a:gd name="T3" fmla="*/ 2147483647 h 122"/>
              <a:gd name="T4" fmla="*/ 2147483647 w 122"/>
              <a:gd name="T5" fmla="*/ 2147483647 h 122"/>
              <a:gd name="T6" fmla="*/ 2147483647 w 122"/>
              <a:gd name="T7" fmla="*/ 2147483647 h 122"/>
              <a:gd name="T8" fmla="*/ 2147483647 w 122"/>
              <a:gd name="T9" fmla="*/ 2147483647 h 122"/>
              <a:gd name="T10" fmla="*/ 2147483647 w 122"/>
              <a:gd name="T11" fmla="*/ 2147483647 h 122"/>
              <a:gd name="T12" fmla="*/ 2147483647 w 122"/>
              <a:gd name="T13" fmla="*/ 2147483647 h 122"/>
              <a:gd name="T14" fmla="*/ 2147483647 w 122"/>
              <a:gd name="T15" fmla="*/ 2147483647 h 122"/>
              <a:gd name="T16" fmla="*/ 2147483647 w 122"/>
              <a:gd name="T17" fmla="*/ 2147483647 h 122"/>
              <a:gd name="T18" fmla="*/ 2147483647 w 122"/>
              <a:gd name="T19" fmla="*/ 2147483647 h 122"/>
              <a:gd name="T20" fmla="*/ 2147483647 w 122"/>
              <a:gd name="T21" fmla="*/ 2147483647 h 122"/>
              <a:gd name="T22" fmla="*/ 2147483647 w 122"/>
              <a:gd name="T23" fmla="*/ 2147483647 h 122"/>
              <a:gd name="T24" fmla="*/ 2147483647 w 122"/>
              <a:gd name="T25" fmla="*/ 0 h 122"/>
              <a:gd name="T26" fmla="*/ 2147483647 w 122"/>
              <a:gd name="T27" fmla="*/ 2147483647 h 122"/>
              <a:gd name="T28" fmla="*/ 2147483647 w 122"/>
              <a:gd name="T29" fmla="*/ 2147483647 h 122"/>
              <a:gd name="T30" fmla="*/ 2147483647 w 122"/>
              <a:gd name="T31" fmla="*/ 2147483647 h 122"/>
              <a:gd name="T32" fmla="*/ 2147483647 w 122"/>
              <a:gd name="T33" fmla="*/ 2147483647 h 122"/>
              <a:gd name="T34" fmla="*/ 0 w 122"/>
              <a:gd name="T35" fmla="*/ 2147483647 h 122"/>
              <a:gd name="T36" fmla="*/ 0 w 122"/>
              <a:gd name="T37" fmla="*/ 2147483647 h 12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22"/>
              <a:gd name="T58" fmla="*/ 0 h 122"/>
              <a:gd name="T59" fmla="*/ 122 w 122"/>
              <a:gd name="T60" fmla="*/ 122 h 122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22" h="122">
                <a:moveTo>
                  <a:pt x="0" y="97"/>
                </a:moveTo>
                <a:lnTo>
                  <a:pt x="6" y="106"/>
                </a:lnTo>
                <a:lnTo>
                  <a:pt x="6" y="121"/>
                </a:lnTo>
                <a:lnTo>
                  <a:pt x="24" y="121"/>
                </a:lnTo>
                <a:lnTo>
                  <a:pt x="47" y="106"/>
                </a:lnTo>
                <a:lnTo>
                  <a:pt x="55" y="113"/>
                </a:lnTo>
                <a:lnTo>
                  <a:pt x="65" y="106"/>
                </a:lnTo>
                <a:lnTo>
                  <a:pt x="97" y="72"/>
                </a:lnTo>
                <a:lnTo>
                  <a:pt x="121" y="56"/>
                </a:lnTo>
                <a:lnTo>
                  <a:pt x="105" y="56"/>
                </a:lnTo>
                <a:lnTo>
                  <a:pt x="97" y="41"/>
                </a:lnTo>
                <a:lnTo>
                  <a:pt x="80" y="24"/>
                </a:lnTo>
                <a:lnTo>
                  <a:pt x="65" y="0"/>
                </a:lnTo>
                <a:lnTo>
                  <a:pt x="47" y="16"/>
                </a:lnTo>
                <a:lnTo>
                  <a:pt x="40" y="7"/>
                </a:lnTo>
                <a:lnTo>
                  <a:pt x="15" y="7"/>
                </a:lnTo>
                <a:lnTo>
                  <a:pt x="6" y="56"/>
                </a:lnTo>
                <a:lnTo>
                  <a:pt x="0" y="66"/>
                </a:lnTo>
                <a:lnTo>
                  <a:pt x="0" y="97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37" name="Freeform 193"/>
          <p:cNvSpPr>
            <a:spLocks/>
          </p:cNvSpPr>
          <p:nvPr>
            <p:custDataLst>
              <p:tags r:id="rId148"/>
            </p:custDataLst>
          </p:nvPr>
        </p:nvSpPr>
        <p:spPr bwMode="gray">
          <a:xfrm>
            <a:off x="4791075" y="5456238"/>
            <a:ext cx="166688" cy="141287"/>
          </a:xfrm>
          <a:custGeom>
            <a:avLst/>
            <a:gdLst>
              <a:gd name="T0" fmla="*/ 2147483647 w 106"/>
              <a:gd name="T1" fmla="*/ 0 h 91"/>
              <a:gd name="T2" fmla="*/ 2147483647 w 106"/>
              <a:gd name="T3" fmla="*/ 0 h 91"/>
              <a:gd name="T4" fmla="*/ 2147483647 w 106"/>
              <a:gd name="T5" fmla="*/ 2147483647 h 91"/>
              <a:gd name="T6" fmla="*/ 2147483647 w 106"/>
              <a:gd name="T7" fmla="*/ 2147483647 h 91"/>
              <a:gd name="T8" fmla="*/ 0 w 106"/>
              <a:gd name="T9" fmla="*/ 2147483647 h 91"/>
              <a:gd name="T10" fmla="*/ 2147483647 w 106"/>
              <a:gd name="T11" fmla="*/ 2147483647 h 91"/>
              <a:gd name="T12" fmla="*/ 2147483647 w 106"/>
              <a:gd name="T13" fmla="*/ 2147483647 h 91"/>
              <a:gd name="T14" fmla="*/ 2147483647 w 106"/>
              <a:gd name="T15" fmla="*/ 2147483647 h 91"/>
              <a:gd name="T16" fmla="*/ 2147483647 w 106"/>
              <a:gd name="T17" fmla="*/ 2147483647 h 91"/>
              <a:gd name="T18" fmla="*/ 2147483647 w 106"/>
              <a:gd name="T19" fmla="*/ 2147483647 h 91"/>
              <a:gd name="T20" fmla="*/ 2147483647 w 106"/>
              <a:gd name="T21" fmla="*/ 2147483647 h 91"/>
              <a:gd name="T22" fmla="*/ 2147483647 w 106"/>
              <a:gd name="T23" fmla="*/ 2147483647 h 91"/>
              <a:gd name="T24" fmla="*/ 2147483647 w 106"/>
              <a:gd name="T25" fmla="*/ 2147483647 h 91"/>
              <a:gd name="T26" fmla="*/ 2147483647 w 106"/>
              <a:gd name="T27" fmla="*/ 2147483647 h 91"/>
              <a:gd name="T28" fmla="*/ 2147483647 w 106"/>
              <a:gd name="T29" fmla="*/ 0 h 91"/>
              <a:gd name="T30" fmla="*/ 2147483647 w 106"/>
              <a:gd name="T31" fmla="*/ 0 h 9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06"/>
              <a:gd name="T49" fmla="*/ 0 h 91"/>
              <a:gd name="T50" fmla="*/ 106 w 106"/>
              <a:gd name="T51" fmla="*/ 91 h 91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06" h="91">
                <a:moveTo>
                  <a:pt x="65" y="0"/>
                </a:moveTo>
                <a:lnTo>
                  <a:pt x="47" y="0"/>
                </a:lnTo>
                <a:lnTo>
                  <a:pt x="47" y="8"/>
                </a:lnTo>
                <a:lnTo>
                  <a:pt x="24" y="24"/>
                </a:lnTo>
                <a:lnTo>
                  <a:pt x="0" y="24"/>
                </a:lnTo>
                <a:lnTo>
                  <a:pt x="15" y="48"/>
                </a:lnTo>
                <a:lnTo>
                  <a:pt x="32" y="65"/>
                </a:lnTo>
                <a:lnTo>
                  <a:pt x="40" y="80"/>
                </a:lnTo>
                <a:lnTo>
                  <a:pt x="56" y="80"/>
                </a:lnTo>
                <a:lnTo>
                  <a:pt x="72" y="90"/>
                </a:lnTo>
                <a:lnTo>
                  <a:pt x="81" y="90"/>
                </a:lnTo>
                <a:lnTo>
                  <a:pt x="97" y="56"/>
                </a:lnTo>
                <a:lnTo>
                  <a:pt x="105" y="24"/>
                </a:lnTo>
                <a:lnTo>
                  <a:pt x="97" y="8"/>
                </a:lnTo>
                <a:lnTo>
                  <a:pt x="81" y="0"/>
                </a:lnTo>
                <a:lnTo>
                  <a:pt x="65" y="0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38" name="Freeform 194"/>
          <p:cNvSpPr>
            <a:spLocks/>
          </p:cNvSpPr>
          <p:nvPr>
            <p:custDataLst>
              <p:tags r:id="rId149"/>
            </p:custDataLst>
          </p:nvPr>
        </p:nvSpPr>
        <p:spPr bwMode="gray">
          <a:xfrm>
            <a:off x="4892675" y="5341938"/>
            <a:ext cx="217488" cy="341312"/>
          </a:xfrm>
          <a:custGeom>
            <a:avLst/>
            <a:gdLst>
              <a:gd name="T0" fmla="*/ 2147483647 w 138"/>
              <a:gd name="T1" fmla="*/ 2147483647 h 218"/>
              <a:gd name="T2" fmla="*/ 2147483647 w 138"/>
              <a:gd name="T3" fmla="*/ 2147483647 h 218"/>
              <a:gd name="T4" fmla="*/ 2147483647 w 138"/>
              <a:gd name="T5" fmla="*/ 2147483647 h 218"/>
              <a:gd name="T6" fmla="*/ 2147483647 w 138"/>
              <a:gd name="T7" fmla="*/ 2147483647 h 218"/>
              <a:gd name="T8" fmla="*/ 2147483647 w 138"/>
              <a:gd name="T9" fmla="*/ 2147483647 h 218"/>
              <a:gd name="T10" fmla="*/ 2147483647 w 138"/>
              <a:gd name="T11" fmla="*/ 2147483647 h 218"/>
              <a:gd name="T12" fmla="*/ 2147483647 w 138"/>
              <a:gd name="T13" fmla="*/ 2147483647 h 218"/>
              <a:gd name="T14" fmla="*/ 2147483647 w 138"/>
              <a:gd name="T15" fmla="*/ 2147483647 h 218"/>
              <a:gd name="T16" fmla="*/ 2147483647 w 138"/>
              <a:gd name="T17" fmla="*/ 2147483647 h 218"/>
              <a:gd name="T18" fmla="*/ 2147483647 w 138"/>
              <a:gd name="T19" fmla="*/ 2147483647 h 218"/>
              <a:gd name="T20" fmla="*/ 2147483647 w 138"/>
              <a:gd name="T21" fmla="*/ 0 h 218"/>
              <a:gd name="T22" fmla="*/ 2147483647 w 138"/>
              <a:gd name="T23" fmla="*/ 2147483647 h 218"/>
              <a:gd name="T24" fmla="*/ 2147483647 w 138"/>
              <a:gd name="T25" fmla="*/ 2147483647 h 218"/>
              <a:gd name="T26" fmla="*/ 2147483647 w 138"/>
              <a:gd name="T27" fmla="*/ 2147483647 h 218"/>
              <a:gd name="T28" fmla="*/ 2147483647 w 138"/>
              <a:gd name="T29" fmla="*/ 2147483647 h 218"/>
              <a:gd name="T30" fmla="*/ 2147483647 w 138"/>
              <a:gd name="T31" fmla="*/ 2147483647 h 218"/>
              <a:gd name="T32" fmla="*/ 2147483647 w 138"/>
              <a:gd name="T33" fmla="*/ 2147483647 h 218"/>
              <a:gd name="T34" fmla="*/ 2147483647 w 138"/>
              <a:gd name="T35" fmla="*/ 2147483647 h 218"/>
              <a:gd name="T36" fmla="*/ 2147483647 w 138"/>
              <a:gd name="T37" fmla="*/ 2147483647 h 218"/>
              <a:gd name="T38" fmla="*/ 2147483647 w 138"/>
              <a:gd name="T39" fmla="*/ 2147483647 h 218"/>
              <a:gd name="T40" fmla="*/ 2147483647 w 138"/>
              <a:gd name="T41" fmla="*/ 2147483647 h 218"/>
              <a:gd name="T42" fmla="*/ 2147483647 w 138"/>
              <a:gd name="T43" fmla="*/ 2147483647 h 218"/>
              <a:gd name="T44" fmla="*/ 2147483647 w 138"/>
              <a:gd name="T45" fmla="*/ 2147483647 h 218"/>
              <a:gd name="T46" fmla="*/ 0 w 138"/>
              <a:gd name="T47" fmla="*/ 2147483647 h 218"/>
              <a:gd name="T48" fmla="*/ 0 w 138"/>
              <a:gd name="T49" fmla="*/ 2147483647 h 218"/>
              <a:gd name="T50" fmla="*/ 2147483647 w 138"/>
              <a:gd name="T51" fmla="*/ 2147483647 h 218"/>
              <a:gd name="T52" fmla="*/ 2147483647 w 138"/>
              <a:gd name="T53" fmla="*/ 2147483647 h 218"/>
              <a:gd name="T54" fmla="*/ 2147483647 w 138"/>
              <a:gd name="T55" fmla="*/ 2147483647 h 218"/>
              <a:gd name="T56" fmla="*/ 2147483647 w 138"/>
              <a:gd name="T57" fmla="*/ 2147483647 h 218"/>
              <a:gd name="T58" fmla="*/ 2147483647 w 138"/>
              <a:gd name="T59" fmla="*/ 2147483647 h 218"/>
              <a:gd name="T60" fmla="*/ 2147483647 w 138"/>
              <a:gd name="T61" fmla="*/ 2147483647 h 218"/>
              <a:gd name="T62" fmla="*/ 2147483647 w 138"/>
              <a:gd name="T63" fmla="*/ 2147483647 h 218"/>
              <a:gd name="T64" fmla="*/ 2147483647 w 138"/>
              <a:gd name="T65" fmla="*/ 2147483647 h 218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38"/>
              <a:gd name="T100" fmla="*/ 0 h 218"/>
              <a:gd name="T101" fmla="*/ 138 w 138"/>
              <a:gd name="T102" fmla="*/ 218 h 218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38" h="218">
                <a:moveTo>
                  <a:pt x="32" y="217"/>
                </a:moveTo>
                <a:lnTo>
                  <a:pt x="32" y="209"/>
                </a:lnTo>
                <a:lnTo>
                  <a:pt x="32" y="202"/>
                </a:lnTo>
                <a:lnTo>
                  <a:pt x="64" y="193"/>
                </a:lnTo>
                <a:lnTo>
                  <a:pt x="72" y="186"/>
                </a:lnTo>
                <a:lnTo>
                  <a:pt x="72" y="162"/>
                </a:lnTo>
                <a:lnTo>
                  <a:pt x="56" y="128"/>
                </a:lnTo>
                <a:lnTo>
                  <a:pt x="87" y="96"/>
                </a:lnTo>
                <a:lnTo>
                  <a:pt x="112" y="87"/>
                </a:lnTo>
                <a:lnTo>
                  <a:pt x="137" y="63"/>
                </a:lnTo>
                <a:lnTo>
                  <a:pt x="129" y="0"/>
                </a:lnTo>
                <a:lnTo>
                  <a:pt x="112" y="15"/>
                </a:lnTo>
                <a:lnTo>
                  <a:pt x="81" y="15"/>
                </a:lnTo>
                <a:lnTo>
                  <a:pt x="64" y="15"/>
                </a:lnTo>
                <a:lnTo>
                  <a:pt x="56" y="23"/>
                </a:lnTo>
                <a:lnTo>
                  <a:pt x="64" y="40"/>
                </a:lnTo>
                <a:lnTo>
                  <a:pt x="72" y="55"/>
                </a:lnTo>
                <a:lnTo>
                  <a:pt x="72" y="72"/>
                </a:lnTo>
                <a:lnTo>
                  <a:pt x="64" y="87"/>
                </a:lnTo>
                <a:lnTo>
                  <a:pt x="56" y="72"/>
                </a:lnTo>
                <a:lnTo>
                  <a:pt x="56" y="55"/>
                </a:lnTo>
                <a:lnTo>
                  <a:pt x="47" y="55"/>
                </a:lnTo>
                <a:lnTo>
                  <a:pt x="40" y="47"/>
                </a:lnTo>
                <a:lnTo>
                  <a:pt x="0" y="63"/>
                </a:lnTo>
                <a:lnTo>
                  <a:pt x="0" y="72"/>
                </a:lnTo>
                <a:lnTo>
                  <a:pt x="16" y="72"/>
                </a:lnTo>
                <a:lnTo>
                  <a:pt x="32" y="80"/>
                </a:lnTo>
                <a:lnTo>
                  <a:pt x="40" y="96"/>
                </a:lnTo>
                <a:lnTo>
                  <a:pt x="32" y="128"/>
                </a:lnTo>
                <a:lnTo>
                  <a:pt x="16" y="162"/>
                </a:lnTo>
                <a:lnTo>
                  <a:pt x="22" y="209"/>
                </a:lnTo>
                <a:lnTo>
                  <a:pt x="22" y="217"/>
                </a:lnTo>
                <a:lnTo>
                  <a:pt x="32" y="217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39" name="Freeform 195"/>
          <p:cNvSpPr>
            <a:spLocks/>
          </p:cNvSpPr>
          <p:nvPr>
            <p:custDataLst>
              <p:tags r:id="rId150"/>
            </p:custDataLst>
          </p:nvPr>
        </p:nvSpPr>
        <p:spPr bwMode="gray">
          <a:xfrm>
            <a:off x="4903788" y="5670550"/>
            <a:ext cx="28575" cy="28575"/>
          </a:xfrm>
          <a:custGeom>
            <a:avLst/>
            <a:gdLst>
              <a:gd name="T0" fmla="*/ 2147483647 w 17"/>
              <a:gd name="T1" fmla="*/ 2147483647 h 18"/>
              <a:gd name="T2" fmla="*/ 2147483647 w 17"/>
              <a:gd name="T3" fmla="*/ 0 h 18"/>
              <a:gd name="T4" fmla="*/ 2147483647 w 17"/>
              <a:gd name="T5" fmla="*/ 0 h 18"/>
              <a:gd name="T6" fmla="*/ 0 w 17"/>
              <a:gd name="T7" fmla="*/ 2147483647 h 18"/>
              <a:gd name="T8" fmla="*/ 2147483647 w 17"/>
              <a:gd name="T9" fmla="*/ 2147483647 h 18"/>
              <a:gd name="T10" fmla="*/ 2147483647 w 17"/>
              <a:gd name="T11" fmla="*/ 2147483647 h 1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7"/>
              <a:gd name="T19" fmla="*/ 0 h 18"/>
              <a:gd name="T20" fmla="*/ 17 w 17"/>
              <a:gd name="T21" fmla="*/ 18 h 1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7" h="18">
                <a:moveTo>
                  <a:pt x="16" y="8"/>
                </a:moveTo>
                <a:lnTo>
                  <a:pt x="16" y="0"/>
                </a:lnTo>
                <a:lnTo>
                  <a:pt x="9" y="0"/>
                </a:lnTo>
                <a:lnTo>
                  <a:pt x="0" y="8"/>
                </a:lnTo>
                <a:lnTo>
                  <a:pt x="9" y="17"/>
                </a:lnTo>
                <a:lnTo>
                  <a:pt x="16" y="8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40" name="Freeform 196"/>
          <p:cNvSpPr>
            <a:spLocks/>
          </p:cNvSpPr>
          <p:nvPr>
            <p:custDataLst>
              <p:tags r:id="rId151"/>
            </p:custDataLst>
          </p:nvPr>
        </p:nvSpPr>
        <p:spPr bwMode="gray">
          <a:xfrm>
            <a:off x="4903788" y="5670550"/>
            <a:ext cx="28575" cy="28575"/>
          </a:xfrm>
          <a:custGeom>
            <a:avLst/>
            <a:gdLst>
              <a:gd name="T0" fmla="*/ 2147483647 w 17"/>
              <a:gd name="T1" fmla="*/ 2147483647 h 18"/>
              <a:gd name="T2" fmla="*/ 2147483647 w 17"/>
              <a:gd name="T3" fmla="*/ 0 h 18"/>
              <a:gd name="T4" fmla="*/ 2147483647 w 17"/>
              <a:gd name="T5" fmla="*/ 0 h 18"/>
              <a:gd name="T6" fmla="*/ 0 w 17"/>
              <a:gd name="T7" fmla="*/ 2147483647 h 18"/>
              <a:gd name="T8" fmla="*/ 2147483647 w 17"/>
              <a:gd name="T9" fmla="*/ 2147483647 h 18"/>
              <a:gd name="T10" fmla="*/ 2147483647 w 17"/>
              <a:gd name="T11" fmla="*/ 2147483647 h 1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7"/>
              <a:gd name="T19" fmla="*/ 0 h 18"/>
              <a:gd name="T20" fmla="*/ 17 w 17"/>
              <a:gd name="T21" fmla="*/ 18 h 1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7" h="18">
                <a:moveTo>
                  <a:pt x="16" y="8"/>
                </a:moveTo>
                <a:lnTo>
                  <a:pt x="16" y="0"/>
                </a:lnTo>
                <a:lnTo>
                  <a:pt x="9" y="0"/>
                </a:lnTo>
                <a:lnTo>
                  <a:pt x="0" y="8"/>
                </a:lnTo>
                <a:lnTo>
                  <a:pt x="9" y="17"/>
                </a:lnTo>
                <a:lnTo>
                  <a:pt x="16" y="8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41" name="Freeform 197"/>
          <p:cNvSpPr>
            <a:spLocks/>
          </p:cNvSpPr>
          <p:nvPr>
            <p:custDataLst>
              <p:tags r:id="rId152"/>
            </p:custDataLst>
          </p:nvPr>
        </p:nvSpPr>
        <p:spPr bwMode="gray">
          <a:xfrm>
            <a:off x="2789238" y="6053138"/>
            <a:ext cx="28575" cy="52387"/>
          </a:xfrm>
          <a:custGeom>
            <a:avLst/>
            <a:gdLst>
              <a:gd name="T0" fmla="*/ 2147483647 w 17"/>
              <a:gd name="T1" fmla="*/ 0 h 33"/>
              <a:gd name="T2" fmla="*/ 0 w 17"/>
              <a:gd name="T3" fmla="*/ 2147483647 h 33"/>
              <a:gd name="T4" fmla="*/ 2147483647 w 17"/>
              <a:gd name="T5" fmla="*/ 2147483647 h 33"/>
              <a:gd name="T6" fmla="*/ 2147483647 w 17"/>
              <a:gd name="T7" fmla="*/ 2147483647 h 33"/>
              <a:gd name="T8" fmla="*/ 2147483647 w 17"/>
              <a:gd name="T9" fmla="*/ 0 h 3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33"/>
              <a:gd name="T17" fmla="*/ 17 w 17"/>
              <a:gd name="T18" fmla="*/ 33 h 3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33">
                <a:moveTo>
                  <a:pt x="6" y="0"/>
                </a:moveTo>
                <a:lnTo>
                  <a:pt x="0" y="23"/>
                </a:lnTo>
                <a:lnTo>
                  <a:pt x="6" y="32"/>
                </a:lnTo>
                <a:lnTo>
                  <a:pt x="16" y="7"/>
                </a:lnTo>
                <a:lnTo>
                  <a:pt x="6" y="0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42" name="Freeform 198"/>
          <p:cNvSpPr>
            <a:spLocks/>
          </p:cNvSpPr>
          <p:nvPr>
            <p:custDataLst>
              <p:tags r:id="rId153"/>
            </p:custDataLst>
          </p:nvPr>
        </p:nvSpPr>
        <p:spPr bwMode="gray">
          <a:xfrm>
            <a:off x="2711450" y="4756150"/>
            <a:ext cx="42863" cy="26988"/>
          </a:xfrm>
          <a:custGeom>
            <a:avLst/>
            <a:gdLst>
              <a:gd name="T0" fmla="*/ 0 w 26"/>
              <a:gd name="T1" fmla="*/ 2147483647 h 17"/>
              <a:gd name="T2" fmla="*/ 2147483647 w 26"/>
              <a:gd name="T3" fmla="*/ 2147483647 h 17"/>
              <a:gd name="T4" fmla="*/ 2147483647 w 26"/>
              <a:gd name="T5" fmla="*/ 2147483647 h 17"/>
              <a:gd name="T6" fmla="*/ 2147483647 w 26"/>
              <a:gd name="T7" fmla="*/ 0 h 17"/>
              <a:gd name="T8" fmla="*/ 0 w 26"/>
              <a:gd name="T9" fmla="*/ 2147483647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6"/>
              <a:gd name="T16" fmla="*/ 0 h 17"/>
              <a:gd name="T17" fmla="*/ 26 w 26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6" h="17">
                <a:moveTo>
                  <a:pt x="0" y="7"/>
                </a:moveTo>
                <a:lnTo>
                  <a:pt x="16" y="16"/>
                </a:lnTo>
                <a:lnTo>
                  <a:pt x="25" y="7"/>
                </a:lnTo>
                <a:lnTo>
                  <a:pt x="9" y="0"/>
                </a:lnTo>
                <a:lnTo>
                  <a:pt x="0" y="7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43" name="Freeform 199"/>
          <p:cNvSpPr>
            <a:spLocks/>
          </p:cNvSpPr>
          <p:nvPr>
            <p:custDataLst>
              <p:tags r:id="rId154"/>
            </p:custDataLst>
          </p:nvPr>
        </p:nvSpPr>
        <p:spPr bwMode="gray">
          <a:xfrm>
            <a:off x="2584450" y="4654550"/>
            <a:ext cx="206375" cy="79375"/>
          </a:xfrm>
          <a:custGeom>
            <a:avLst/>
            <a:gdLst>
              <a:gd name="T0" fmla="*/ 0 w 132"/>
              <a:gd name="T1" fmla="*/ 2147483647 h 50"/>
              <a:gd name="T2" fmla="*/ 2147483647 w 132"/>
              <a:gd name="T3" fmla="*/ 2147483647 h 50"/>
              <a:gd name="T4" fmla="*/ 2147483647 w 132"/>
              <a:gd name="T5" fmla="*/ 2147483647 h 50"/>
              <a:gd name="T6" fmla="*/ 2147483647 w 132"/>
              <a:gd name="T7" fmla="*/ 2147483647 h 50"/>
              <a:gd name="T8" fmla="*/ 2147483647 w 132"/>
              <a:gd name="T9" fmla="*/ 2147483647 h 50"/>
              <a:gd name="T10" fmla="*/ 2147483647 w 132"/>
              <a:gd name="T11" fmla="*/ 2147483647 h 50"/>
              <a:gd name="T12" fmla="*/ 2147483647 w 132"/>
              <a:gd name="T13" fmla="*/ 2147483647 h 50"/>
              <a:gd name="T14" fmla="*/ 2147483647 w 132"/>
              <a:gd name="T15" fmla="*/ 2147483647 h 50"/>
              <a:gd name="T16" fmla="*/ 2147483647 w 132"/>
              <a:gd name="T17" fmla="*/ 2147483647 h 50"/>
              <a:gd name="T18" fmla="*/ 2147483647 w 132"/>
              <a:gd name="T19" fmla="*/ 2147483647 h 50"/>
              <a:gd name="T20" fmla="*/ 2147483647 w 132"/>
              <a:gd name="T21" fmla="*/ 2147483647 h 50"/>
              <a:gd name="T22" fmla="*/ 2147483647 w 132"/>
              <a:gd name="T23" fmla="*/ 2147483647 h 50"/>
              <a:gd name="T24" fmla="*/ 2147483647 w 132"/>
              <a:gd name="T25" fmla="*/ 2147483647 h 50"/>
              <a:gd name="T26" fmla="*/ 2147483647 w 132"/>
              <a:gd name="T27" fmla="*/ 2147483647 h 50"/>
              <a:gd name="T28" fmla="*/ 2147483647 w 132"/>
              <a:gd name="T29" fmla="*/ 2147483647 h 50"/>
              <a:gd name="T30" fmla="*/ 2147483647 w 132"/>
              <a:gd name="T31" fmla="*/ 0 h 50"/>
              <a:gd name="T32" fmla="*/ 2147483647 w 132"/>
              <a:gd name="T33" fmla="*/ 2147483647 h 50"/>
              <a:gd name="T34" fmla="*/ 0 w 132"/>
              <a:gd name="T35" fmla="*/ 2147483647 h 5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32"/>
              <a:gd name="T55" fmla="*/ 0 h 50"/>
              <a:gd name="T56" fmla="*/ 132 w 132"/>
              <a:gd name="T57" fmla="*/ 50 h 50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32" h="50">
                <a:moveTo>
                  <a:pt x="0" y="24"/>
                </a:moveTo>
                <a:lnTo>
                  <a:pt x="9" y="24"/>
                </a:lnTo>
                <a:lnTo>
                  <a:pt x="25" y="8"/>
                </a:lnTo>
                <a:lnTo>
                  <a:pt x="41" y="15"/>
                </a:lnTo>
                <a:lnTo>
                  <a:pt x="34" y="15"/>
                </a:lnTo>
                <a:lnTo>
                  <a:pt x="41" y="15"/>
                </a:lnTo>
                <a:lnTo>
                  <a:pt x="74" y="24"/>
                </a:lnTo>
                <a:lnTo>
                  <a:pt x="81" y="40"/>
                </a:lnTo>
                <a:lnTo>
                  <a:pt x="97" y="40"/>
                </a:lnTo>
                <a:lnTo>
                  <a:pt x="90" y="49"/>
                </a:lnTo>
                <a:lnTo>
                  <a:pt x="131" y="49"/>
                </a:lnTo>
                <a:lnTo>
                  <a:pt x="122" y="40"/>
                </a:lnTo>
                <a:lnTo>
                  <a:pt x="114" y="40"/>
                </a:lnTo>
                <a:lnTo>
                  <a:pt x="114" y="31"/>
                </a:lnTo>
                <a:lnTo>
                  <a:pt x="81" y="15"/>
                </a:lnTo>
                <a:lnTo>
                  <a:pt x="41" y="0"/>
                </a:lnTo>
                <a:lnTo>
                  <a:pt x="16" y="8"/>
                </a:lnTo>
                <a:lnTo>
                  <a:pt x="0" y="24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44" name="Freeform 200"/>
          <p:cNvSpPr>
            <a:spLocks/>
          </p:cNvSpPr>
          <p:nvPr>
            <p:custDataLst>
              <p:tags r:id="rId155"/>
            </p:custDataLst>
          </p:nvPr>
        </p:nvSpPr>
        <p:spPr bwMode="gray">
          <a:xfrm>
            <a:off x="2711450" y="4614863"/>
            <a:ext cx="26988" cy="41275"/>
          </a:xfrm>
          <a:custGeom>
            <a:avLst/>
            <a:gdLst>
              <a:gd name="T0" fmla="*/ 0 w 17"/>
              <a:gd name="T1" fmla="*/ 0 h 26"/>
              <a:gd name="T2" fmla="*/ 0 w 17"/>
              <a:gd name="T3" fmla="*/ 2147483647 h 26"/>
              <a:gd name="T4" fmla="*/ 2147483647 w 17"/>
              <a:gd name="T5" fmla="*/ 2147483647 h 26"/>
              <a:gd name="T6" fmla="*/ 2147483647 w 17"/>
              <a:gd name="T7" fmla="*/ 2147483647 h 26"/>
              <a:gd name="T8" fmla="*/ 0 w 17"/>
              <a:gd name="T9" fmla="*/ 0 h 2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26"/>
              <a:gd name="T17" fmla="*/ 17 w 17"/>
              <a:gd name="T18" fmla="*/ 26 h 2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26">
                <a:moveTo>
                  <a:pt x="0" y="0"/>
                </a:moveTo>
                <a:lnTo>
                  <a:pt x="0" y="8"/>
                </a:lnTo>
                <a:lnTo>
                  <a:pt x="16" y="25"/>
                </a:lnTo>
                <a:lnTo>
                  <a:pt x="16" y="8"/>
                </a:lnTo>
                <a:lnTo>
                  <a:pt x="0" y="0"/>
                </a:lnTo>
              </a:path>
            </a:pathLst>
          </a:custGeom>
          <a:solidFill>
            <a:srgbClr val="99CC00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45" name="Freeform 201"/>
          <p:cNvSpPr>
            <a:spLocks/>
          </p:cNvSpPr>
          <p:nvPr>
            <p:custDataLst>
              <p:tags r:id="rId156"/>
            </p:custDataLst>
          </p:nvPr>
        </p:nvSpPr>
        <p:spPr bwMode="gray">
          <a:xfrm>
            <a:off x="2536825" y="3355975"/>
            <a:ext cx="139700" cy="142875"/>
          </a:xfrm>
          <a:custGeom>
            <a:avLst/>
            <a:gdLst>
              <a:gd name="T0" fmla="*/ 0 w 89"/>
              <a:gd name="T1" fmla="*/ 2147483647 h 91"/>
              <a:gd name="T2" fmla="*/ 2147483647 w 89"/>
              <a:gd name="T3" fmla="*/ 2147483647 h 91"/>
              <a:gd name="T4" fmla="*/ 2147483647 w 89"/>
              <a:gd name="T5" fmla="*/ 2147483647 h 91"/>
              <a:gd name="T6" fmla="*/ 2147483647 w 89"/>
              <a:gd name="T7" fmla="*/ 2147483647 h 91"/>
              <a:gd name="T8" fmla="*/ 2147483647 w 89"/>
              <a:gd name="T9" fmla="*/ 2147483647 h 91"/>
              <a:gd name="T10" fmla="*/ 2147483647 w 89"/>
              <a:gd name="T11" fmla="*/ 2147483647 h 91"/>
              <a:gd name="T12" fmla="*/ 2147483647 w 89"/>
              <a:gd name="T13" fmla="*/ 2147483647 h 91"/>
              <a:gd name="T14" fmla="*/ 2147483647 w 89"/>
              <a:gd name="T15" fmla="*/ 2147483647 h 91"/>
              <a:gd name="T16" fmla="*/ 2147483647 w 89"/>
              <a:gd name="T17" fmla="*/ 2147483647 h 91"/>
              <a:gd name="T18" fmla="*/ 2147483647 w 89"/>
              <a:gd name="T19" fmla="*/ 2147483647 h 91"/>
              <a:gd name="T20" fmla="*/ 2147483647 w 89"/>
              <a:gd name="T21" fmla="*/ 2147483647 h 91"/>
              <a:gd name="T22" fmla="*/ 2147483647 w 89"/>
              <a:gd name="T23" fmla="*/ 0 h 91"/>
              <a:gd name="T24" fmla="*/ 2147483647 w 89"/>
              <a:gd name="T25" fmla="*/ 2147483647 h 91"/>
              <a:gd name="T26" fmla="*/ 2147483647 w 89"/>
              <a:gd name="T27" fmla="*/ 2147483647 h 91"/>
              <a:gd name="T28" fmla="*/ 2147483647 w 89"/>
              <a:gd name="T29" fmla="*/ 2147483647 h 91"/>
              <a:gd name="T30" fmla="*/ 0 w 89"/>
              <a:gd name="T31" fmla="*/ 2147483647 h 9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89"/>
              <a:gd name="T49" fmla="*/ 0 h 91"/>
              <a:gd name="T50" fmla="*/ 89 w 89"/>
              <a:gd name="T51" fmla="*/ 91 h 91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89" h="91">
                <a:moveTo>
                  <a:pt x="0" y="73"/>
                </a:moveTo>
                <a:lnTo>
                  <a:pt x="15" y="73"/>
                </a:lnTo>
                <a:lnTo>
                  <a:pt x="15" y="90"/>
                </a:lnTo>
                <a:lnTo>
                  <a:pt x="31" y="90"/>
                </a:lnTo>
                <a:lnTo>
                  <a:pt x="47" y="65"/>
                </a:lnTo>
                <a:lnTo>
                  <a:pt x="56" y="65"/>
                </a:lnTo>
                <a:lnTo>
                  <a:pt x="72" y="81"/>
                </a:lnTo>
                <a:lnTo>
                  <a:pt x="88" y="65"/>
                </a:lnTo>
                <a:lnTo>
                  <a:pt x="72" y="65"/>
                </a:lnTo>
                <a:lnTo>
                  <a:pt x="56" y="40"/>
                </a:lnTo>
                <a:lnTo>
                  <a:pt x="31" y="16"/>
                </a:lnTo>
                <a:lnTo>
                  <a:pt x="25" y="0"/>
                </a:lnTo>
                <a:lnTo>
                  <a:pt x="15" y="16"/>
                </a:lnTo>
                <a:lnTo>
                  <a:pt x="6" y="25"/>
                </a:lnTo>
                <a:lnTo>
                  <a:pt x="15" y="65"/>
                </a:lnTo>
                <a:lnTo>
                  <a:pt x="0" y="73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46" name="Freeform 202"/>
          <p:cNvSpPr>
            <a:spLocks/>
          </p:cNvSpPr>
          <p:nvPr>
            <p:custDataLst>
              <p:tags r:id="rId157"/>
            </p:custDataLst>
          </p:nvPr>
        </p:nvSpPr>
        <p:spPr bwMode="gray">
          <a:xfrm>
            <a:off x="2736850" y="3243263"/>
            <a:ext cx="41275" cy="63500"/>
          </a:xfrm>
          <a:custGeom>
            <a:avLst/>
            <a:gdLst>
              <a:gd name="T0" fmla="*/ 0 w 26"/>
              <a:gd name="T1" fmla="*/ 2147483647 h 41"/>
              <a:gd name="T2" fmla="*/ 0 w 26"/>
              <a:gd name="T3" fmla="*/ 2147483647 h 41"/>
              <a:gd name="T4" fmla="*/ 2147483647 w 26"/>
              <a:gd name="T5" fmla="*/ 2147483647 h 41"/>
              <a:gd name="T6" fmla="*/ 2147483647 w 26"/>
              <a:gd name="T7" fmla="*/ 2147483647 h 41"/>
              <a:gd name="T8" fmla="*/ 2147483647 w 26"/>
              <a:gd name="T9" fmla="*/ 2147483647 h 41"/>
              <a:gd name="T10" fmla="*/ 2147483647 w 26"/>
              <a:gd name="T11" fmla="*/ 0 h 41"/>
              <a:gd name="T12" fmla="*/ 2147483647 w 26"/>
              <a:gd name="T13" fmla="*/ 0 h 41"/>
              <a:gd name="T14" fmla="*/ 0 w 26"/>
              <a:gd name="T15" fmla="*/ 2147483647 h 4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6"/>
              <a:gd name="T25" fmla="*/ 0 h 41"/>
              <a:gd name="T26" fmla="*/ 26 w 26"/>
              <a:gd name="T27" fmla="*/ 41 h 4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6" h="41">
                <a:moveTo>
                  <a:pt x="0" y="25"/>
                </a:moveTo>
                <a:lnTo>
                  <a:pt x="0" y="40"/>
                </a:lnTo>
                <a:lnTo>
                  <a:pt x="17" y="31"/>
                </a:lnTo>
                <a:lnTo>
                  <a:pt x="25" y="25"/>
                </a:lnTo>
                <a:lnTo>
                  <a:pt x="25" y="16"/>
                </a:lnTo>
                <a:lnTo>
                  <a:pt x="25" y="0"/>
                </a:lnTo>
                <a:lnTo>
                  <a:pt x="9" y="0"/>
                </a:lnTo>
                <a:lnTo>
                  <a:pt x="0" y="25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47" name="Freeform 203"/>
          <p:cNvSpPr>
            <a:spLocks/>
          </p:cNvSpPr>
          <p:nvPr>
            <p:custDataLst>
              <p:tags r:id="rId158"/>
            </p:custDataLst>
          </p:nvPr>
        </p:nvSpPr>
        <p:spPr bwMode="gray">
          <a:xfrm>
            <a:off x="2660650" y="2897188"/>
            <a:ext cx="93663" cy="68262"/>
          </a:xfrm>
          <a:custGeom>
            <a:avLst/>
            <a:gdLst>
              <a:gd name="T0" fmla="*/ 0 w 58"/>
              <a:gd name="T1" fmla="*/ 0 h 43"/>
              <a:gd name="T2" fmla="*/ 0 w 58"/>
              <a:gd name="T3" fmla="*/ 2147483647 h 43"/>
              <a:gd name="T4" fmla="*/ 0 w 58"/>
              <a:gd name="T5" fmla="*/ 2147483647 h 43"/>
              <a:gd name="T6" fmla="*/ 2147483647 w 58"/>
              <a:gd name="T7" fmla="*/ 2147483647 h 43"/>
              <a:gd name="T8" fmla="*/ 2147483647 w 58"/>
              <a:gd name="T9" fmla="*/ 2147483647 h 43"/>
              <a:gd name="T10" fmla="*/ 2147483647 w 58"/>
              <a:gd name="T11" fmla="*/ 2147483647 h 43"/>
              <a:gd name="T12" fmla="*/ 2147483647 w 58"/>
              <a:gd name="T13" fmla="*/ 2147483647 h 43"/>
              <a:gd name="T14" fmla="*/ 2147483647 w 58"/>
              <a:gd name="T15" fmla="*/ 2147483647 h 43"/>
              <a:gd name="T16" fmla="*/ 2147483647 w 58"/>
              <a:gd name="T17" fmla="*/ 0 h 43"/>
              <a:gd name="T18" fmla="*/ 2147483647 w 58"/>
              <a:gd name="T19" fmla="*/ 0 h 43"/>
              <a:gd name="T20" fmla="*/ 0 w 58"/>
              <a:gd name="T21" fmla="*/ 0 h 4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58"/>
              <a:gd name="T34" fmla="*/ 0 h 43"/>
              <a:gd name="T35" fmla="*/ 58 w 58"/>
              <a:gd name="T36" fmla="*/ 43 h 43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58" h="43">
                <a:moveTo>
                  <a:pt x="0" y="0"/>
                </a:moveTo>
                <a:lnTo>
                  <a:pt x="0" y="17"/>
                </a:lnTo>
                <a:lnTo>
                  <a:pt x="0" y="42"/>
                </a:lnTo>
                <a:lnTo>
                  <a:pt x="25" y="42"/>
                </a:lnTo>
                <a:lnTo>
                  <a:pt x="32" y="42"/>
                </a:lnTo>
                <a:lnTo>
                  <a:pt x="57" y="42"/>
                </a:lnTo>
                <a:lnTo>
                  <a:pt x="57" y="34"/>
                </a:lnTo>
                <a:lnTo>
                  <a:pt x="48" y="9"/>
                </a:lnTo>
                <a:lnTo>
                  <a:pt x="41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48" name="Freeform 204"/>
          <p:cNvSpPr>
            <a:spLocks/>
          </p:cNvSpPr>
          <p:nvPr>
            <p:custDataLst>
              <p:tags r:id="rId159"/>
            </p:custDataLst>
          </p:nvPr>
        </p:nvSpPr>
        <p:spPr bwMode="gray">
          <a:xfrm>
            <a:off x="2813050" y="1817688"/>
            <a:ext cx="1238250" cy="1820862"/>
          </a:xfrm>
          <a:custGeom>
            <a:avLst/>
            <a:gdLst>
              <a:gd name="T0" fmla="*/ 2147483647 w 788"/>
              <a:gd name="T1" fmla="*/ 2147483647 h 1160"/>
              <a:gd name="T2" fmla="*/ 2147483647 w 788"/>
              <a:gd name="T3" fmla="*/ 2147483647 h 1160"/>
              <a:gd name="T4" fmla="*/ 2147483647 w 788"/>
              <a:gd name="T5" fmla="*/ 2147483647 h 1160"/>
              <a:gd name="T6" fmla="*/ 2147483647 w 788"/>
              <a:gd name="T7" fmla="*/ 2147483647 h 1160"/>
              <a:gd name="T8" fmla="*/ 2147483647 w 788"/>
              <a:gd name="T9" fmla="*/ 2147483647 h 1160"/>
              <a:gd name="T10" fmla="*/ 2147483647 w 788"/>
              <a:gd name="T11" fmla="*/ 2147483647 h 1160"/>
              <a:gd name="T12" fmla="*/ 2147483647 w 788"/>
              <a:gd name="T13" fmla="*/ 2147483647 h 1160"/>
              <a:gd name="T14" fmla="*/ 2147483647 w 788"/>
              <a:gd name="T15" fmla="*/ 2147483647 h 1160"/>
              <a:gd name="T16" fmla="*/ 2147483647 w 788"/>
              <a:gd name="T17" fmla="*/ 2147483647 h 1160"/>
              <a:gd name="T18" fmla="*/ 2147483647 w 788"/>
              <a:gd name="T19" fmla="*/ 2147483647 h 1160"/>
              <a:gd name="T20" fmla="*/ 2147483647 w 788"/>
              <a:gd name="T21" fmla="*/ 2147483647 h 1160"/>
              <a:gd name="T22" fmla="*/ 2147483647 w 788"/>
              <a:gd name="T23" fmla="*/ 2147483647 h 1160"/>
              <a:gd name="T24" fmla="*/ 2147483647 w 788"/>
              <a:gd name="T25" fmla="*/ 2147483647 h 1160"/>
              <a:gd name="T26" fmla="*/ 2147483647 w 788"/>
              <a:gd name="T27" fmla="*/ 2147483647 h 1160"/>
              <a:gd name="T28" fmla="*/ 2147483647 w 788"/>
              <a:gd name="T29" fmla="*/ 2147483647 h 1160"/>
              <a:gd name="T30" fmla="*/ 2147483647 w 788"/>
              <a:gd name="T31" fmla="*/ 2147483647 h 1160"/>
              <a:gd name="T32" fmla="*/ 2147483647 w 788"/>
              <a:gd name="T33" fmla="*/ 2147483647 h 1160"/>
              <a:gd name="T34" fmla="*/ 2147483647 w 788"/>
              <a:gd name="T35" fmla="*/ 2147483647 h 1160"/>
              <a:gd name="T36" fmla="*/ 2147483647 w 788"/>
              <a:gd name="T37" fmla="*/ 2147483647 h 1160"/>
              <a:gd name="T38" fmla="*/ 2147483647 w 788"/>
              <a:gd name="T39" fmla="*/ 2147483647 h 1160"/>
              <a:gd name="T40" fmla="*/ 2147483647 w 788"/>
              <a:gd name="T41" fmla="*/ 2147483647 h 1160"/>
              <a:gd name="T42" fmla="*/ 2147483647 w 788"/>
              <a:gd name="T43" fmla="*/ 2147483647 h 1160"/>
              <a:gd name="T44" fmla="*/ 2147483647 w 788"/>
              <a:gd name="T45" fmla="*/ 2147483647 h 1160"/>
              <a:gd name="T46" fmla="*/ 2147483647 w 788"/>
              <a:gd name="T47" fmla="*/ 2147483647 h 1160"/>
              <a:gd name="T48" fmla="*/ 2147483647 w 788"/>
              <a:gd name="T49" fmla="*/ 2147483647 h 1160"/>
              <a:gd name="T50" fmla="*/ 2147483647 w 788"/>
              <a:gd name="T51" fmla="*/ 2147483647 h 1160"/>
              <a:gd name="T52" fmla="*/ 2147483647 w 788"/>
              <a:gd name="T53" fmla="*/ 2147483647 h 1160"/>
              <a:gd name="T54" fmla="*/ 2147483647 w 788"/>
              <a:gd name="T55" fmla="*/ 2147483647 h 1160"/>
              <a:gd name="T56" fmla="*/ 2147483647 w 788"/>
              <a:gd name="T57" fmla="*/ 2147483647 h 1160"/>
              <a:gd name="T58" fmla="*/ 2147483647 w 788"/>
              <a:gd name="T59" fmla="*/ 2147483647 h 1160"/>
              <a:gd name="T60" fmla="*/ 2147483647 w 788"/>
              <a:gd name="T61" fmla="*/ 2147483647 h 1160"/>
              <a:gd name="T62" fmla="*/ 2147483647 w 788"/>
              <a:gd name="T63" fmla="*/ 2147483647 h 1160"/>
              <a:gd name="T64" fmla="*/ 2147483647 w 788"/>
              <a:gd name="T65" fmla="*/ 2147483647 h 1160"/>
              <a:gd name="T66" fmla="*/ 2147483647 w 788"/>
              <a:gd name="T67" fmla="*/ 2147483647 h 1160"/>
              <a:gd name="T68" fmla="*/ 2147483647 w 788"/>
              <a:gd name="T69" fmla="*/ 2147483647 h 1160"/>
              <a:gd name="T70" fmla="*/ 2147483647 w 788"/>
              <a:gd name="T71" fmla="*/ 2147483647 h 1160"/>
              <a:gd name="T72" fmla="*/ 2147483647 w 788"/>
              <a:gd name="T73" fmla="*/ 2147483647 h 1160"/>
              <a:gd name="T74" fmla="*/ 2147483647 w 788"/>
              <a:gd name="T75" fmla="*/ 0 h 1160"/>
              <a:gd name="T76" fmla="*/ 2147483647 w 788"/>
              <a:gd name="T77" fmla="*/ 2147483647 h 1160"/>
              <a:gd name="T78" fmla="*/ 2147483647 w 788"/>
              <a:gd name="T79" fmla="*/ 2147483647 h 1160"/>
              <a:gd name="T80" fmla="*/ 2147483647 w 788"/>
              <a:gd name="T81" fmla="*/ 2147483647 h 1160"/>
              <a:gd name="T82" fmla="*/ 2147483647 w 788"/>
              <a:gd name="T83" fmla="*/ 2147483647 h 1160"/>
              <a:gd name="T84" fmla="*/ 2147483647 w 788"/>
              <a:gd name="T85" fmla="*/ 2147483647 h 1160"/>
              <a:gd name="T86" fmla="*/ 2147483647 w 788"/>
              <a:gd name="T87" fmla="*/ 2147483647 h 116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788"/>
              <a:gd name="T133" fmla="*/ 0 h 1160"/>
              <a:gd name="T134" fmla="*/ 788 w 788"/>
              <a:gd name="T135" fmla="*/ 1160 h 116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788" h="1160">
                <a:moveTo>
                  <a:pt x="0" y="463"/>
                </a:moveTo>
                <a:lnTo>
                  <a:pt x="25" y="478"/>
                </a:lnTo>
                <a:lnTo>
                  <a:pt x="40" y="470"/>
                </a:lnTo>
                <a:lnTo>
                  <a:pt x="40" y="495"/>
                </a:lnTo>
                <a:lnTo>
                  <a:pt x="65" y="510"/>
                </a:lnTo>
                <a:lnTo>
                  <a:pt x="25" y="528"/>
                </a:lnTo>
                <a:lnTo>
                  <a:pt x="57" y="551"/>
                </a:lnTo>
                <a:lnTo>
                  <a:pt x="50" y="560"/>
                </a:lnTo>
                <a:lnTo>
                  <a:pt x="57" y="575"/>
                </a:lnTo>
                <a:lnTo>
                  <a:pt x="90" y="584"/>
                </a:lnTo>
                <a:lnTo>
                  <a:pt x="99" y="575"/>
                </a:lnTo>
                <a:lnTo>
                  <a:pt x="147" y="575"/>
                </a:lnTo>
                <a:lnTo>
                  <a:pt x="196" y="600"/>
                </a:lnTo>
                <a:lnTo>
                  <a:pt x="196" y="615"/>
                </a:lnTo>
                <a:lnTo>
                  <a:pt x="211" y="657"/>
                </a:lnTo>
                <a:lnTo>
                  <a:pt x="211" y="681"/>
                </a:lnTo>
                <a:lnTo>
                  <a:pt x="227" y="697"/>
                </a:lnTo>
                <a:lnTo>
                  <a:pt x="221" y="746"/>
                </a:lnTo>
                <a:lnTo>
                  <a:pt x="227" y="762"/>
                </a:lnTo>
                <a:lnTo>
                  <a:pt x="227" y="777"/>
                </a:lnTo>
                <a:lnTo>
                  <a:pt x="227" y="794"/>
                </a:lnTo>
                <a:lnTo>
                  <a:pt x="244" y="794"/>
                </a:lnTo>
                <a:lnTo>
                  <a:pt x="252" y="777"/>
                </a:lnTo>
                <a:lnTo>
                  <a:pt x="261" y="802"/>
                </a:lnTo>
                <a:lnTo>
                  <a:pt x="276" y="811"/>
                </a:lnTo>
                <a:lnTo>
                  <a:pt x="284" y="827"/>
                </a:lnTo>
                <a:lnTo>
                  <a:pt x="244" y="818"/>
                </a:lnTo>
                <a:lnTo>
                  <a:pt x="236" y="836"/>
                </a:lnTo>
                <a:lnTo>
                  <a:pt x="236" y="859"/>
                </a:lnTo>
                <a:lnTo>
                  <a:pt x="252" y="874"/>
                </a:lnTo>
                <a:lnTo>
                  <a:pt x="268" y="867"/>
                </a:lnTo>
                <a:lnTo>
                  <a:pt x="284" y="851"/>
                </a:lnTo>
                <a:lnTo>
                  <a:pt x="293" y="874"/>
                </a:lnTo>
                <a:lnTo>
                  <a:pt x="284" y="899"/>
                </a:lnTo>
                <a:lnTo>
                  <a:pt x="268" y="899"/>
                </a:lnTo>
                <a:lnTo>
                  <a:pt x="252" y="914"/>
                </a:lnTo>
                <a:lnTo>
                  <a:pt x="252" y="980"/>
                </a:lnTo>
                <a:lnTo>
                  <a:pt x="268" y="996"/>
                </a:lnTo>
                <a:lnTo>
                  <a:pt x="276" y="1038"/>
                </a:lnTo>
                <a:lnTo>
                  <a:pt x="308" y="1119"/>
                </a:lnTo>
                <a:lnTo>
                  <a:pt x="324" y="1135"/>
                </a:lnTo>
                <a:lnTo>
                  <a:pt x="349" y="1135"/>
                </a:lnTo>
                <a:lnTo>
                  <a:pt x="373" y="1159"/>
                </a:lnTo>
                <a:lnTo>
                  <a:pt x="383" y="1150"/>
                </a:lnTo>
                <a:lnTo>
                  <a:pt x="398" y="1101"/>
                </a:lnTo>
                <a:lnTo>
                  <a:pt x="398" y="1085"/>
                </a:lnTo>
                <a:lnTo>
                  <a:pt x="414" y="1061"/>
                </a:lnTo>
                <a:lnTo>
                  <a:pt x="423" y="1029"/>
                </a:lnTo>
                <a:lnTo>
                  <a:pt x="414" y="1013"/>
                </a:lnTo>
                <a:lnTo>
                  <a:pt x="423" y="1013"/>
                </a:lnTo>
                <a:lnTo>
                  <a:pt x="430" y="996"/>
                </a:lnTo>
                <a:lnTo>
                  <a:pt x="463" y="996"/>
                </a:lnTo>
                <a:lnTo>
                  <a:pt x="479" y="980"/>
                </a:lnTo>
                <a:lnTo>
                  <a:pt x="537" y="914"/>
                </a:lnTo>
                <a:lnTo>
                  <a:pt x="553" y="914"/>
                </a:lnTo>
                <a:lnTo>
                  <a:pt x="585" y="899"/>
                </a:lnTo>
                <a:lnTo>
                  <a:pt x="641" y="859"/>
                </a:lnTo>
                <a:lnTo>
                  <a:pt x="650" y="843"/>
                </a:lnTo>
                <a:lnTo>
                  <a:pt x="618" y="836"/>
                </a:lnTo>
                <a:lnTo>
                  <a:pt x="600" y="843"/>
                </a:lnTo>
                <a:lnTo>
                  <a:pt x="600" y="836"/>
                </a:lnTo>
                <a:lnTo>
                  <a:pt x="618" y="818"/>
                </a:lnTo>
                <a:lnTo>
                  <a:pt x="609" y="802"/>
                </a:lnTo>
                <a:lnTo>
                  <a:pt x="625" y="794"/>
                </a:lnTo>
                <a:lnTo>
                  <a:pt x="634" y="827"/>
                </a:lnTo>
                <a:lnTo>
                  <a:pt x="641" y="836"/>
                </a:lnTo>
                <a:lnTo>
                  <a:pt x="659" y="827"/>
                </a:lnTo>
                <a:lnTo>
                  <a:pt x="659" y="794"/>
                </a:lnTo>
                <a:lnTo>
                  <a:pt x="625" y="746"/>
                </a:lnTo>
                <a:lnTo>
                  <a:pt x="659" y="762"/>
                </a:lnTo>
                <a:lnTo>
                  <a:pt x="659" y="730"/>
                </a:lnTo>
                <a:lnTo>
                  <a:pt x="641" y="722"/>
                </a:lnTo>
                <a:lnTo>
                  <a:pt x="666" y="705"/>
                </a:lnTo>
                <a:lnTo>
                  <a:pt x="674" y="705"/>
                </a:lnTo>
                <a:lnTo>
                  <a:pt x="674" y="688"/>
                </a:lnTo>
                <a:lnTo>
                  <a:pt x="666" y="681"/>
                </a:lnTo>
                <a:lnTo>
                  <a:pt x="690" y="672"/>
                </a:lnTo>
                <a:lnTo>
                  <a:pt x="699" y="649"/>
                </a:lnTo>
                <a:lnTo>
                  <a:pt x="682" y="649"/>
                </a:lnTo>
                <a:lnTo>
                  <a:pt x="690" y="625"/>
                </a:lnTo>
                <a:lnTo>
                  <a:pt x="682" y="575"/>
                </a:lnTo>
                <a:lnTo>
                  <a:pt x="666" y="568"/>
                </a:lnTo>
                <a:lnTo>
                  <a:pt x="666" y="544"/>
                </a:lnTo>
                <a:lnTo>
                  <a:pt x="674" y="535"/>
                </a:lnTo>
                <a:lnTo>
                  <a:pt x="699" y="544"/>
                </a:lnTo>
                <a:lnTo>
                  <a:pt x="706" y="528"/>
                </a:lnTo>
                <a:lnTo>
                  <a:pt x="690" y="470"/>
                </a:lnTo>
                <a:lnTo>
                  <a:pt x="690" y="445"/>
                </a:lnTo>
                <a:lnTo>
                  <a:pt x="690" y="413"/>
                </a:lnTo>
                <a:lnTo>
                  <a:pt x="739" y="301"/>
                </a:lnTo>
                <a:lnTo>
                  <a:pt x="787" y="227"/>
                </a:lnTo>
                <a:lnTo>
                  <a:pt x="771" y="202"/>
                </a:lnTo>
                <a:lnTo>
                  <a:pt x="731" y="187"/>
                </a:lnTo>
                <a:lnTo>
                  <a:pt x="706" y="221"/>
                </a:lnTo>
                <a:lnTo>
                  <a:pt x="690" y="211"/>
                </a:lnTo>
                <a:lnTo>
                  <a:pt x="650" y="252"/>
                </a:lnTo>
                <a:lnTo>
                  <a:pt x="618" y="268"/>
                </a:lnTo>
                <a:lnTo>
                  <a:pt x="634" y="227"/>
                </a:lnTo>
                <a:lnTo>
                  <a:pt x="666" y="187"/>
                </a:lnTo>
                <a:lnTo>
                  <a:pt x="659" y="162"/>
                </a:lnTo>
                <a:lnTo>
                  <a:pt x="634" y="171"/>
                </a:lnTo>
                <a:lnTo>
                  <a:pt x="634" y="196"/>
                </a:lnTo>
                <a:lnTo>
                  <a:pt x="618" y="202"/>
                </a:lnTo>
                <a:lnTo>
                  <a:pt x="618" y="162"/>
                </a:lnTo>
                <a:lnTo>
                  <a:pt x="553" y="162"/>
                </a:lnTo>
                <a:lnTo>
                  <a:pt x="577" y="146"/>
                </a:lnTo>
                <a:lnTo>
                  <a:pt x="609" y="155"/>
                </a:lnTo>
                <a:lnTo>
                  <a:pt x="659" y="137"/>
                </a:lnTo>
                <a:lnTo>
                  <a:pt x="682" y="114"/>
                </a:lnTo>
                <a:lnTo>
                  <a:pt x="659" y="90"/>
                </a:lnTo>
                <a:lnTo>
                  <a:pt x="634" y="74"/>
                </a:lnTo>
                <a:lnTo>
                  <a:pt x="618" y="50"/>
                </a:lnTo>
                <a:lnTo>
                  <a:pt x="585" y="16"/>
                </a:lnTo>
                <a:lnTo>
                  <a:pt x="479" y="0"/>
                </a:lnTo>
                <a:lnTo>
                  <a:pt x="373" y="50"/>
                </a:lnTo>
                <a:lnTo>
                  <a:pt x="341" y="90"/>
                </a:lnTo>
                <a:lnTo>
                  <a:pt x="333" y="130"/>
                </a:lnTo>
                <a:lnTo>
                  <a:pt x="293" y="130"/>
                </a:lnTo>
                <a:lnTo>
                  <a:pt x="284" y="171"/>
                </a:lnTo>
                <a:lnTo>
                  <a:pt x="244" y="137"/>
                </a:lnTo>
                <a:lnTo>
                  <a:pt x="179" y="162"/>
                </a:lnTo>
                <a:lnTo>
                  <a:pt x="147" y="196"/>
                </a:lnTo>
                <a:lnTo>
                  <a:pt x="155" y="221"/>
                </a:lnTo>
                <a:lnTo>
                  <a:pt x="147" y="243"/>
                </a:lnTo>
                <a:lnTo>
                  <a:pt x="122" y="243"/>
                </a:lnTo>
                <a:lnTo>
                  <a:pt x="82" y="292"/>
                </a:lnTo>
                <a:lnTo>
                  <a:pt x="74" y="333"/>
                </a:lnTo>
                <a:lnTo>
                  <a:pt x="106" y="333"/>
                </a:lnTo>
                <a:lnTo>
                  <a:pt x="115" y="358"/>
                </a:lnTo>
                <a:lnTo>
                  <a:pt x="99" y="389"/>
                </a:lnTo>
                <a:lnTo>
                  <a:pt x="57" y="405"/>
                </a:lnTo>
                <a:lnTo>
                  <a:pt x="9" y="429"/>
                </a:lnTo>
                <a:lnTo>
                  <a:pt x="0" y="463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49" name="Freeform 212"/>
          <p:cNvSpPr>
            <a:spLocks/>
          </p:cNvSpPr>
          <p:nvPr>
            <p:custDataLst>
              <p:tags r:id="rId160"/>
            </p:custDataLst>
          </p:nvPr>
        </p:nvSpPr>
        <p:spPr bwMode="gray">
          <a:xfrm>
            <a:off x="2343150" y="2773363"/>
            <a:ext cx="65088" cy="63500"/>
          </a:xfrm>
          <a:custGeom>
            <a:avLst/>
            <a:gdLst>
              <a:gd name="T0" fmla="*/ 0 w 41"/>
              <a:gd name="T1" fmla="*/ 2147483647 h 41"/>
              <a:gd name="T2" fmla="*/ 2147483647 w 41"/>
              <a:gd name="T3" fmla="*/ 2147483647 h 41"/>
              <a:gd name="T4" fmla="*/ 2147483647 w 41"/>
              <a:gd name="T5" fmla="*/ 2147483647 h 41"/>
              <a:gd name="T6" fmla="*/ 2147483647 w 41"/>
              <a:gd name="T7" fmla="*/ 0 h 41"/>
              <a:gd name="T8" fmla="*/ 2147483647 w 41"/>
              <a:gd name="T9" fmla="*/ 0 h 41"/>
              <a:gd name="T10" fmla="*/ 0 w 41"/>
              <a:gd name="T11" fmla="*/ 2147483647 h 4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1"/>
              <a:gd name="T19" fmla="*/ 0 h 41"/>
              <a:gd name="T20" fmla="*/ 41 w 41"/>
              <a:gd name="T21" fmla="*/ 41 h 4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1" h="41">
                <a:moveTo>
                  <a:pt x="0" y="23"/>
                </a:moveTo>
                <a:lnTo>
                  <a:pt x="40" y="40"/>
                </a:lnTo>
                <a:lnTo>
                  <a:pt x="40" y="16"/>
                </a:lnTo>
                <a:lnTo>
                  <a:pt x="23" y="0"/>
                </a:lnTo>
                <a:lnTo>
                  <a:pt x="16" y="0"/>
                </a:lnTo>
                <a:lnTo>
                  <a:pt x="0" y="23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50" name="Freeform 213"/>
          <p:cNvSpPr>
            <a:spLocks/>
          </p:cNvSpPr>
          <p:nvPr>
            <p:custDataLst>
              <p:tags r:id="rId161"/>
            </p:custDataLst>
          </p:nvPr>
        </p:nvSpPr>
        <p:spPr bwMode="gray">
          <a:xfrm>
            <a:off x="2355850" y="2646363"/>
            <a:ext cx="333375" cy="215900"/>
          </a:xfrm>
          <a:custGeom>
            <a:avLst/>
            <a:gdLst>
              <a:gd name="T0" fmla="*/ 0 w 212"/>
              <a:gd name="T1" fmla="*/ 0 h 138"/>
              <a:gd name="T2" fmla="*/ 0 w 212"/>
              <a:gd name="T3" fmla="*/ 2147483647 h 138"/>
              <a:gd name="T4" fmla="*/ 2147483647 w 212"/>
              <a:gd name="T5" fmla="*/ 2147483647 h 138"/>
              <a:gd name="T6" fmla="*/ 2147483647 w 212"/>
              <a:gd name="T7" fmla="*/ 2147483647 h 138"/>
              <a:gd name="T8" fmla="*/ 2147483647 w 212"/>
              <a:gd name="T9" fmla="*/ 2147483647 h 138"/>
              <a:gd name="T10" fmla="*/ 2147483647 w 212"/>
              <a:gd name="T11" fmla="*/ 2147483647 h 138"/>
              <a:gd name="T12" fmla="*/ 2147483647 w 212"/>
              <a:gd name="T13" fmla="*/ 2147483647 h 138"/>
              <a:gd name="T14" fmla="*/ 2147483647 w 212"/>
              <a:gd name="T15" fmla="*/ 2147483647 h 138"/>
              <a:gd name="T16" fmla="*/ 2147483647 w 212"/>
              <a:gd name="T17" fmla="*/ 2147483647 h 138"/>
              <a:gd name="T18" fmla="*/ 2147483647 w 212"/>
              <a:gd name="T19" fmla="*/ 2147483647 h 138"/>
              <a:gd name="T20" fmla="*/ 2147483647 w 212"/>
              <a:gd name="T21" fmla="*/ 2147483647 h 138"/>
              <a:gd name="T22" fmla="*/ 2147483647 w 212"/>
              <a:gd name="T23" fmla="*/ 2147483647 h 138"/>
              <a:gd name="T24" fmla="*/ 2147483647 w 212"/>
              <a:gd name="T25" fmla="*/ 2147483647 h 138"/>
              <a:gd name="T26" fmla="*/ 2147483647 w 212"/>
              <a:gd name="T27" fmla="*/ 2147483647 h 138"/>
              <a:gd name="T28" fmla="*/ 2147483647 w 212"/>
              <a:gd name="T29" fmla="*/ 2147483647 h 138"/>
              <a:gd name="T30" fmla="*/ 2147483647 w 212"/>
              <a:gd name="T31" fmla="*/ 2147483647 h 138"/>
              <a:gd name="T32" fmla="*/ 2147483647 w 212"/>
              <a:gd name="T33" fmla="*/ 2147483647 h 138"/>
              <a:gd name="T34" fmla="*/ 2147483647 w 212"/>
              <a:gd name="T35" fmla="*/ 2147483647 h 138"/>
              <a:gd name="T36" fmla="*/ 2147483647 w 212"/>
              <a:gd name="T37" fmla="*/ 2147483647 h 138"/>
              <a:gd name="T38" fmla="*/ 2147483647 w 212"/>
              <a:gd name="T39" fmla="*/ 2147483647 h 138"/>
              <a:gd name="T40" fmla="*/ 2147483647 w 212"/>
              <a:gd name="T41" fmla="*/ 2147483647 h 138"/>
              <a:gd name="T42" fmla="*/ 0 w 212"/>
              <a:gd name="T43" fmla="*/ 0 h 138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212"/>
              <a:gd name="T67" fmla="*/ 0 h 138"/>
              <a:gd name="T68" fmla="*/ 212 w 212"/>
              <a:gd name="T69" fmla="*/ 138 h 138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212" h="138">
                <a:moveTo>
                  <a:pt x="0" y="0"/>
                </a:moveTo>
                <a:lnTo>
                  <a:pt x="0" y="16"/>
                </a:lnTo>
                <a:lnTo>
                  <a:pt x="15" y="40"/>
                </a:lnTo>
                <a:lnTo>
                  <a:pt x="32" y="40"/>
                </a:lnTo>
                <a:lnTo>
                  <a:pt x="49" y="47"/>
                </a:lnTo>
                <a:lnTo>
                  <a:pt x="49" y="121"/>
                </a:lnTo>
                <a:lnTo>
                  <a:pt x="120" y="137"/>
                </a:lnTo>
                <a:lnTo>
                  <a:pt x="145" y="137"/>
                </a:lnTo>
                <a:lnTo>
                  <a:pt x="161" y="121"/>
                </a:lnTo>
                <a:lnTo>
                  <a:pt x="179" y="129"/>
                </a:lnTo>
                <a:lnTo>
                  <a:pt x="202" y="121"/>
                </a:lnTo>
                <a:lnTo>
                  <a:pt x="211" y="81"/>
                </a:lnTo>
                <a:lnTo>
                  <a:pt x="186" y="72"/>
                </a:lnTo>
                <a:lnTo>
                  <a:pt x="145" y="63"/>
                </a:lnTo>
                <a:lnTo>
                  <a:pt x="120" y="81"/>
                </a:lnTo>
                <a:lnTo>
                  <a:pt x="96" y="72"/>
                </a:lnTo>
                <a:lnTo>
                  <a:pt x="73" y="56"/>
                </a:lnTo>
                <a:lnTo>
                  <a:pt x="80" y="47"/>
                </a:lnTo>
                <a:lnTo>
                  <a:pt x="64" y="23"/>
                </a:lnTo>
                <a:lnTo>
                  <a:pt x="40" y="23"/>
                </a:lnTo>
                <a:lnTo>
                  <a:pt x="24" y="7"/>
                </a:lnTo>
                <a:lnTo>
                  <a:pt x="0" y="0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51" name="Freeform 214"/>
          <p:cNvSpPr>
            <a:spLocks/>
          </p:cNvSpPr>
          <p:nvPr>
            <p:custDataLst>
              <p:tags r:id="rId162"/>
            </p:custDataLst>
          </p:nvPr>
        </p:nvSpPr>
        <p:spPr bwMode="gray">
          <a:xfrm>
            <a:off x="2379663" y="2189163"/>
            <a:ext cx="180975" cy="357187"/>
          </a:xfrm>
          <a:custGeom>
            <a:avLst/>
            <a:gdLst>
              <a:gd name="T0" fmla="*/ 0 w 115"/>
              <a:gd name="T1" fmla="*/ 2147483647 h 228"/>
              <a:gd name="T2" fmla="*/ 2147483647 w 115"/>
              <a:gd name="T3" fmla="*/ 2147483647 h 228"/>
              <a:gd name="T4" fmla="*/ 2147483647 w 115"/>
              <a:gd name="T5" fmla="*/ 2147483647 h 228"/>
              <a:gd name="T6" fmla="*/ 2147483647 w 115"/>
              <a:gd name="T7" fmla="*/ 2147483647 h 228"/>
              <a:gd name="T8" fmla="*/ 2147483647 w 115"/>
              <a:gd name="T9" fmla="*/ 2147483647 h 228"/>
              <a:gd name="T10" fmla="*/ 2147483647 w 115"/>
              <a:gd name="T11" fmla="*/ 2147483647 h 228"/>
              <a:gd name="T12" fmla="*/ 2147483647 w 115"/>
              <a:gd name="T13" fmla="*/ 2147483647 h 228"/>
              <a:gd name="T14" fmla="*/ 2147483647 w 115"/>
              <a:gd name="T15" fmla="*/ 2147483647 h 228"/>
              <a:gd name="T16" fmla="*/ 2147483647 w 115"/>
              <a:gd name="T17" fmla="*/ 2147483647 h 228"/>
              <a:gd name="T18" fmla="*/ 2147483647 w 115"/>
              <a:gd name="T19" fmla="*/ 2147483647 h 228"/>
              <a:gd name="T20" fmla="*/ 2147483647 w 115"/>
              <a:gd name="T21" fmla="*/ 2147483647 h 228"/>
              <a:gd name="T22" fmla="*/ 2147483647 w 115"/>
              <a:gd name="T23" fmla="*/ 2147483647 h 228"/>
              <a:gd name="T24" fmla="*/ 2147483647 w 115"/>
              <a:gd name="T25" fmla="*/ 2147483647 h 228"/>
              <a:gd name="T26" fmla="*/ 2147483647 w 115"/>
              <a:gd name="T27" fmla="*/ 2147483647 h 228"/>
              <a:gd name="T28" fmla="*/ 2147483647 w 115"/>
              <a:gd name="T29" fmla="*/ 0 h 228"/>
              <a:gd name="T30" fmla="*/ 2147483647 w 115"/>
              <a:gd name="T31" fmla="*/ 0 h 228"/>
              <a:gd name="T32" fmla="*/ 2147483647 w 115"/>
              <a:gd name="T33" fmla="*/ 2147483647 h 228"/>
              <a:gd name="T34" fmla="*/ 0 w 115"/>
              <a:gd name="T35" fmla="*/ 2147483647 h 228"/>
              <a:gd name="T36" fmla="*/ 0 w 115"/>
              <a:gd name="T37" fmla="*/ 2147483647 h 228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15"/>
              <a:gd name="T58" fmla="*/ 0 h 228"/>
              <a:gd name="T59" fmla="*/ 115 w 115"/>
              <a:gd name="T60" fmla="*/ 228 h 228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15" h="228">
                <a:moveTo>
                  <a:pt x="0" y="97"/>
                </a:moveTo>
                <a:lnTo>
                  <a:pt x="25" y="146"/>
                </a:lnTo>
                <a:lnTo>
                  <a:pt x="17" y="169"/>
                </a:lnTo>
                <a:lnTo>
                  <a:pt x="17" y="202"/>
                </a:lnTo>
                <a:lnTo>
                  <a:pt x="34" y="227"/>
                </a:lnTo>
                <a:lnTo>
                  <a:pt x="74" y="227"/>
                </a:lnTo>
                <a:lnTo>
                  <a:pt x="99" y="169"/>
                </a:lnTo>
                <a:lnTo>
                  <a:pt x="114" y="153"/>
                </a:lnTo>
                <a:lnTo>
                  <a:pt x="114" y="128"/>
                </a:lnTo>
                <a:lnTo>
                  <a:pt x="90" y="122"/>
                </a:lnTo>
                <a:lnTo>
                  <a:pt x="99" y="88"/>
                </a:lnTo>
                <a:lnTo>
                  <a:pt x="90" y="65"/>
                </a:lnTo>
                <a:lnTo>
                  <a:pt x="58" y="65"/>
                </a:lnTo>
                <a:lnTo>
                  <a:pt x="40" y="40"/>
                </a:lnTo>
                <a:lnTo>
                  <a:pt x="34" y="0"/>
                </a:lnTo>
                <a:lnTo>
                  <a:pt x="17" y="0"/>
                </a:lnTo>
                <a:lnTo>
                  <a:pt x="17" y="40"/>
                </a:lnTo>
                <a:lnTo>
                  <a:pt x="0" y="65"/>
                </a:lnTo>
                <a:lnTo>
                  <a:pt x="0" y="97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52" name="Freeform 215"/>
          <p:cNvSpPr>
            <a:spLocks/>
          </p:cNvSpPr>
          <p:nvPr>
            <p:custDataLst>
              <p:tags r:id="rId163"/>
            </p:custDataLst>
          </p:nvPr>
        </p:nvSpPr>
        <p:spPr bwMode="gray">
          <a:xfrm>
            <a:off x="2471738" y="1920875"/>
            <a:ext cx="587375" cy="801688"/>
          </a:xfrm>
          <a:custGeom>
            <a:avLst/>
            <a:gdLst>
              <a:gd name="T0" fmla="*/ 0 w 374"/>
              <a:gd name="T1" fmla="*/ 2147483647 h 511"/>
              <a:gd name="T2" fmla="*/ 2147483647 w 374"/>
              <a:gd name="T3" fmla="*/ 2147483647 h 511"/>
              <a:gd name="T4" fmla="*/ 2147483647 w 374"/>
              <a:gd name="T5" fmla="*/ 2147483647 h 511"/>
              <a:gd name="T6" fmla="*/ 2147483647 w 374"/>
              <a:gd name="T7" fmla="*/ 2147483647 h 511"/>
              <a:gd name="T8" fmla="*/ 2147483647 w 374"/>
              <a:gd name="T9" fmla="*/ 2147483647 h 511"/>
              <a:gd name="T10" fmla="*/ 2147483647 w 374"/>
              <a:gd name="T11" fmla="*/ 2147483647 h 511"/>
              <a:gd name="T12" fmla="*/ 2147483647 w 374"/>
              <a:gd name="T13" fmla="*/ 2147483647 h 511"/>
              <a:gd name="T14" fmla="*/ 2147483647 w 374"/>
              <a:gd name="T15" fmla="*/ 2147483647 h 511"/>
              <a:gd name="T16" fmla="*/ 2147483647 w 374"/>
              <a:gd name="T17" fmla="*/ 2147483647 h 511"/>
              <a:gd name="T18" fmla="*/ 2147483647 w 374"/>
              <a:gd name="T19" fmla="*/ 2147483647 h 511"/>
              <a:gd name="T20" fmla="*/ 2147483647 w 374"/>
              <a:gd name="T21" fmla="*/ 2147483647 h 511"/>
              <a:gd name="T22" fmla="*/ 2147483647 w 374"/>
              <a:gd name="T23" fmla="*/ 2147483647 h 511"/>
              <a:gd name="T24" fmla="*/ 2147483647 w 374"/>
              <a:gd name="T25" fmla="*/ 2147483647 h 511"/>
              <a:gd name="T26" fmla="*/ 2147483647 w 374"/>
              <a:gd name="T27" fmla="*/ 2147483647 h 511"/>
              <a:gd name="T28" fmla="*/ 2147483647 w 374"/>
              <a:gd name="T29" fmla="*/ 2147483647 h 511"/>
              <a:gd name="T30" fmla="*/ 2147483647 w 374"/>
              <a:gd name="T31" fmla="*/ 2147483647 h 511"/>
              <a:gd name="T32" fmla="*/ 2147483647 w 374"/>
              <a:gd name="T33" fmla="*/ 2147483647 h 511"/>
              <a:gd name="T34" fmla="*/ 2147483647 w 374"/>
              <a:gd name="T35" fmla="*/ 2147483647 h 511"/>
              <a:gd name="T36" fmla="*/ 2147483647 w 374"/>
              <a:gd name="T37" fmla="*/ 2147483647 h 511"/>
              <a:gd name="T38" fmla="*/ 2147483647 w 374"/>
              <a:gd name="T39" fmla="*/ 2147483647 h 511"/>
              <a:gd name="T40" fmla="*/ 2147483647 w 374"/>
              <a:gd name="T41" fmla="*/ 2147483647 h 511"/>
              <a:gd name="T42" fmla="*/ 2147483647 w 374"/>
              <a:gd name="T43" fmla="*/ 2147483647 h 511"/>
              <a:gd name="T44" fmla="*/ 2147483647 w 374"/>
              <a:gd name="T45" fmla="*/ 2147483647 h 511"/>
              <a:gd name="T46" fmla="*/ 2147483647 w 374"/>
              <a:gd name="T47" fmla="*/ 2147483647 h 511"/>
              <a:gd name="T48" fmla="*/ 2147483647 w 374"/>
              <a:gd name="T49" fmla="*/ 2147483647 h 511"/>
              <a:gd name="T50" fmla="*/ 2147483647 w 374"/>
              <a:gd name="T51" fmla="*/ 2147483647 h 511"/>
              <a:gd name="T52" fmla="*/ 2147483647 w 374"/>
              <a:gd name="T53" fmla="*/ 2147483647 h 511"/>
              <a:gd name="T54" fmla="*/ 2147483647 w 374"/>
              <a:gd name="T55" fmla="*/ 2147483647 h 511"/>
              <a:gd name="T56" fmla="*/ 2147483647 w 374"/>
              <a:gd name="T57" fmla="*/ 2147483647 h 511"/>
              <a:gd name="T58" fmla="*/ 2147483647 w 374"/>
              <a:gd name="T59" fmla="*/ 2147483647 h 511"/>
              <a:gd name="T60" fmla="*/ 2147483647 w 374"/>
              <a:gd name="T61" fmla="*/ 2147483647 h 511"/>
              <a:gd name="T62" fmla="*/ 2147483647 w 374"/>
              <a:gd name="T63" fmla="*/ 2147483647 h 511"/>
              <a:gd name="T64" fmla="*/ 2147483647 w 374"/>
              <a:gd name="T65" fmla="*/ 2147483647 h 511"/>
              <a:gd name="T66" fmla="*/ 2147483647 w 374"/>
              <a:gd name="T67" fmla="*/ 2147483647 h 511"/>
              <a:gd name="T68" fmla="*/ 2147483647 w 374"/>
              <a:gd name="T69" fmla="*/ 2147483647 h 511"/>
              <a:gd name="T70" fmla="*/ 2147483647 w 374"/>
              <a:gd name="T71" fmla="*/ 2147483647 h 511"/>
              <a:gd name="T72" fmla="*/ 2147483647 w 374"/>
              <a:gd name="T73" fmla="*/ 2147483647 h 511"/>
              <a:gd name="T74" fmla="*/ 2147483647 w 374"/>
              <a:gd name="T75" fmla="*/ 2147483647 h 511"/>
              <a:gd name="T76" fmla="*/ 2147483647 w 374"/>
              <a:gd name="T77" fmla="*/ 2147483647 h 511"/>
              <a:gd name="T78" fmla="*/ 2147483647 w 374"/>
              <a:gd name="T79" fmla="*/ 2147483647 h 511"/>
              <a:gd name="T80" fmla="*/ 2147483647 w 374"/>
              <a:gd name="T81" fmla="*/ 2147483647 h 511"/>
              <a:gd name="T82" fmla="*/ 2147483647 w 374"/>
              <a:gd name="T83" fmla="*/ 0 h 511"/>
              <a:gd name="T84" fmla="*/ 2147483647 w 374"/>
              <a:gd name="T85" fmla="*/ 0 h 511"/>
              <a:gd name="T86" fmla="*/ 2147483647 w 374"/>
              <a:gd name="T87" fmla="*/ 2147483647 h 511"/>
              <a:gd name="T88" fmla="*/ 2147483647 w 374"/>
              <a:gd name="T89" fmla="*/ 0 h 511"/>
              <a:gd name="T90" fmla="*/ 2147483647 w 374"/>
              <a:gd name="T91" fmla="*/ 2147483647 h 511"/>
              <a:gd name="T92" fmla="*/ 2147483647 w 374"/>
              <a:gd name="T93" fmla="*/ 2147483647 h 511"/>
              <a:gd name="T94" fmla="*/ 2147483647 w 374"/>
              <a:gd name="T95" fmla="*/ 2147483647 h 511"/>
              <a:gd name="T96" fmla="*/ 2147483647 w 374"/>
              <a:gd name="T97" fmla="*/ 2147483647 h 511"/>
              <a:gd name="T98" fmla="*/ 2147483647 w 374"/>
              <a:gd name="T99" fmla="*/ 2147483647 h 511"/>
              <a:gd name="T100" fmla="*/ 0 w 374"/>
              <a:gd name="T101" fmla="*/ 2147483647 h 511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374"/>
              <a:gd name="T154" fmla="*/ 0 h 511"/>
              <a:gd name="T155" fmla="*/ 374 w 374"/>
              <a:gd name="T156" fmla="*/ 511 h 511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374" h="511">
                <a:moveTo>
                  <a:pt x="0" y="156"/>
                </a:moveTo>
                <a:lnTo>
                  <a:pt x="7" y="196"/>
                </a:lnTo>
                <a:lnTo>
                  <a:pt x="23" y="219"/>
                </a:lnTo>
                <a:lnTo>
                  <a:pt x="66" y="219"/>
                </a:lnTo>
                <a:lnTo>
                  <a:pt x="88" y="211"/>
                </a:lnTo>
                <a:lnTo>
                  <a:pt x="162" y="203"/>
                </a:lnTo>
                <a:lnTo>
                  <a:pt x="138" y="219"/>
                </a:lnTo>
                <a:lnTo>
                  <a:pt x="97" y="236"/>
                </a:lnTo>
                <a:lnTo>
                  <a:pt x="88" y="251"/>
                </a:lnTo>
                <a:lnTo>
                  <a:pt x="56" y="236"/>
                </a:lnTo>
                <a:lnTo>
                  <a:pt x="47" y="276"/>
                </a:lnTo>
                <a:lnTo>
                  <a:pt x="66" y="293"/>
                </a:lnTo>
                <a:lnTo>
                  <a:pt x="72" y="348"/>
                </a:lnTo>
                <a:lnTo>
                  <a:pt x="56" y="358"/>
                </a:lnTo>
                <a:lnTo>
                  <a:pt x="32" y="398"/>
                </a:lnTo>
                <a:lnTo>
                  <a:pt x="66" y="405"/>
                </a:lnTo>
                <a:lnTo>
                  <a:pt x="32" y="413"/>
                </a:lnTo>
                <a:lnTo>
                  <a:pt x="32" y="438"/>
                </a:lnTo>
                <a:lnTo>
                  <a:pt x="41" y="445"/>
                </a:lnTo>
                <a:lnTo>
                  <a:pt x="7" y="470"/>
                </a:lnTo>
                <a:lnTo>
                  <a:pt x="7" y="495"/>
                </a:lnTo>
                <a:lnTo>
                  <a:pt x="66" y="503"/>
                </a:lnTo>
                <a:lnTo>
                  <a:pt x="81" y="495"/>
                </a:lnTo>
                <a:lnTo>
                  <a:pt x="97" y="503"/>
                </a:lnTo>
                <a:lnTo>
                  <a:pt x="113" y="495"/>
                </a:lnTo>
                <a:lnTo>
                  <a:pt x="121" y="510"/>
                </a:lnTo>
                <a:lnTo>
                  <a:pt x="146" y="495"/>
                </a:lnTo>
                <a:lnTo>
                  <a:pt x="162" y="470"/>
                </a:lnTo>
                <a:lnTo>
                  <a:pt x="146" y="445"/>
                </a:lnTo>
                <a:lnTo>
                  <a:pt x="162" y="430"/>
                </a:lnTo>
                <a:lnTo>
                  <a:pt x="162" y="405"/>
                </a:lnTo>
                <a:lnTo>
                  <a:pt x="186" y="405"/>
                </a:lnTo>
                <a:lnTo>
                  <a:pt x="209" y="308"/>
                </a:lnTo>
                <a:lnTo>
                  <a:pt x="243" y="293"/>
                </a:lnTo>
                <a:lnTo>
                  <a:pt x="275" y="227"/>
                </a:lnTo>
                <a:lnTo>
                  <a:pt x="333" y="156"/>
                </a:lnTo>
                <a:lnTo>
                  <a:pt x="333" y="137"/>
                </a:lnTo>
                <a:lnTo>
                  <a:pt x="373" y="90"/>
                </a:lnTo>
                <a:lnTo>
                  <a:pt x="373" y="65"/>
                </a:lnTo>
                <a:lnTo>
                  <a:pt x="349" y="57"/>
                </a:lnTo>
                <a:lnTo>
                  <a:pt x="333" y="25"/>
                </a:lnTo>
                <a:lnTo>
                  <a:pt x="268" y="0"/>
                </a:lnTo>
                <a:lnTo>
                  <a:pt x="227" y="0"/>
                </a:lnTo>
                <a:lnTo>
                  <a:pt x="203" y="9"/>
                </a:lnTo>
                <a:lnTo>
                  <a:pt x="169" y="0"/>
                </a:lnTo>
                <a:lnTo>
                  <a:pt x="121" y="17"/>
                </a:lnTo>
                <a:lnTo>
                  <a:pt x="97" y="49"/>
                </a:lnTo>
                <a:lnTo>
                  <a:pt x="47" y="90"/>
                </a:lnTo>
                <a:lnTo>
                  <a:pt x="47" y="113"/>
                </a:lnTo>
                <a:lnTo>
                  <a:pt x="16" y="113"/>
                </a:lnTo>
                <a:lnTo>
                  <a:pt x="0" y="156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53" name="Freeform 216"/>
          <p:cNvSpPr>
            <a:spLocks/>
          </p:cNvSpPr>
          <p:nvPr>
            <p:custDataLst>
              <p:tags r:id="rId164"/>
            </p:custDataLst>
          </p:nvPr>
        </p:nvSpPr>
        <p:spPr bwMode="gray">
          <a:xfrm>
            <a:off x="2151063" y="2417763"/>
            <a:ext cx="219075" cy="165100"/>
          </a:xfrm>
          <a:custGeom>
            <a:avLst/>
            <a:gdLst>
              <a:gd name="T0" fmla="*/ 0 w 140"/>
              <a:gd name="T1" fmla="*/ 2147483647 h 106"/>
              <a:gd name="T2" fmla="*/ 0 w 140"/>
              <a:gd name="T3" fmla="*/ 2147483647 h 106"/>
              <a:gd name="T4" fmla="*/ 2147483647 w 140"/>
              <a:gd name="T5" fmla="*/ 2147483647 h 106"/>
              <a:gd name="T6" fmla="*/ 2147483647 w 140"/>
              <a:gd name="T7" fmla="*/ 2147483647 h 106"/>
              <a:gd name="T8" fmla="*/ 2147483647 w 140"/>
              <a:gd name="T9" fmla="*/ 2147483647 h 106"/>
              <a:gd name="T10" fmla="*/ 2147483647 w 140"/>
              <a:gd name="T11" fmla="*/ 2147483647 h 106"/>
              <a:gd name="T12" fmla="*/ 2147483647 w 140"/>
              <a:gd name="T13" fmla="*/ 2147483647 h 106"/>
              <a:gd name="T14" fmla="*/ 2147483647 w 140"/>
              <a:gd name="T15" fmla="*/ 2147483647 h 106"/>
              <a:gd name="T16" fmla="*/ 2147483647 w 140"/>
              <a:gd name="T17" fmla="*/ 2147483647 h 106"/>
              <a:gd name="T18" fmla="*/ 2147483647 w 140"/>
              <a:gd name="T19" fmla="*/ 2147483647 h 106"/>
              <a:gd name="T20" fmla="*/ 2147483647 w 140"/>
              <a:gd name="T21" fmla="*/ 2147483647 h 106"/>
              <a:gd name="T22" fmla="*/ 2147483647 w 140"/>
              <a:gd name="T23" fmla="*/ 2147483647 h 106"/>
              <a:gd name="T24" fmla="*/ 2147483647 w 140"/>
              <a:gd name="T25" fmla="*/ 2147483647 h 106"/>
              <a:gd name="T26" fmla="*/ 2147483647 w 140"/>
              <a:gd name="T27" fmla="*/ 2147483647 h 106"/>
              <a:gd name="T28" fmla="*/ 2147483647 w 140"/>
              <a:gd name="T29" fmla="*/ 2147483647 h 106"/>
              <a:gd name="T30" fmla="*/ 2147483647 w 140"/>
              <a:gd name="T31" fmla="*/ 2147483647 h 106"/>
              <a:gd name="T32" fmla="*/ 2147483647 w 140"/>
              <a:gd name="T33" fmla="*/ 0 h 106"/>
              <a:gd name="T34" fmla="*/ 0 w 140"/>
              <a:gd name="T35" fmla="*/ 2147483647 h 10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40"/>
              <a:gd name="T55" fmla="*/ 0 h 106"/>
              <a:gd name="T56" fmla="*/ 140 w 140"/>
              <a:gd name="T57" fmla="*/ 106 h 10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40" h="106">
                <a:moveTo>
                  <a:pt x="0" y="7"/>
                </a:moveTo>
                <a:lnTo>
                  <a:pt x="0" y="23"/>
                </a:lnTo>
                <a:lnTo>
                  <a:pt x="24" y="31"/>
                </a:lnTo>
                <a:lnTo>
                  <a:pt x="18" y="56"/>
                </a:lnTo>
                <a:lnTo>
                  <a:pt x="24" y="72"/>
                </a:lnTo>
                <a:lnTo>
                  <a:pt x="65" y="81"/>
                </a:lnTo>
                <a:lnTo>
                  <a:pt x="83" y="105"/>
                </a:lnTo>
                <a:lnTo>
                  <a:pt x="98" y="88"/>
                </a:lnTo>
                <a:lnTo>
                  <a:pt x="131" y="88"/>
                </a:lnTo>
                <a:lnTo>
                  <a:pt x="139" y="72"/>
                </a:lnTo>
                <a:lnTo>
                  <a:pt x="131" y="56"/>
                </a:lnTo>
                <a:lnTo>
                  <a:pt x="106" y="31"/>
                </a:lnTo>
                <a:lnTo>
                  <a:pt x="98" y="81"/>
                </a:lnTo>
                <a:lnTo>
                  <a:pt x="83" y="81"/>
                </a:lnTo>
                <a:lnTo>
                  <a:pt x="83" y="31"/>
                </a:lnTo>
                <a:lnTo>
                  <a:pt x="65" y="7"/>
                </a:lnTo>
                <a:lnTo>
                  <a:pt x="9" y="0"/>
                </a:lnTo>
                <a:lnTo>
                  <a:pt x="0" y="7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54" name="Freeform 217"/>
          <p:cNvSpPr>
            <a:spLocks/>
          </p:cNvSpPr>
          <p:nvPr>
            <p:custDataLst>
              <p:tags r:id="rId165"/>
            </p:custDataLst>
          </p:nvPr>
        </p:nvSpPr>
        <p:spPr bwMode="gray">
          <a:xfrm>
            <a:off x="2343150" y="2566988"/>
            <a:ext cx="92075" cy="53975"/>
          </a:xfrm>
          <a:custGeom>
            <a:avLst/>
            <a:gdLst>
              <a:gd name="T0" fmla="*/ 0 w 58"/>
              <a:gd name="T1" fmla="*/ 2147483647 h 33"/>
              <a:gd name="T2" fmla="*/ 2147483647 w 58"/>
              <a:gd name="T3" fmla="*/ 2147483647 h 33"/>
              <a:gd name="T4" fmla="*/ 2147483647 w 58"/>
              <a:gd name="T5" fmla="*/ 2147483647 h 33"/>
              <a:gd name="T6" fmla="*/ 2147483647 w 58"/>
              <a:gd name="T7" fmla="*/ 0 h 33"/>
              <a:gd name="T8" fmla="*/ 2147483647 w 58"/>
              <a:gd name="T9" fmla="*/ 0 h 33"/>
              <a:gd name="T10" fmla="*/ 0 w 58"/>
              <a:gd name="T11" fmla="*/ 2147483647 h 3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8"/>
              <a:gd name="T19" fmla="*/ 0 h 33"/>
              <a:gd name="T20" fmla="*/ 58 w 58"/>
              <a:gd name="T21" fmla="*/ 33 h 3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8" h="33">
                <a:moveTo>
                  <a:pt x="0" y="9"/>
                </a:moveTo>
                <a:lnTo>
                  <a:pt x="48" y="32"/>
                </a:lnTo>
                <a:lnTo>
                  <a:pt x="57" y="17"/>
                </a:lnTo>
                <a:lnTo>
                  <a:pt x="57" y="0"/>
                </a:lnTo>
                <a:lnTo>
                  <a:pt x="23" y="0"/>
                </a:lnTo>
                <a:lnTo>
                  <a:pt x="0" y="9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55" name="Freeform 218"/>
          <p:cNvSpPr>
            <a:spLocks/>
          </p:cNvSpPr>
          <p:nvPr>
            <p:custDataLst>
              <p:tags r:id="rId166"/>
            </p:custDataLst>
          </p:nvPr>
        </p:nvSpPr>
        <p:spPr bwMode="gray">
          <a:xfrm>
            <a:off x="2165350" y="2581275"/>
            <a:ext cx="41275" cy="66675"/>
          </a:xfrm>
          <a:custGeom>
            <a:avLst/>
            <a:gdLst>
              <a:gd name="T0" fmla="*/ 0 w 26"/>
              <a:gd name="T1" fmla="*/ 0 h 42"/>
              <a:gd name="T2" fmla="*/ 0 w 26"/>
              <a:gd name="T3" fmla="*/ 2147483647 h 42"/>
              <a:gd name="T4" fmla="*/ 2147483647 w 26"/>
              <a:gd name="T5" fmla="*/ 2147483647 h 42"/>
              <a:gd name="T6" fmla="*/ 2147483647 w 26"/>
              <a:gd name="T7" fmla="*/ 0 h 42"/>
              <a:gd name="T8" fmla="*/ 0 w 26"/>
              <a:gd name="T9" fmla="*/ 0 h 4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6"/>
              <a:gd name="T16" fmla="*/ 0 h 42"/>
              <a:gd name="T17" fmla="*/ 26 w 26"/>
              <a:gd name="T18" fmla="*/ 42 h 4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6" h="42">
                <a:moveTo>
                  <a:pt x="0" y="0"/>
                </a:moveTo>
                <a:lnTo>
                  <a:pt x="0" y="33"/>
                </a:lnTo>
                <a:lnTo>
                  <a:pt x="25" y="41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56" name="Freeform 219"/>
          <p:cNvSpPr>
            <a:spLocks/>
          </p:cNvSpPr>
          <p:nvPr>
            <p:custDataLst>
              <p:tags r:id="rId167"/>
            </p:custDataLst>
          </p:nvPr>
        </p:nvSpPr>
        <p:spPr bwMode="gray">
          <a:xfrm>
            <a:off x="2179638" y="2671763"/>
            <a:ext cx="139700" cy="139700"/>
          </a:xfrm>
          <a:custGeom>
            <a:avLst/>
            <a:gdLst>
              <a:gd name="T0" fmla="*/ 0 w 89"/>
              <a:gd name="T1" fmla="*/ 2147483647 h 89"/>
              <a:gd name="T2" fmla="*/ 2147483647 w 89"/>
              <a:gd name="T3" fmla="*/ 2147483647 h 89"/>
              <a:gd name="T4" fmla="*/ 2147483647 w 89"/>
              <a:gd name="T5" fmla="*/ 2147483647 h 89"/>
              <a:gd name="T6" fmla="*/ 2147483647 w 89"/>
              <a:gd name="T7" fmla="*/ 2147483647 h 89"/>
              <a:gd name="T8" fmla="*/ 2147483647 w 89"/>
              <a:gd name="T9" fmla="*/ 2147483647 h 89"/>
              <a:gd name="T10" fmla="*/ 2147483647 w 89"/>
              <a:gd name="T11" fmla="*/ 2147483647 h 89"/>
              <a:gd name="T12" fmla="*/ 2147483647 w 89"/>
              <a:gd name="T13" fmla="*/ 2147483647 h 89"/>
              <a:gd name="T14" fmla="*/ 2147483647 w 89"/>
              <a:gd name="T15" fmla="*/ 0 h 89"/>
              <a:gd name="T16" fmla="*/ 2147483647 w 89"/>
              <a:gd name="T17" fmla="*/ 0 h 89"/>
              <a:gd name="T18" fmla="*/ 2147483647 w 89"/>
              <a:gd name="T19" fmla="*/ 2147483647 h 89"/>
              <a:gd name="T20" fmla="*/ 2147483647 w 89"/>
              <a:gd name="T21" fmla="*/ 2147483647 h 89"/>
              <a:gd name="T22" fmla="*/ 0 w 89"/>
              <a:gd name="T23" fmla="*/ 2147483647 h 8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89"/>
              <a:gd name="T37" fmla="*/ 0 h 89"/>
              <a:gd name="T38" fmla="*/ 89 w 89"/>
              <a:gd name="T39" fmla="*/ 89 h 8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89" h="89">
                <a:moveTo>
                  <a:pt x="0" y="7"/>
                </a:moveTo>
                <a:lnTo>
                  <a:pt x="24" y="71"/>
                </a:lnTo>
                <a:lnTo>
                  <a:pt x="40" y="56"/>
                </a:lnTo>
                <a:lnTo>
                  <a:pt x="56" y="88"/>
                </a:lnTo>
                <a:lnTo>
                  <a:pt x="80" y="88"/>
                </a:lnTo>
                <a:lnTo>
                  <a:pt x="88" y="65"/>
                </a:lnTo>
                <a:lnTo>
                  <a:pt x="88" y="16"/>
                </a:lnTo>
                <a:lnTo>
                  <a:pt x="71" y="0"/>
                </a:lnTo>
                <a:lnTo>
                  <a:pt x="47" y="0"/>
                </a:lnTo>
                <a:lnTo>
                  <a:pt x="40" y="40"/>
                </a:lnTo>
                <a:lnTo>
                  <a:pt x="16" y="7"/>
                </a:lnTo>
                <a:lnTo>
                  <a:pt x="0" y="7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57" name="Freeform 220"/>
          <p:cNvSpPr>
            <a:spLocks/>
          </p:cNvSpPr>
          <p:nvPr>
            <p:custDataLst>
              <p:tags r:id="rId168"/>
            </p:custDataLst>
          </p:nvPr>
        </p:nvSpPr>
        <p:spPr bwMode="gray">
          <a:xfrm>
            <a:off x="1998663" y="2490788"/>
            <a:ext cx="104775" cy="41275"/>
          </a:xfrm>
          <a:custGeom>
            <a:avLst/>
            <a:gdLst>
              <a:gd name="T0" fmla="*/ 0 w 67"/>
              <a:gd name="T1" fmla="*/ 2147483647 h 26"/>
              <a:gd name="T2" fmla="*/ 2147483647 w 67"/>
              <a:gd name="T3" fmla="*/ 2147483647 h 26"/>
              <a:gd name="T4" fmla="*/ 2147483647 w 67"/>
              <a:gd name="T5" fmla="*/ 2147483647 h 26"/>
              <a:gd name="T6" fmla="*/ 2147483647 w 67"/>
              <a:gd name="T7" fmla="*/ 0 h 26"/>
              <a:gd name="T8" fmla="*/ 2147483647 w 67"/>
              <a:gd name="T9" fmla="*/ 2147483647 h 26"/>
              <a:gd name="T10" fmla="*/ 0 w 67"/>
              <a:gd name="T11" fmla="*/ 2147483647 h 2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"/>
              <a:gd name="T19" fmla="*/ 0 h 26"/>
              <a:gd name="T20" fmla="*/ 67 w 67"/>
              <a:gd name="T21" fmla="*/ 26 h 2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" h="26">
                <a:moveTo>
                  <a:pt x="0" y="25"/>
                </a:moveTo>
                <a:lnTo>
                  <a:pt x="56" y="25"/>
                </a:lnTo>
                <a:lnTo>
                  <a:pt x="66" y="16"/>
                </a:lnTo>
                <a:lnTo>
                  <a:pt x="41" y="0"/>
                </a:lnTo>
                <a:lnTo>
                  <a:pt x="9" y="9"/>
                </a:lnTo>
                <a:lnTo>
                  <a:pt x="0" y="25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58" name="Freeform 221"/>
          <p:cNvSpPr>
            <a:spLocks/>
          </p:cNvSpPr>
          <p:nvPr>
            <p:custDataLst>
              <p:tags r:id="rId169"/>
            </p:custDataLst>
          </p:nvPr>
        </p:nvSpPr>
        <p:spPr bwMode="gray">
          <a:xfrm>
            <a:off x="1960563" y="2544763"/>
            <a:ext cx="39687" cy="38100"/>
          </a:xfrm>
          <a:custGeom>
            <a:avLst/>
            <a:gdLst>
              <a:gd name="T0" fmla="*/ 0 w 25"/>
              <a:gd name="T1" fmla="*/ 2147483647 h 25"/>
              <a:gd name="T2" fmla="*/ 2147483647 w 25"/>
              <a:gd name="T3" fmla="*/ 2147483647 h 25"/>
              <a:gd name="T4" fmla="*/ 2147483647 w 25"/>
              <a:gd name="T5" fmla="*/ 2147483647 h 25"/>
              <a:gd name="T6" fmla="*/ 2147483647 w 25"/>
              <a:gd name="T7" fmla="*/ 0 h 25"/>
              <a:gd name="T8" fmla="*/ 0 w 25"/>
              <a:gd name="T9" fmla="*/ 2147483647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5"/>
              <a:gd name="T16" fmla="*/ 0 h 25"/>
              <a:gd name="T17" fmla="*/ 25 w 25"/>
              <a:gd name="T18" fmla="*/ 25 h 2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5" h="25">
                <a:moveTo>
                  <a:pt x="0" y="7"/>
                </a:moveTo>
                <a:lnTo>
                  <a:pt x="8" y="24"/>
                </a:lnTo>
                <a:lnTo>
                  <a:pt x="24" y="24"/>
                </a:lnTo>
                <a:lnTo>
                  <a:pt x="16" y="0"/>
                </a:lnTo>
                <a:lnTo>
                  <a:pt x="0" y="7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59" name="Freeform 222"/>
          <p:cNvSpPr>
            <a:spLocks/>
          </p:cNvSpPr>
          <p:nvPr>
            <p:custDataLst>
              <p:tags r:id="rId170"/>
            </p:custDataLst>
          </p:nvPr>
        </p:nvSpPr>
        <p:spPr bwMode="gray">
          <a:xfrm>
            <a:off x="1998663" y="2555875"/>
            <a:ext cx="79375" cy="65088"/>
          </a:xfrm>
          <a:custGeom>
            <a:avLst/>
            <a:gdLst>
              <a:gd name="T0" fmla="*/ 0 w 50"/>
              <a:gd name="T1" fmla="*/ 2147483647 h 41"/>
              <a:gd name="T2" fmla="*/ 2147483647 w 50"/>
              <a:gd name="T3" fmla="*/ 2147483647 h 41"/>
              <a:gd name="T4" fmla="*/ 2147483647 w 50"/>
              <a:gd name="T5" fmla="*/ 2147483647 h 41"/>
              <a:gd name="T6" fmla="*/ 2147483647 w 50"/>
              <a:gd name="T7" fmla="*/ 2147483647 h 41"/>
              <a:gd name="T8" fmla="*/ 2147483647 w 50"/>
              <a:gd name="T9" fmla="*/ 0 h 41"/>
              <a:gd name="T10" fmla="*/ 0 w 50"/>
              <a:gd name="T11" fmla="*/ 2147483647 h 4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0"/>
              <a:gd name="T19" fmla="*/ 0 h 41"/>
              <a:gd name="T20" fmla="*/ 50 w 50"/>
              <a:gd name="T21" fmla="*/ 41 h 4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0" h="41">
                <a:moveTo>
                  <a:pt x="0" y="17"/>
                </a:moveTo>
                <a:lnTo>
                  <a:pt x="9" y="33"/>
                </a:lnTo>
                <a:lnTo>
                  <a:pt x="24" y="40"/>
                </a:lnTo>
                <a:lnTo>
                  <a:pt x="49" y="25"/>
                </a:lnTo>
                <a:lnTo>
                  <a:pt x="49" y="0"/>
                </a:lnTo>
                <a:lnTo>
                  <a:pt x="0" y="17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60" name="Freeform 223"/>
          <p:cNvSpPr>
            <a:spLocks/>
          </p:cNvSpPr>
          <p:nvPr>
            <p:custDataLst>
              <p:tags r:id="rId171"/>
            </p:custDataLst>
          </p:nvPr>
        </p:nvSpPr>
        <p:spPr bwMode="gray">
          <a:xfrm>
            <a:off x="1793875" y="2595563"/>
            <a:ext cx="168275" cy="152400"/>
          </a:xfrm>
          <a:custGeom>
            <a:avLst/>
            <a:gdLst>
              <a:gd name="T0" fmla="*/ 0 w 107"/>
              <a:gd name="T1" fmla="*/ 2147483647 h 97"/>
              <a:gd name="T2" fmla="*/ 2147483647 w 107"/>
              <a:gd name="T3" fmla="*/ 2147483647 h 97"/>
              <a:gd name="T4" fmla="*/ 2147483647 w 107"/>
              <a:gd name="T5" fmla="*/ 2147483647 h 97"/>
              <a:gd name="T6" fmla="*/ 2147483647 w 107"/>
              <a:gd name="T7" fmla="*/ 2147483647 h 97"/>
              <a:gd name="T8" fmla="*/ 2147483647 w 107"/>
              <a:gd name="T9" fmla="*/ 2147483647 h 97"/>
              <a:gd name="T10" fmla="*/ 2147483647 w 107"/>
              <a:gd name="T11" fmla="*/ 2147483647 h 97"/>
              <a:gd name="T12" fmla="*/ 2147483647 w 107"/>
              <a:gd name="T13" fmla="*/ 2147483647 h 97"/>
              <a:gd name="T14" fmla="*/ 2147483647 w 107"/>
              <a:gd name="T15" fmla="*/ 2147483647 h 97"/>
              <a:gd name="T16" fmla="*/ 2147483647 w 107"/>
              <a:gd name="T17" fmla="*/ 0 h 97"/>
              <a:gd name="T18" fmla="*/ 2147483647 w 107"/>
              <a:gd name="T19" fmla="*/ 2147483647 h 97"/>
              <a:gd name="T20" fmla="*/ 2147483647 w 107"/>
              <a:gd name="T21" fmla="*/ 2147483647 h 97"/>
              <a:gd name="T22" fmla="*/ 0 w 107"/>
              <a:gd name="T23" fmla="*/ 2147483647 h 9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07"/>
              <a:gd name="T37" fmla="*/ 0 h 97"/>
              <a:gd name="T38" fmla="*/ 107 w 107"/>
              <a:gd name="T39" fmla="*/ 97 h 97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07" h="97">
                <a:moveTo>
                  <a:pt x="0" y="73"/>
                </a:moveTo>
                <a:lnTo>
                  <a:pt x="9" y="96"/>
                </a:lnTo>
                <a:lnTo>
                  <a:pt x="40" y="96"/>
                </a:lnTo>
                <a:lnTo>
                  <a:pt x="65" y="65"/>
                </a:lnTo>
                <a:lnTo>
                  <a:pt x="81" y="73"/>
                </a:lnTo>
                <a:lnTo>
                  <a:pt x="99" y="49"/>
                </a:lnTo>
                <a:lnTo>
                  <a:pt x="99" y="33"/>
                </a:lnTo>
                <a:lnTo>
                  <a:pt x="106" y="15"/>
                </a:lnTo>
                <a:lnTo>
                  <a:pt x="90" y="0"/>
                </a:lnTo>
                <a:lnTo>
                  <a:pt x="81" y="15"/>
                </a:lnTo>
                <a:lnTo>
                  <a:pt x="58" y="15"/>
                </a:lnTo>
                <a:lnTo>
                  <a:pt x="0" y="73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61" name="Freeform 224"/>
          <p:cNvSpPr>
            <a:spLocks/>
          </p:cNvSpPr>
          <p:nvPr>
            <p:custDataLst>
              <p:tags r:id="rId172"/>
            </p:custDataLst>
          </p:nvPr>
        </p:nvSpPr>
        <p:spPr bwMode="gray">
          <a:xfrm>
            <a:off x="1920875" y="2671763"/>
            <a:ext cx="246063" cy="190500"/>
          </a:xfrm>
          <a:custGeom>
            <a:avLst/>
            <a:gdLst>
              <a:gd name="T0" fmla="*/ 0 w 156"/>
              <a:gd name="T1" fmla="*/ 2147483647 h 122"/>
              <a:gd name="T2" fmla="*/ 2147483647 w 156"/>
              <a:gd name="T3" fmla="*/ 2147483647 h 122"/>
              <a:gd name="T4" fmla="*/ 2147483647 w 156"/>
              <a:gd name="T5" fmla="*/ 2147483647 h 122"/>
              <a:gd name="T6" fmla="*/ 2147483647 w 156"/>
              <a:gd name="T7" fmla="*/ 2147483647 h 122"/>
              <a:gd name="T8" fmla="*/ 2147483647 w 156"/>
              <a:gd name="T9" fmla="*/ 2147483647 h 122"/>
              <a:gd name="T10" fmla="*/ 2147483647 w 156"/>
              <a:gd name="T11" fmla="*/ 2147483647 h 122"/>
              <a:gd name="T12" fmla="*/ 2147483647 w 156"/>
              <a:gd name="T13" fmla="*/ 2147483647 h 122"/>
              <a:gd name="T14" fmla="*/ 2147483647 w 156"/>
              <a:gd name="T15" fmla="*/ 2147483647 h 122"/>
              <a:gd name="T16" fmla="*/ 2147483647 w 156"/>
              <a:gd name="T17" fmla="*/ 2147483647 h 122"/>
              <a:gd name="T18" fmla="*/ 2147483647 w 156"/>
              <a:gd name="T19" fmla="*/ 2147483647 h 122"/>
              <a:gd name="T20" fmla="*/ 2147483647 w 156"/>
              <a:gd name="T21" fmla="*/ 2147483647 h 122"/>
              <a:gd name="T22" fmla="*/ 2147483647 w 156"/>
              <a:gd name="T23" fmla="*/ 0 h 122"/>
              <a:gd name="T24" fmla="*/ 2147483647 w 156"/>
              <a:gd name="T25" fmla="*/ 2147483647 h 122"/>
              <a:gd name="T26" fmla="*/ 2147483647 w 156"/>
              <a:gd name="T27" fmla="*/ 2147483647 h 122"/>
              <a:gd name="T28" fmla="*/ 2147483647 w 156"/>
              <a:gd name="T29" fmla="*/ 2147483647 h 122"/>
              <a:gd name="T30" fmla="*/ 2147483647 w 156"/>
              <a:gd name="T31" fmla="*/ 2147483647 h 122"/>
              <a:gd name="T32" fmla="*/ 2147483647 w 156"/>
              <a:gd name="T33" fmla="*/ 2147483647 h 122"/>
              <a:gd name="T34" fmla="*/ 2147483647 w 156"/>
              <a:gd name="T35" fmla="*/ 2147483647 h 122"/>
              <a:gd name="T36" fmla="*/ 2147483647 w 156"/>
              <a:gd name="T37" fmla="*/ 2147483647 h 122"/>
              <a:gd name="T38" fmla="*/ 0 w 156"/>
              <a:gd name="T39" fmla="*/ 2147483647 h 122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56"/>
              <a:gd name="T61" fmla="*/ 0 h 122"/>
              <a:gd name="T62" fmla="*/ 156 w 156"/>
              <a:gd name="T63" fmla="*/ 122 h 122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56" h="122">
                <a:moveTo>
                  <a:pt x="0" y="81"/>
                </a:moveTo>
                <a:lnTo>
                  <a:pt x="33" y="88"/>
                </a:lnTo>
                <a:lnTo>
                  <a:pt x="41" y="81"/>
                </a:lnTo>
                <a:lnTo>
                  <a:pt x="58" y="96"/>
                </a:lnTo>
                <a:lnTo>
                  <a:pt x="41" y="105"/>
                </a:lnTo>
                <a:lnTo>
                  <a:pt x="49" y="113"/>
                </a:lnTo>
                <a:lnTo>
                  <a:pt x="65" y="121"/>
                </a:lnTo>
                <a:lnTo>
                  <a:pt x="105" y="88"/>
                </a:lnTo>
                <a:lnTo>
                  <a:pt x="146" y="88"/>
                </a:lnTo>
                <a:lnTo>
                  <a:pt x="155" y="47"/>
                </a:lnTo>
                <a:lnTo>
                  <a:pt x="115" y="24"/>
                </a:lnTo>
                <a:lnTo>
                  <a:pt x="105" y="0"/>
                </a:lnTo>
                <a:lnTo>
                  <a:pt x="90" y="24"/>
                </a:lnTo>
                <a:lnTo>
                  <a:pt x="98" y="31"/>
                </a:lnTo>
                <a:lnTo>
                  <a:pt x="98" y="47"/>
                </a:lnTo>
                <a:lnTo>
                  <a:pt x="105" y="65"/>
                </a:lnTo>
                <a:lnTo>
                  <a:pt x="81" y="65"/>
                </a:lnTo>
                <a:lnTo>
                  <a:pt x="65" y="31"/>
                </a:lnTo>
                <a:lnTo>
                  <a:pt x="25" y="16"/>
                </a:lnTo>
                <a:lnTo>
                  <a:pt x="0" y="81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62" name="Freeform 225"/>
          <p:cNvSpPr>
            <a:spLocks/>
          </p:cNvSpPr>
          <p:nvPr>
            <p:custDataLst>
              <p:tags r:id="rId173"/>
            </p:custDataLst>
          </p:nvPr>
        </p:nvSpPr>
        <p:spPr bwMode="gray">
          <a:xfrm>
            <a:off x="2216150" y="2871788"/>
            <a:ext cx="142875" cy="193675"/>
          </a:xfrm>
          <a:custGeom>
            <a:avLst/>
            <a:gdLst>
              <a:gd name="T0" fmla="*/ 0 w 90"/>
              <a:gd name="T1" fmla="*/ 2147483647 h 123"/>
              <a:gd name="T2" fmla="*/ 2147483647 w 90"/>
              <a:gd name="T3" fmla="*/ 2147483647 h 123"/>
              <a:gd name="T4" fmla="*/ 2147483647 w 90"/>
              <a:gd name="T5" fmla="*/ 2147483647 h 123"/>
              <a:gd name="T6" fmla="*/ 2147483647 w 90"/>
              <a:gd name="T7" fmla="*/ 2147483647 h 123"/>
              <a:gd name="T8" fmla="*/ 2147483647 w 90"/>
              <a:gd name="T9" fmla="*/ 2147483647 h 123"/>
              <a:gd name="T10" fmla="*/ 2147483647 w 90"/>
              <a:gd name="T11" fmla="*/ 2147483647 h 123"/>
              <a:gd name="T12" fmla="*/ 2147483647 w 90"/>
              <a:gd name="T13" fmla="*/ 2147483647 h 123"/>
              <a:gd name="T14" fmla="*/ 2147483647 w 90"/>
              <a:gd name="T15" fmla="*/ 2147483647 h 123"/>
              <a:gd name="T16" fmla="*/ 2147483647 w 90"/>
              <a:gd name="T17" fmla="*/ 2147483647 h 123"/>
              <a:gd name="T18" fmla="*/ 2147483647 w 90"/>
              <a:gd name="T19" fmla="*/ 2147483647 h 123"/>
              <a:gd name="T20" fmla="*/ 2147483647 w 90"/>
              <a:gd name="T21" fmla="*/ 0 h 123"/>
              <a:gd name="T22" fmla="*/ 2147483647 w 90"/>
              <a:gd name="T23" fmla="*/ 2147483647 h 123"/>
              <a:gd name="T24" fmla="*/ 2147483647 w 90"/>
              <a:gd name="T25" fmla="*/ 2147483647 h 123"/>
              <a:gd name="T26" fmla="*/ 2147483647 w 90"/>
              <a:gd name="T27" fmla="*/ 2147483647 h 123"/>
              <a:gd name="T28" fmla="*/ 2147483647 w 90"/>
              <a:gd name="T29" fmla="*/ 2147483647 h 123"/>
              <a:gd name="T30" fmla="*/ 2147483647 w 90"/>
              <a:gd name="T31" fmla="*/ 2147483647 h 123"/>
              <a:gd name="T32" fmla="*/ 2147483647 w 90"/>
              <a:gd name="T33" fmla="*/ 2147483647 h 123"/>
              <a:gd name="T34" fmla="*/ 0 w 90"/>
              <a:gd name="T35" fmla="*/ 2147483647 h 12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90"/>
              <a:gd name="T55" fmla="*/ 0 h 123"/>
              <a:gd name="T56" fmla="*/ 90 w 90"/>
              <a:gd name="T57" fmla="*/ 123 h 123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90" h="123">
                <a:moveTo>
                  <a:pt x="0" y="58"/>
                </a:moveTo>
                <a:lnTo>
                  <a:pt x="16" y="90"/>
                </a:lnTo>
                <a:lnTo>
                  <a:pt x="23" y="90"/>
                </a:lnTo>
                <a:lnTo>
                  <a:pt x="47" y="122"/>
                </a:lnTo>
                <a:lnTo>
                  <a:pt x="64" y="114"/>
                </a:lnTo>
                <a:lnTo>
                  <a:pt x="81" y="105"/>
                </a:lnTo>
                <a:lnTo>
                  <a:pt x="89" y="81"/>
                </a:lnTo>
                <a:lnTo>
                  <a:pt x="81" y="58"/>
                </a:lnTo>
                <a:lnTo>
                  <a:pt x="64" y="50"/>
                </a:lnTo>
                <a:lnTo>
                  <a:pt x="72" y="25"/>
                </a:lnTo>
                <a:lnTo>
                  <a:pt x="64" y="0"/>
                </a:lnTo>
                <a:lnTo>
                  <a:pt x="56" y="16"/>
                </a:lnTo>
                <a:lnTo>
                  <a:pt x="32" y="9"/>
                </a:lnTo>
                <a:lnTo>
                  <a:pt x="23" y="16"/>
                </a:lnTo>
                <a:lnTo>
                  <a:pt x="16" y="33"/>
                </a:lnTo>
                <a:lnTo>
                  <a:pt x="32" y="50"/>
                </a:lnTo>
                <a:lnTo>
                  <a:pt x="16" y="50"/>
                </a:lnTo>
                <a:lnTo>
                  <a:pt x="0" y="58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63" name="Freeform 226"/>
          <p:cNvSpPr>
            <a:spLocks/>
          </p:cNvSpPr>
          <p:nvPr>
            <p:custDataLst>
              <p:tags r:id="rId174"/>
            </p:custDataLst>
          </p:nvPr>
        </p:nvSpPr>
        <p:spPr bwMode="gray">
          <a:xfrm>
            <a:off x="1768475" y="2847975"/>
            <a:ext cx="206375" cy="230188"/>
          </a:xfrm>
          <a:custGeom>
            <a:avLst/>
            <a:gdLst>
              <a:gd name="T0" fmla="*/ 0 w 131"/>
              <a:gd name="T1" fmla="*/ 2147483647 h 146"/>
              <a:gd name="T2" fmla="*/ 2147483647 w 131"/>
              <a:gd name="T3" fmla="*/ 2147483647 h 146"/>
              <a:gd name="T4" fmla="*/ 2147483647 w 131"/>
              <a:gd name="T5" fmla="*/ 2147483647 h 146"/>
              <a:gd name="T6" fmla="*/ 2147483647 w 131"/>
              <a:gd name="T7" fmla="*/ 2147483647 h 146"/>
              <a:gd name="T8" fmla="*/ 2147483647 w 131"/>
              <a:gd name="T9" fmla="*/ 2147483647 h 146"/>
              <a:gd name="T10" fmla="*/ 2147483647 w 131"/>
              <a:gd name="T11" fmla="*/ 2147483647 h 146"/>
              <a:gd name="T12" fmla="*/ 2147483647 w 131"/>
              <a:gd name="T13" fmla="*/ 2147483647 h 146"/>
              <a:gd name="T14" fmla="*/ 2147483647 w 131"/>
              <a:gd name="T15" fmla="*/ 2147483647 h 146"/>
              <a:gd name="T16" fmla="*/ 2147483647 w 131"/>
              <a:gd name="T17" fmla="*/ 2147483647 h 146"/>
              <a:gd name="T18" fmla="*/ 2147483647 w 131"/>
              <a:gd name="T19" fmla="*/ 2147483647 h 146"/>
              <a:gd name="T20" fmla="*/ 2147483647 w 131"/>
              <a:gd name="T21" fmla="*/ 0 h 146"/>
              <a:gd name="T22" fmla="*/ 2147483647 w 131"/>
              <a:gd name="T23" fmla="*/ 2147483647 h 146"/>
              <a:gd name="T24" fmla="*/ 2147483647 w 131"/>
              <a:gd name="T25" fmla="*/ 2147483647 h 146"/>
              <a:gd name="T26" fmla="*/ 2147483647 w 131"/>
              <a:gd name="T27" fmla="*/ 2147483647 h 146"/>
              <a:gd name="T28" fmla="*/ 0 w 131"/>
              <a:gd name="T29" fmla="*/ 2147483647 h 14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31"/>
              <a:gd name="T46" fmla="*/ 0 h 146"/>
              <a:gd name="T47" fmla="*/ 131 w 131"/>
              <a:gd name="T48" fmla="*/ 146 h 14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31" h="146">
                <a:moveTo>
                  <a:pt x="0" y="105"/>
                </a:moveTo>
                <a:lnTo>
                  <a:pt x="16" y="129"/>
                </a:lnTo>
                <a:lnTo>
                  <a:pt x="25" y="145"/>
                </a:lnTo>
                <a:lnTo>
                  <a:pt x="56" y="137"/>
                </a:lnTo>
                <a:lnTo>
                  <a:pt x="74" y="114"/>
                </a:lnTo>
                <a:lnTo>
                  <a:pt x="74" y="89"/>
                </a:lnTo>
                <a:lnTo>
                  <a:pt x="130" y="48"/>
                </a:lnTo>
                <a:lnTo>
                  <a:pt x="115" y="31"/>
                </a:lnTo>
                <a:lnTo>
                  <a:pt x="97" y="15"/>
                </a:lnTo>
                <a:lnTo>
                  <a:pt x="74" y="15"/>
                </a:lnTo>
                <a:lnTo>
                  <a:pt x="50" y="0"/>
                </a:lnTo>
                <a:lnTo>
                  <a:pt x="9" y="24"/>
                </a:lnTo>
                <a:lnTo>
                  <a:pt x="16" y="48"/>
                </a:lnTo>
                <a:lnTo>
                  <a:pt x="16" y="73"/>
                </a:lnTo>
                <a:lnTo>
                  <a:pt x="0" y="105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64" name="Freeform 227"/>
          <p:cNvSpPr>
            <a:spLocks/>
          </p:cNvSpPr>
          <p:nvPr>
            <p:custDataLst>
              <p:tags r:id="rId175"/>
            </p:custDataLst>
          </p:nvPr>
        </p:nvSpPr>
        <p:spPr bwMode="gray">
          <a:xfrm>
            <a:off x="8078788" y="3471863"/>
            <a:ext cx="39687" cy="26987"/>
          </a:xfrm>
          <a:custGeom>
            <a:avLst/>
            <a:gdLst>
              <a:gd name="T0" fmla="*/ 0 w 26"/>
              <a:gd name="T1" fmla="*/ 0 h 18"/>
              <a:gd name="T2" fmla="*/ 2147483647 w 26"/>
              <a:gd name="T3" fmla="*/ 0 h 18"/>
              <a:gd name="T4" fmla="*/ 2147483647 w 26"/>
              <a:gd name="T5" fmla="*/ 2147483647 h 18"/>
              <a:gd name="T6" fmla="*/ 2147483647 w 26"/>
              <a:gd name="T7" fmla="*/ 2147483647 h 18"/>
              <a:gd name="T8" fmla="*/ 2147483647 w 26"/>
              <a:gd name="T9" fmla="*/ 2147483647 h 18"/>
              <a:gd name="T10" fmla="*/ 0 w 26"/>
              <a:gd name="T11" fmla="*/ 2147483647 h 18"/>
              <a:gd name="T12" fmla="*/ 0 w 26"/>
              <a:gd name="T13" fmla="*/ 0 h 1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6"/>
              <a:gd name="T22" fmla="*/ 0 h 18"/>
              <a:gd name="T23" fmla="*/ 26 w 26"/>
              <a:gd name="T24" fmla="*/ 18 h 1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6" h="18">
                <a:moveTo>
                  <a:pt x="0" y="0"/>
                </a:moveTo>
                <a:lnTo>
                  <a:pt x="9" y="0"/>
                </a:lnTo>
                <a:lnTo>
                  <a:pt x="25" y="8"/>
                </a:lnTo>
                <a:lnTo>
                  <a:pt x="25" y="17"/>
                </a:lnTo>
                <a:lnTo>
                  <a:pt x="9" y="8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65" name="Freeform 228"/>
          <p:cNvSpPr>
            <a:spLocks/>
          </p:cNvSpPr>
          <p:nvPr>
            <p:custDataLst>
              <p:tags r:id="rId176"/>
            </p:custDataLst>
          </p:nvPr>
        </p:nvSpPr>
        <p:spPr bwMode="gray">
          <a:xfrm>
            <a:off x="914400" y="3609975"/>
            <a:ext cx="39688" cy="28575"/>
          </a:xfrm>
          <a:custGeom>
            <a:avLst/>
            <a:gdLst>
              <a:gd name="T0" fmla="*/ 0 w 26"/>
              <a:gd name="T1" fmla="*/ 2147483647 h 18"/>
              <a:gd name="T2" fmla="*/ 2147483647 w 26"/>
              <a:gd name="T3" fmla="*/ 2147483647 h 18"/>
              <a:gd name="T4" fmla="*/ 2147483647 w 26"/>
              <a:gd name="T5" fmla="*/ 2147483647 h 18"/>
              <a:gd name="T6" fmla="*/ 2147483647 w 26"/>
              <a:gd name="T7" fmla="*/ 0 h 18"/>
              <a:gd name="T8" fmla="*/ 0 w 26"/>
              <a:gd name="T9" fmla="*/ 2147483647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6"/>
              <a:gd name="T16" fmla="*/ 0 h 18"/>
              <a:gd name="T17" fmla="*/ 26 w 26"/>
              <a:gd name="T18" fmla="*/ 18 h 1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6" h="18">
                <a:moveTo>
                  <a:pt x="0" y="8"/>
                </a:moveTo>
                <a:lnTo>
                  <a:pt x="18" y="17"/>
                </a:lnTo>
                <a:lnTo>
                  <a:pt x="25" y="8"/>
                </a:lnTo>
                <a:lnTo>
                  <a:pt x="18" y="0"/>
                </a:lnTo>
                <a:lnTo>
                  <a:pt x="0" y="8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66" name="Freeform 229"/>
          <p:cNvSpPr>
            <a:spLocks/>
          </p:cNvSpPr>
          <p:nvPr>
            <p:custDataLst>
              <p:tags r:id="rId177"/>
            </p:custDataLst>
          </p:nvPr>
        </p:nvSpPr>
        <p:spPr bwMode="gray">
          <a:xfrm>
            <a:off x="914400" y="3609975"/>
            <a:ext cx="39688" cy="28575"/>
          </a:xfrm>
          <a:custGeom>
            <a:avLst/>
            <a:gdLst>
              <a:gd name="T0" fmla="*/ 0 w 26"/>
              <a:gd name="T1" fmla="*/ 2147483647 h 18"/>
              <a:gd name="T2" fmla="*/ 2147483647 w 26"/>
              <a:gd name="T3" fmla="*/ 2147483647 h 18"/>
              <a:gd name="T4" fmla="*/ 2147483647 w 26"/>
              <a:gd name="T5" fmla="*/ 2147483647 h 18"/>
              <a:gd name="T6" fmla="*/ 2147483647 w 26"/>
              <a:gd name="T7" fmla="*/ 0 h 18"/>
              <a:gd name="T8" fmla="*/ 0 w 26"/>
              <a:gd name="T9" fmla="*/ 2147483647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6"/>
              <a:gd name="T16" fmla="*/ 0 h 18"/>
              <a:gd name="T17" fmla="*/ 26 w 26"/>
              <a:gd name="T18" fmla="*/ 18 h 1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6" h="18">
                <a:moveTo>
                  <a:pt x="0" y="8"/>
                </a:moveTo>
                <a:lnTo>
                  <a:pt x="18" y="17"/>
                </a:lnTo>
                <a:lnTo>
                  <a:pt x="25" y="8"/>
                </a:lnTo>
                <a:lnTo>
                  <a:pt x="18" y="0"/>
                </a:lnTo>
                <a:lnTo>
                  <a:pt x="0" y="8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67" name="Freeform 230"/>
          <p:cNvSpPr>
            <a:spLocks/>
          </p:cNvSpPr>
          <p:nvPr>
            <p:custDataLst>
              <p:tags r:id="rId178"/>
            </p:custDataLst>
          </p:nvPr>
        </p:nvSpPr>
        <p:spPr bwMode="gray">
          <a:xfrm>
            <a:off x="1169988" y="3687763"/>
            <a:ext cx="65087" cy="65087"/>
          </a:xfrm>
          <a:custGeom>
            <a:avLst/>
            <a:gdLst>
              <a:gd name="T0" fmla="*/ 0 w 41"/>
              <a:gd name="T1" fmla="*/ 2147483647 h 43"/>
              <a:gd name="T2" fmla="*/ 2147483647 w 41"/>
              <a:gd name="T3" fmla="*/ 2147483647 h 43"/>
              <a:gd name="T4" fmla="*/ 2147483647 w 41"/>
              <a:gd name="T5" fmla="*/ 2147483647 h 43"/>
              <a:gd name="T6" fmla="*/ 2147483647 w 41"/>
              <a:gd name="T7" fmla="*/ 2147483647 h 43"/>
              <a:gd name="T8" fmla="*/ 2147483647 w 41"/>
              <a:gd name="T9" fmla="*/ 2147483647 h 43"/>
              <a:gd name="T10" fmla="*/ 2147483647 w 41"/>
              <a:gd name="T11" fmla="*/ 2147483647 h 43"/>
              <a:gd name="T12" fmla="*/ 2147483647 w 41"/>
              <a:gd name="T13" fmla="*/ 2147483647 h 43"/>
              <a:gd name="T14" fmla="*/ 2147483647 w 41"/>
              <a:gd name="T15" fmla="*/ 0 h 43"/>
              <a:gd name="T16" fmla="*/ 0 w 41"/>
              <a:gd name="T17" fmla="*/ 2147483647 h 4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1"/>
              <a:gd name="T28" fmla="*/ 0 h 43"/>
              <a:gd name="T29" fmla="*/ 41 w 41"/>
              <a:gd name="T30" fmla="*/ 43 h 4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1" h="43">
                <a:moveTo>
                  <a:pt x="0" y="33"/>
                </a:moveTo>
                <a:lnTo>
                  <a:pt x="9" y="42"/>
                </a:lnTo>
                <a:lnTo>
                  <a:pt x="25" y="25"/>
                </a:lnTo>
                <a:lnTo>
                  <a:pt x="34" y="25"/>
                </a:lnTo>
                <a:lnTo>
                  <a:pt x="34" y="17"/>
                </a:lnTo>
                <a:lnTo>
                  <a:pt x="25" y="17"/>
                </a:lnTo>
                <a:lnTo>
                  <a:pt x="40" y="10"/>
                </a:lnTo>
                <a:lnTo>
                  <a:pt x="34" y="0"/>
                </a:lnTo>
                <a:lnTo>
                  <a:pt x="0" y="33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68" name="Freeform 231"/>
          <p:cNvSpPr>
            <a:spLocks/>
          </p:cNvSpPr>
          <p:nvPr>
            <p:custDataLst>
              <p:tags r:id="rId179"/>
            </p:custDataLst>
          </p:nvPr>
        </p:nvSpPr>
        <p:spPr bwMode="gray">
          <a:xfrm>
            <a:off x="1169988" y="3687763"/>
            <a:ext cx="65087" cy="65087"/>
          </a:xfrm>
          <a:custGeom>
            <a:avLst/>
            <a:gdLst>
              <a:gd name="T0" fmla="*/ 0 w 41"/>
              <a:gd name="T1" fmla="*/ 2147483647 h 43"/>
              <a:gd name="T2" fmla="*/ 2147483647 w 41"/>
              <a:gd name="T3" fmla="*/ 2147483647 h 43"/>
              <a:gd name="T4" fmla="*/ 2147483647 w 41"/>
              <a:gd name="T5" fmla="*/ 2147483647 h 43"/>
              <a:gd name="T6" fmla="*/ 2147483647 w 41"/>
              <a:gd name="T7" fmla="*/ 2147483647 h 43"/>
              <a:gd name="T8" fmla="*/ 2147483647 w 41"/>
              <a:gd name="T9" fmla="*/ 2147483647 h 43"/>
              <a:gd name="T10" fmla="*/ 2147483647 w 41"/>
              <a:gd name="T11" fmla="*/ 2147483647 h 43"/>
              <a:gd name="T12" fmla="*/ 2147483647 w 41"/>
              <a:gd name="T13" fmla="*/ 2147483647 h 43"/>
              <a:gd name="T14" fmla="*/ 2147483647 w 41"/>
              <a:gd name="T15" fmla="*/ 0 h 43"/>
              <a:gd name="T16" fmla="*/ 0 w 41"/>
              <a:gd name="T17" fmla="*/ 2147483647 h 4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1"/>
              <a:gd name="T28" fmla="*/ 0 h 43"/>
              <a:gd name="T29" fmla="*/ 41 w 41"/>
              <a:gd name="T30" fmla="*/ 43 h 4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1" h="43">
                <a:moveTo>
                  <a:pt x="0" y="33"/>
                </a:moveTo>
                <a:lnTo>
                  <a:pt x="9" y="42"/>
                </a:lnTo>
                <a:lnTo>
                  <a:pt x="25" y="25"/>
                </a:lnTo>
                <a:lnTo>
                  <a:pt x="34" y="25"/>
                </a:lnTo>
                <a:lnTo>
                  <a:pt x="34" y="17"/>
                </a:lnTo>
                <a:lnTo>
                  <a:pt x="25" y="17"/>
                </a:lnTo>
                <a:lnTo>
                  <a:pt x="40" y="10"/>
                </a:lnTo>
                <a:lnTo>
                  <a:pt x="34" y="0"/>
                </a:lnTo>
                <a:lnTo>
                  <a:pt x="0" y="33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69" name="Freeform 232"/>
          <p:cNvSpPr>
            <a:spLocks/>
          </p:cNvSpPr>
          <p:nvPr>
            <p:custDataLst>
              <p:tags r:id="rId180"/>
            </p:custDataLst>
          </p:nvPr>
        </p:nvSpPr>
        <p:spPr bwMode="gray">
          <a:xfrm>
            <a:off x="1616075" y="3838575"/>
            <a:ext cx="41275" cy="79375"/>
          </a:xfrm>
          <a:custGeom>
            <a:avLst/>
            <a:gdLst>
              <a:gd name="T0" fmla="*/ 0 w 26"/>
              <a:gd name="T1" fmla="*/ 0 h 51"/>
              <a:gd name="T2" fmla="*/ 0 w 26"/>
              <a:gd name="T3" fmla="*/ 2147483647 h 51"/>
              <a:gd name="T4" fmla="*/ 2147483647 w 26"/>
              <a:gd name="T5" fmla="*/ 2147483647 h 51"/>
              <a:gd name="T6" fmla="*/ 2147483647 w 26"/>
              <a:gd name="T7" fmla="*/ 2147483647 h 51"/>
              <a:gd name="T8" fmla="*/ 2147483647 w 26"/>
              <a:gd name="T9" fmla="*/ 2147483647 h 51"/>
              <a:gd name="T10" fmla="*/ 2147483647 w 26"/>
              <a:gd name="T11" fmla="*/ 2147483647 h 51"/>
              <a:gd name="T12" fmla="*/ 2147483647 w 26"/>
              <a:gd name="T13" fmla="*/ 2147483647 h 51"/>
              <a:gd name="T14" fmla="*/ 2147483647 w 26"/>
              <a:gd name="T15" fmla="*/ 0 h 51"/>
              <a:gd name="T16" fmla="*/ 0 w 26"/>
              <a:gd name="T17" fmla="*/ 0 h 5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6"/>
              <a:gd name="T28" fmla="*/ 0 h 51"/>
              <a:gd name="T29" fmla="*/ 26 w 26"/>
              <a:gd name="T30" fmla="*/ 51 h 5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6" h="51">
                <a:moveTo>
                  <a:pt x="0" y="0"/>
                </a:moveTo>
                <a:lnTo>
                  <a:pt x="0" y="18"/>
                </a:lnTo>
                <a:lnTo>
                  <a:pt x="8" y="41"/>
                </a:lnTo>
                <a:lnTo>
                  <a:pt x="25" y="50"/>
                </a:lnTo>
                <a:lnTo>
                  <a:pt x="8" y="34"/>
                </a:lnTo>
                <a:lnTo>
                  <a:pt x="16" y="25"/>
                </a:lnTo>
                <a:lnTo>
                  <a:pt x="8" y="18"/>
                </a:lnTo>
                <a:lnTo>
                  <a:pt x="16" y="0"/>
                </a:lnTo>
                <a:lnTo>
                  <a:pt x="0" y="0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70" name="Freeform 233"/>
          <p:cNvSpPr>
            <a:spLocks/>
          </p:cNvSpPr>
          <p:nvPr>
            <p:custDataLst>
              <p:tags r:id="rId181"/>
            </p:custDataLst>
          </p:nvPr>
        </p:nvSpPr>
        <p:spPr bwMode="gray">
          <a:xfrm>
            <a:off x="1616075" y="3838575"/>
            <a:ext cx="41275" cy="79375"/>
          </a:xfrm>
          <a:custGeom>
            <a:avLst/>
            <a:gdLst>
              <a:gd name="T0" fmla="*/ 0 w 26"/>
              <a:gd name="T1" fmla="*/ 0 h 51"/>
              <a:gd name="T2" fmla="*/ 0 w 26"/>
              <a:gd name="T3" fmla="*/ 2147483647 h 51"/>
              <a:gd name="T4" fmla="*/ 2147483647 w 26"/>
              <a:gd name="T5" fmla="*/ 2147483647 h 51"/>
              <a:gd name="T6" fmla="*/ 2147483647 w 26"/>
              <a:gd name="T7" fmla="*/ 2147483647 h 51"/>
              <a:gd name="T8" fmla="*/ 2147483647 w 26"/>
              <a:gd name="T9" fmla="*/ 2147483647 h 51"/>
              <a:gd name="T10" fmla="*/ 2147483647 w 26"/>
              <a:gd name="T11" fmla="*/ 2147483647 h 51"/>
              <a:gd name="T12" fmla="*/ 2147483647 w 26"/>
              <a:gd name="T13" fmla="*/ 2147483647 h 51"/>
              <a:gd name="T14" fmla="*/ 2147483647 w 26"/>
              <a:gd name="T15" fmla="*/ 0 h 51"/>
              <a:gd name="T16" fmla="*/ 0 w 26"/>
              <a:gd name="T17" fmla="*/ 0 h 5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6"/>
              <a:gd name="T28" fmla="*/ 0 h 51"/>
              <a:gd name="T29" fmla="*/ 26 w 26"/>
              <a:gd name="T30" fmla="*/ 51 h 5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6" h="51">
                <a:moveTo>
                  <a:pt x="0" y="0"/>
                </a:moveTo>
                <a:lnTo>
                  <a:pt x="0" y="18"/>
                </a:lnTo>
                <a:lnTo>
                  <a:pt x="8" y="41"/>
                </a:lnTo>
                <a:lnTo>
                  <a:pt x="25" y="50"/>
                </a:lnTo>
                <a:lnTo>
                  <a:pt x="8" y="34"/>
                </a:lnTo>
                <a:lnTo>
                  <a:pt x="16" y="25"/>
                </a:lnTo>
                <a:lnTo>
                  <a:pt x="8" y="18"/>
                </a:lnTo>
                <a:lnTo>
                  <a:pt x="16" y="0"/>
                </a:lnTo>
                <a:lnTo>
                  <a:pt x="0" y="0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71" name="Freeform 234"/>
          <p:cNvSpPr>
            <a:spLocks/>
          </p:cNvSpPr>
          <p:nvPr>
            <p:custDataLst>
              <p:tags r:id="rId182"/>
            </p:custDataLst>
          </p:nvPr>
        </p:nvSpPr>
        <p:spPr bwMode="gray">
          <a:xfrm>
            <a:off x="1703388" y="3954463"/>
            <a:ext cx="106362" cy="77787"/>
          </a:xfrm>
          <a:custGeom>
            <a:avLst/>
            <a:gdLst>
              <a:gd name="T0" fmla="*/ 0 w 67"/>
              <a:gd name="T1" fmla="*/ 0 h 49"/>
              <a:gd name="T2" fmla="*/ 2147483647 w 67"/>
              <a:gd name="T3" fmla="*/ 2147483647 h 49"/>
              <a:gd name="T4" fmla="*/ 2147483647 w 67"/>
              <a:gd name="T5" fmla="*/ 2147483647 h 49"/>
              <a:gd name="T6" fmla="*/ 2147483647 w 67"/>
              <a:gd name="T7" fmla="*/ 2147483647 h 49"/>
              <a:gd name="T8" fmla="*/ 2147483647 w 67"/>
              <a:gd name="T9" fmla="*/ 2147483647 h 49"/>
              <a:gd name="T10" fmla="*/ 2147483647 w 67"/>
              <a:gd name="T11" fmla="*/ 2147483647 h 49"/>
              <a:gd name="T12" fmla="*/ 2147483647 w 67"/>
              <a:gd name="T13" fmla="*/ 2147483647 h 49"/>
              <a:gd name="T14" fmla="*/ 2147483647 w 67"/>
              <a:gd name="T15" fmla="*/ 2147483647 h 49"/>
              <a:gd name="T16" fmla="*/ 2147483647 w 67"/>
              <a:gd name="T17" fmla="*/ 0 h 49"/>
              <a:gd name="T18" fmla="*/ 0 w 67"/>
              <a:gd name="T19" fmla="*/ 0 h 4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67"/>
              <a:gd name="T31" fmla="*/ 0 h 49"/>
              <a:gd name="T32" fmla="*/ 67 w 67"/>
              <a:gd name="T33" fmla="*/ 49 h 4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67" h="49">
                <a:moveTo>
                  <a:pt x="0" y="0"/>
                </a:moveTo>
                <a:lnTo>
                  <a:pt x="9" y="16"/>
                </a:lnTo>
                <a:lnTo>
                  <a:pt x="25" y="25"/>
                </a:lnTo>
                <a:lnTo>
                  <a:pt x="41" y="33"/>
                </a:lnTo>
                <a:lnTo>
                  <a:pt x="41" y="41"/>
                </a:lnTo>
                <a:lnTo>
                  <a:pt x="57" y="48"/>
                </a:lnTo>
                <a:lnTo>
                  <a:pt x="66" y="48"/>
                </a:lnTo>
                <a:lnTo>
                  <a:pt x="34" y="8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72" name="Freeform 235"/>
          <p:cNvSpPr>
            <a:spLocks/>
          </p:cNvSpPr>
          <p:nvPr>
            <p:custDataLst>
              <p:tags r:id="rId183"/>
            </p:custDataLst>
          </p:nvPr>
        </p:nvSpPr>
        <p:spPr bwMode="gray">
          <a:xfrm>
            <a:off x="1703388" y="3954463"/>
            <a:ext cx="106362" cy="77787"/>
          </a:xfrm>
          <a:custGeom>
            <a:avLst/>
            <a:gdLst>
              <a:gd name="T0" fmla="*/ 0 w 67"/>
              <a:gd name="T1" fmla="*/ 0 h 49"/>
              <a:gd name="T2" fmla="*/ 2147483647 w 67"/>
              <a:gd name="T3" fmla="*/ 2147483647 h 49"/>
              <a:gd name="T4" fmla="*/ 2147483647 w 67"/>
              <a:gd name="T5" fmla="*/ 2147483647 h 49"/>
              <a:gd name="T6" fmla="*/ 2147483647 w 67"/>
              <a:gd name="T7" fmla="*/ 2147483647 h 49"/>
              <a:gd name="T8" fmla="*/ 2147483647 w 67"/>
              <a:gd name="T9" fmla="*/ 2147483647 h 49"/>
              <a:gd name="T10" fmla="*/ 2147483647 w 67"/>
              <a:gd name="T11" fmla="*/ 2147483647 h 49"/>
              <a:gd name="T12" fmla="*/ 2147483647 w 67"/>
              <a:gd name="T13" fmla="*/ 2147483647 h 49"/>
              <a:gd name="T14" fmla="*/ 2147483647 w 67"/>
              <a:gd name="T15" fmla="*/ 2147483647 h 49"/>
              <a:gd name="T16" fmla="*/ 2147483647 w 67"/>
              <a:gd name="T17" fmla="*/ 0 h 49"/>
              <a:gd name="T18" fmla="*/ 0 w 67"/>
              <a:gd name="T19" fmla="*/ 0 h 4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67"/>
              <a:gd name="T31" fmla="*/ 0 h 49"/>
              <a:gd name="T32" fmla="*/ 67 w 67"/>
              <a:gd name="T33" fmla="*/ 49 h 4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67" h="49">
                <a:moveTo>
                  <a:pt x="0" y="0"/>
                </a:moveTo>
                <a:lnTo>
                  <a:pt x="9" y="16"/>
                </a:lnTo>
                <a:lnTo>
                  <a:pt x="25" y="25"/>
                </a:lnTo>
                <a:lnTo>
                  <a:pt x="41" y="33"/>
                </a:lnTo>
                <a:lnTo>
                  <a:pt x="41" y="41"/>
                </a:lnTo>
                <a:lnTo>
                  <a:pt x="57" y="48"/>
                </a:lnTo>
                <a:lnTo>
                  <a:pt x="66" y="48"/>
                </a:lnTo>
                <a:lnTo>
                  <a:pt x="34" y="8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73" name="Freeform 236"/>
          <p:cNvSpPr>
            <a:spLocks/>
          </p:cNvSpPr>
          <p:nvPr>
            <p:custDataLst>
              <p:tags r:id="rId184"/>
            </p:custDataLst>
          </p:nvPr>
        </p:nvSpPr>
        <p:spPr bwMode="gray">
          <a:xfrm>
            <a:off x="3795713" y="3330575"/>
            <a:ext cx="217487" cy="153988"/>
          </a:xfrm>
          <a:custGeom>
            <a:avLst/>
            <a:gdLst>
              <a:gd name="T0" fmla="*/ 0 w 138"/>
              <a:gd name="T1" fmla="*/ 2147483647 h 98"/>
              <a:gd name="T2" fmla="*/ 2147483647 w 138"/>
              <a:gd name="T3" fmla="*/ 2147483647 h 98"/>
              <a:gd name="T4" fmla="*/ 2147483647 w 138"/>
              <a:gd name="T5" fmla="*/ 2147483647 h 98"/>
              <a:gd name="T6" fmla="*/ 2147483647 w 138"/>
              <a:gd name="T7" fmla="*/ 2147483647 h 98"/>
              <a:gd name="T8" fmla="*/ 2147483647 w 138"/>
              <a:gd name="T9" fmla="*/ 2147483647 h 98"/>
              <a:gd name="T10" fmla="*/ 2147483647 w 138"/>
              <a:gd name="T11" fmla="*/ 2147483647 h 98"/>
              <a:gd name="T12" fmla="*/ 2147483647 w 138"/>
              <a:gd name="T13" fmla="*/ 2147483647 h 98"/>
              <a:gd name="T14" fmla="*/ 2147483647 w 138"/>
              <a:gd name="T15" fmla="*/ 2147483647 h 98"/>
              <a:gd name="T16" fmla="*/ 2147483647 w 138"/>
              <a:gd name="T17" fmla="*/ 2147483647 h 98"/>
              <a:gd name="T18" fmla="*/ 2147483647 w 138"/>
              <a:gd name="T19" fmla="*/ 2147483647 h 98"/>
              <a:gd name="T20" fmla="*/ 2147483647 w 138"/>
              <a:gd name="T21" fmla="*/ 2147483647 h 98"/>
              <a:gd name="T22" fmla="*/ 2147483647 w 138"/>
              <a:gd name="T23" fmla="*/ 2147483647 h 98"/>
              <a:gd name="T24" fmla="*/ 2147483647 w 138"/>
              <a:gd name="T25" fmla="*/ 2147483647 h 98"/>
              <a:gd name="T26" fmla="*/ 2147483647 w 138"/>
              <a:gd name="T27" fmla="*/ 2147483647 h 98"/>
              <a:gd name="T28" fmla="*/ 2147483647 w 138"/>
              <a:gd name="T29" fmla="*/ 2147483647 h 98"/>
              <a:gd name="T30" fmla="*/ 2147483647 w 138"/>
              <a:gd name="T31" fmla="*/ 2147483647 h 98"/>
              <a:gd name="T32" fmla="*/ 2147483647 w 138"/>
              <a:gd name="T33" fmla="*/ 0 h 98"/>
              <a:gd name="T34" fmla="*/ 2147483647 w 138"/>
              <a:gd name="T35" fmla="*/ 2147483647 h 98"/>
              <a:gd name="T36" fmla="*/ 2147483647 w 138"/>
              <a:gd name="T37" fmla="*/ 2147483647 h 98"/>
              <a:gd name="T38" fmla="*/ 2147483647 w 138"/>
              <a:gd name="T39" fmla="*/ 2147483647 h 98"/>
              <a:gd name="T40" fmla="*/ 2147483647 w 138"/>
              <a:gd name="T41" fmla="*/ 2147483647 h 98"/>
              <a:gd name="T42" fmla="*/ 2147483647 w 138"/>
              <a:gd name="T43" fmla="*/ 2147483647 h 98"/>
              <a:gd name="T44" fmla="*/ 2147483647 w 138"/>
              <a:gd name="T45" fmla="*/ 2147483647 h 98"/>
              <a:gd name="T46" fmla="*/ 2147483647 w 138"/>
              <a:gd name="T47" fmla="*/ 2147483647 h 98"/>
              <a:gd name="T48" fmla="*/ 2147483647 w 138"/>
              <a:gd name="T49" fmla="*/ 2147483647 h 98"/>
              <a:gd name="T50" fmla="*/ 2147483647 w 138"/>
              <a:gd name="T51" fmla="*/ 2147483647 h 98"/>
              <a:gd name="T52" fmla="*/ 2147483647 w 138"/>
              <a:gd name="T53" fmla="*/ 2147483647 h 98"/>
              <a:gd name="T54" fmla="*/ 2147483647 w 138"/>
              <a:gd name="T55" fmla="*/ 2147483647 h 98"/>
              <a:gd name="T56" fmla="*/ 2147483647 w 138"/>
              <a:gd name="T57" fmla="*/ 2147483647 h 98"/>
              <a:gd name="T58" fmla="*/ 2147483647 w 138"/>
              <a:gd name="T59" fmla="*/ 2147483647 h 98"/>
              <a:gd name="T60" fmla="*/ 0 w 138"/>
              <a:gd name="T61" fmla="*/ 2147483647 h 9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38"/>
              <a:gd name="T94" fmla="*/ 0 h 98"/>
              <a:gd name="T95" fmla="*/ 138 w 138"/>
              <a:gd name="T96" fmla="*/ 98 h 98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38" h="98">
                <a:moveTo>
                  <a:pt x="0" y="32"/>
                </a:moveTo>
                <a:lnTo>
                  <a:pt x="9" y="41"/>
                </a:lnTo>
                <a:lnTo>
                  <a:pt x="25" y="32"/>
                </a:lnTo>
                <a:lnTo>
                  <a:pt x="34" y="41"/>
                </a:lnTo>
                <a:lnTo>
                  <a:pt x="9" y="56"/>
                </a:lnTo>
                <a:lnTo>
                  <a:pt x="25" y="56"/>
                </a:lnTo>
                <a:lnTo>
                  <a:pt x="34" y="74"/>
                </a:lnTo>
                <a:lnTo>
                  <a:pt x="25" y="81"/>
                </a:lnTo>
                <a:lnTo>
                  <a:pt x="41" y="81"/>
                </a:lnTo>
                <a:lnTo>
                  <a:pt x="74" y="97"/>
                </a:lnTo>
                <a:lnTo>
                  <a:pt x="131" y="65"/>
                </a:lnTo>
                <a:lnTo>
                  <a:pt x="137" y="56"/>
                </a:lnTo>
                <a:lnTo>
                  <a:pt x="137" y="32"/>
                </a:lnTo>
                <a:lnTo>
                  <a:pt x="121" y="24"/>
                </a:lnTo>
                <a:lnTo>
                  <a:pt x="121" y="9"/>
                </a:lnTo>
                <a:lnTo>
                  <a:pt x="114" y="9"/>
                </a:lnTo>
                <a:lnTo>
                  <a:pt x="106" y="0"/>
                </a:lnTo>
                <a:lnTo>
                  <a:pt x="89" y="16"/>
                </a:lnTo>
                <a:lnTo>
                  <a:pt x="81" y="16"/>
                </a:lnTo>
                <a:lnTo>
                  <a:pt x="65" y="16"/>
                </a:lnTo>
                <a:lnTo>
                  <a:pt x="57" y="24"/>
                </a:lnTo>
                <a:lnTo>
                  <a:pt x="57" y="16"/>
                </a:lnTo>
                <a:lnTo>
                  <a:pt x="49" y="32"/>
                </a:lnTo>
                <a:lnTo>
                  <a:pt x="41" y="41"/>
                </a:lnTo>
                <a:lnTo>
                  <a:pt x="41" y="16"/>
                </a:lnTo>
                <a:lnTo>
                  <a:pt x="25" y="9"/>
                </a:lnTo>
                <a:lnTo>
                  <a:pt x="16" y="9"/>
                </a:lnTo>
                <a:lnTo>
                  <a:pt x="16" y="16"/>
                </a:lnTo>
                <a:lnTo>
                  <a:pt x="9" y="16"/>
                </a:lnTo>
                <a:lnTo>
                  <a:pt x="9" y="24"/>
                </a:lnTo>
                <a:lnTo>
                  <a:pt x="0" y="32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74" name="Freeform 237"/>
          <p:cNvSpPr>
            <a:spLocks/>
          </p:cNvSpPr>
          <p:nvPr>
            <p:custDataLst>
              <p:tags r:id="rId185"/>
            </p:custDataLst>
          </p:nvPr>
        </p:nvSpPr>
        <p:spPr bwMode="gray">
          <a:xfrm>
            <a:off x="3911600" y="2782888"/>
            <a:ext cx="26988" cy="28575"/>
          </a:xfrm>
          <a:custGeom>
            <a:avLst/>
            <a:gdLst>
              <a:gd name="T0" fmla="*/ 0 w 17"/>
              <a:gd name="T1" fmla="*/ 0 h 18"/>
              <a:gd name="T2" fmla="*/ 0 w 17"/>
              <a:gd name="T3" fmla="*/ 2147483647 h 18"/>
              <a:gd name="T4" fmla="*/ 2147483647 w 17"/>
              <a:gd name="T5" fmla="*/ 2147483647 h 18"/>
              <a:gd name="T6" fmla="*/ 0 w 17"/>
              <a:gd name="T7" fmla="*/ 0 h 18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18"/>
              <a:gd name="T14" fmla="*/ 17 w 17"/>
              <a:gd name="T15" fmla="*/ 18 h 1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18">
                <a:moveTo>
                  <a:pt x="0" y="0"/>
                </a:moveTo>
                <a:lnTo>
                  <a:pt x="0" y="17"/>
                </a:lnTo>
                <a:lnTo>
                  <a:pt x="16" y="17"/>
                </a:lnTo>
                <a:lnTo>
                  <a:pt x="0" y="0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75" name="Freeform 238"/>
          <p:cNvSpPr>
            <a:spLocks/>
          </p:cNvSpPr>
          <p:nvPr>
            <p:custDataLst>
              <p:tags r:id="rId186"/>
            </p:custDataLst>
          </p:nvPr>
        </p:nvSpPr>
        <p:spPr bwMode="gray">
          <a:xfrm>
            <a:off x="3911600" y="2782888"/>
            <a:ext cx="26988" cy="28575"/>
          </a:xfrm>
          <a:custGeom>
            <a:avLst/>
            <a:gdLst>
              <a:gd name="T0" fmla="*/ 0 w 17"/>
              <a:gd name="T1" fmla="*/ 0 h 18"/>
              <a:gd name="T2" fmla="*/ 0 w 17"/>
              <a:gd name="T3" fmla="*/ 2147483647 h 18"/>
              <a:gd name="T4" fmla="*/ 2147483647 w 17"/>
              <a:gd name="T5" fmla="*/ 2147483647 h 18"/>
              <a:gd name="T6" fmla="*/ 0 w 17"/>
              <a:gd name="T7" fmla="*/ 0 h 18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18"/>
              <a:gd name="T14" fmla="*/ 17 w 17"/>
              <a:gd name="T15" fmla="*/ 18 h 1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18">
                <a:moveTo>
                  <a:pt x="0" y="0"/>
                </a:moveTo>
                <a:lnTo>
                  <a:pt x="0" y="17"/>
                </a:lnTo>
                <a:lnTo>
                  <a:pt x="16" y="17"/>
                </a:lnTo>
                <a:lnTo>
                  <a:pt x="0" y="0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76" name="Freeform 239"/>
          <p:cNvSpPr>
            <a:spLocks/>
          </p:cNvSpPr>
          <p:nvPr>
            <p:custDataLst>
              <p:tags r:id="rId187"/>
            </p:custDataLst>
          </p:nvPr>
        </p:nvSpPr>
        <p:spPr bwMode="gray">
          <a:xfrm>
            <a:off x="5159375" y="5378450"/>
            <a:ext cx="141288" cy="282575"/>
          </a:xfrm>
          <a:custGeom>
            <a:avLst/>
            <a:gdLst>
              <a:gd name="T0" fmla="*/ 0 w 90"/>
              <a:gd name="T1" fmla="*/ 2147483647 h 180"/>
              <a:gd name="T2" fmla="*/ 2147483647 w 90"/>
              <a:gd name="T3" fmla="*/ 2147483647 h 180"/>
              <a:gd name="T4" fmla="*/ 2147483647 w 90"/>
              <a:gd name="T5" fmla="*/ 2147483647 h 180"/>
              <a:gd name="T6" fmla="*/ 2147483647 w 90"/>
              <a:gd name="T7" fmla="*/ 2147483647 h 180"/>
              <a:gd name="T8" fmla="*/ 2147483647 w 90"/>
              <a:gd name="T9" fmla="*/ 2147483647 h 180"/>
              <a:gd name="T10" fmla="*/ 2147483647 w 90"/>
              <a:gd name="T11" fmla="*/ 2147483647 h 180"/>
              <a:gd name="T12" fmla="*/ 2147483647 w 90"/>
              <a:gd name="T13" fmla="*/ 2147483647 h 180"/>
              <a:gd name="T14" fmla="*/ 2147483647 w 90"/>
              <a:gd name="T15" fmla="*/ 2147483647 h 180"/>
              <a:gd name="T16" fmla="*/ 2147483647 w 90"/>
              <a:gd name="T17" fmla="*/ 2147483647 h 180"/>
              <a:gd name="T18" fmla="*/ 2147483647 w 90"/>
              <a:gd name="T19" fmla="*/ 2147483647 h 180"/>
              <a:gd name="T20" fmla="*/ 2147483647 w 90"/>
              <a:gd name="T21" fmla="*/ 0 h 180"/>
              <a:gd name="T22" fmla="*/ 2147483647 w 90"/>
              <a:gd name="T23" fmla="*/ 2147483647 h 180"/>
              <a:gd name="T24" fmla="*/ 2147483647 w 90"/>
              <a:gd name="T25" fmla="*/ 2147483647 h 180"/>
              <a:gd name="T26" fmla="*/ 2147483647 w 90"/>
              <a:gd name="T27" fmla="*/ 2147483647 h 180"/>
              <a:gd name="T28" fmla="*/ 2147483647 w 90"/>
              <a:gd name="T29" fmla="*/ 2147483647 h 180"/>
              <a:gd name="T30" fmla="*/ 2147483647 w 90"/>
              <a:gd name="T31" fmla="*/ 2147483647 h 180"/>
              <a:gd name="T32" fmla="*/ 2147483647 w 90"/>
              <a:gd name="T33" fmla="*/ 2147483647 h 180"/>
              <a:gd name="T34" fmla="*/ 0 w 90"/>
              <a:gd name="T35" fmla="*/ 2147483647 h 18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90"/>
              <a:gd name="T55" fmla="*/ 0 h 180"/>
              <a:gd name="T56" fmla="*/ 90 w 90"/>
              <a:gd name="T57" fmla="*/ 180 h 180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90" h="180">
                <a:moveTo>
                  <a:pt x="0" y="129"/>
                </a:moveTo>
                <a:lnTo>
                  <a:pt x="9" y="163"/>
                </a:lnTo>
                <a:lnTo>
                  <a:pt x="17" y="179"/>
                </a:lnTo>
                <a:lnTo>
                  <a:pt x="40" y="179"/>
                </a:lnTo>
                <a:lnTo>
                  <a:pt x="49" y="170"/>
                </a:lnTo>
                <a:lnTo>
                  <a:pt x="74" y="80"/>
                </a:lnTo>
                <a:lnTo>
                  <a:pt x="82" y="40"/>
                </a:lnTo>
                <a:lnTo>
                  <a:pt x="89" y="49"/>
                </a:lnTo>
                <a:lnTo>
                  <a:pt x="89" y="40"/>
                </a:lnTo>
                <a:lnTo>
                  <a:pt x="82" y="8"/>
                </a:lnTo>
                <a:lnTo>
                  <a:pt x="74" y="0"/>
                </a:lnTo>
                <a:lnTo>
                  <a:pt x="65" y="17"/>
                </a:lnTo>
                <a:lnTo>
                  <a:pt x="57" y="17"/>
                </a:lnTo>
                <a:lnTo>
                  <a:pt x="57" y="32"/>
                </a:lnTo>
                <a:lnTo>
                  <a:pt x="17" y="57"/>
                </a:lnTo>
                <a:lnTo>
                  <a:pt x="9" y="73"/>
                </a:lnTo>
                <a:lnTo>
                  <a:pt x="17" y="105"/>
                </a:lnTo>
                <a:lnTo>
                  <a:pt x="0" y="129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77" name="Freeform 240"/>
          <p:cNvSpPr>
            <a:spLocks/>
          </p:cNvSpPr>
          <p:nvPr>
            <p:custDataLst>
              <p:tags r:id="rId188"/>
            </p:custDataLst>
          </p:nvPr>
        </p:nvSpPr>
        <p:spPr bwMode="gray">
          <a:xfrm>
            <a:off x="6242050" y="5097463"/>
            <a:ext cx="26988" cy="28575"/>
          </a:xfrm>
          <a:custGeom>
            <a:avLst/>
            <a:gdLst>
              <a:gd name="T0" fmla="*/ 0 w 17"/>
              <a:gd name="T1" fmla="*/ 2147483647 h 18"/>
              <a:gd name="T2" fmla="*/ 2147483647 w 17"/>
              <a:gd name="T3" fmla="*/ 2147483647 h 18"/>
              <a:gd name="T4" fmla="*/ 0 w 17"/>
              <a:gd name="T5" fmla="*/ 0 h 18"/>
              <a:gd name="T6" fmla="*/ 0 w 17"/>
              <a:gd name="T7" fmla="*/ 2147483647 h 18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18"/>
              <a:gd name="T14" fmla="*/ 17 w 17"/>
              <a:gd name="T15" fmla="*/ 18 h 1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18">
                <a:moveTo>
                  <a:pt x="0" y="9"/>
                </a:moveTo>
                <a:lnTo>
                  <a:pt x="16" y="17"/>
                </a:lnTo>
                <a:lnTo>
                  <a:pt x="0" y="0"/>
                </a:lnTo>
                <a:lnTo>
                  <a:pt x="0" y="9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78" name="Freeform 241"/>
          <p:cNvSpPr>
            <a:spLocks/>
          </p:cNvSpPr>
          <p:nvPr>
            <p:custDataLst>
              <p:tags r:id="rId189"/>
            </p:custDataLst>
          </p:nvPr>
        </p:nvSpPr>
        <p:spPr bwMode="gray">
          <a:xfrm>
            <a:off x="6242050" y="5097463"/>
            <a:ext cx="26988" cy="28575"/>
          </a:xfrm>
          <a:custGeom>
            <a:avLst/>
            <a:gdLst>
              <a:gd name="T0" fmla="*/ 0 w 17"/>
              <a:gd name="T1" fmla="*/ 2147483647 h 18"/>
              <a:gd name="T2" fmla="*/ 2147483647 w 17"/>
              <a:gd name="T3" fmla="*/ 2147483647 h 18"/>
              <a:gd name="T4" fmla="*/ 0 w 17"/>
              <a:gd name="T5" fmla="*/ 0 h 18"/>
              <a:gd name="T6" fmla="*/ 0 w 17"/>
              <a:gd name="T7" fmla="*/ 2147483647 h 18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18"/>
              <a:gd name="T14" fmla="*/ 17 w 17"/>
              <a:gd name="T15" fmla="*/ 18 h 1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18">
                <a:moveTo>
                  <a:pt x="0" y="9"/>
                </a:moveTo>
                <a:lnTo>
                  <a:pt x="16" y="17"/>
                </a:lnTo>
                <a:lnTo>
                  <a:pt x="0" y="0"/>
                </a:lnTo>
                <a:lnTo>
                  <a:pt x="0" y="9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79" name="Freeform 242"/>
          <p:cNvSpPr>
            <a:spLocks/>
          </p:cNvSpPr>
          <p:nvPr>
            <p:custDataLst>
              <p:tags r:id="rId190"/>
            </p:custDataLst>
          </p:nvPr>
        </p:nvSpPr>
        <p:spPr bwMode="gray">
          <a:xfrm>
            <a:off x="6270625" y="5151438"/>
            <a:ext cx="25400" cy="25400"/>
          </a:xfrm>
          <a:custGeom>
            <a:avLst/>
            <a:gdLst>
              <a:gd name="T0" fmla="*/ 0 w 17"/>
              <a:gd name="T1" fmla="*/ 0 h 17"/>
              <a:gd name="T2" fmla="*/ 2147483647 w 17"/>
              <a:gd name="T3" fmla="*/ 2147483647 h 17"/>
              <a:gd name="T4" fmla="*/ 2147483647 w 17"/>
              <a:gd name="T5" fmla="*/ 2147483647 h 17"/>
              <a:gd name="T6" fmla="*/ 2147483647 w 17"/>
              <a:gd name="T7" fmla="*/ 0 h 17"/>
              <a:gd name="T8" fmla="*/ 0 w 17"/>
              <a:gd name="T9" fmla="*/ 0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17"/>
              <a:gd name="T17" fmla="*/ 17 w 17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17">
                <a:moveTo>
                  <a:pt x="0" y="0"/>
                </a:moveTo>
                <a:lnTo>
                  <a:pt x="16" y="16"/>
                </a:lnTo>
                <a:lnTo>
                  <a:pt x="16" y="7"/>
                </a:lnTo>
                <a:lnTo>
                  <a:pt x="16" y="0"/>
                </a:lnTo>
                <a:lnTo>
                  <a:pt x="0" y="0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80" name="Freeform 243"/>
          <p:cNvSpPr>
            <a:spLocks/>
          </p:cNvSpPr>
          <p:nvPr>
            <p:custDataLst>
              <p:tags r:id="rId191"/>
            </p:custDataLst>
          </p:nvPr>
        </p:nvSpPr>
        <p:spPr bwMode="gray">
          <a:xfrm>
            <a:off x="6270625" y="5151438"/>
            <a:ext cx="25400" cy="25400"/>
          </a:xfrm>
          <a:custGeom>
            <a:avLst/>
            <a:gdLst>
              <a:gd name="T0" fmla="*/ 0 w 17"/>
              <a:gd name="T1" fmla="*/ 0 h 17"/>
              <a:gd name="T2" fmla="*/ 2147483647 w 17"/>
              <a:gd name="T3" fmla="*/ 2147483647 h 17"/>
              <a:gd name="T4" fmla="*/ 2147483647 w 17"/>
              <a:gd name="T5" fmla="*/ 2147483647 h 17"/>
              <a:gd name="T6" fmla="*/ 2147483647 w 17"/>
              <a:gd name="T7" fmla="*/ 0 h 17"/>
              <a:gd name="T8" fmla="*/ 0 w 17"/>
              <a:gd name="T9" fmla="*/ 0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17"/>
              <a:gd name="T17" fmla="*/ 17 w 17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17">
                <a:moveTo>
                  <a:pt x="0" y="0"/>
                </a:moveTo>
                <a:lnTo>
                  <a:pt x="16" y="16"/>
                </a:lnTo>
                <a:lnTo>
                  <a:pt x="16" y="7"/>
                </a:lnTo>
                <a:lnTo>
                  <a:pt x="16" y="0"/>
                </a:lnTo>
                <a:lnTo>
                  <a:pt x="0" y="0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81" name="Freeform 244"/>
          <p:cNvSpPr>
            <a:spLocks/>
          </p:cNvSpPr>
          <p:nvPr>
            <p:custDataLst>
              <p:tags r:id="rId192"/>
            </p:custDataLst>
          </p:nvPr>
        </p:nvSpPr>
        <p:spPr bwMode="gray">
          <a:xfrm>
            <a:off x="5886450" y="4932363"/>
            <a:ext cx="53975" cy="77787"/>
          </a:xfrm>
          <a:custGeom>
            <a:avLst/>
            <a:gdLst>
              <a:gd name="T0" fmla="*/ 0 w 34"/>
              <a:gd name="T1" fmla="*/ 2147483647 h 50"/>
              <a:gd name="T2" fmla="*/ 2147483647 w 34"/>
              <a:gd name="T3" fmla="*/ 2147483647 h 50"/>
              <a:gd name="T4" fmla="*/ 2147483647 w 34"/>
              <a:gd name="T5" fmla="*/ 2147483647 h 50"/>
              <a:gd name="T6" fmla="*/ 2147483647 w 34"/>
              <a:gd name="T7" fmla="*/ 2147483647 h 50"/>
              <a:gd name="T8" fmla="*/ 2147483647 w 34"/>
              <a:gd name="T9" fmla="*/ 2147483647 h 50"/>
              <a:gd name="T10" fmla="*/ 2147483647 w 34"/>
              <a:gd name="T11" fmla="*/ 0 h 50"/>
              <a:gd name="T12" fmla="*/ 0 w 34"/>
              <a:gd name="T13" fmla="*/ 2147483647 h 5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4"/>
              <a:gd name="T22" fmla="*/ 0 h 50"/>
              <a:gd name="T23" fmla="*/ 34 w 34"/>
              <a:gd name="T24" fmla="*/ 50 h 5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4" h="50">
                <a:moveTo>
                  <a:pt x="0" y="25"/>
                </a:moveTo>
                <a:lnTo>
                  <a:pt x="9" y="49"/>
                </a:lnTo>
                <a:lnTo>
                  <a:pt x="24" y="49"/>
                </a:lnTo>
                <a:lnTo>
                  <a:pt x="33" y="34"/>
                </a:lnTo>
                <a:lnTo>
                  <a:pt x="15" y="9"/>
                </a:lnTo>
                <a:lnTo>
                  <a:pt x="9" y="0"/>
                </a:lnTo>
                <a:lnTo>
                  <a:pt x="0" y="25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82" name="Freeform 245"/>
          <p:cNvSpPr>
            <a:spLocks/>
          </p:cNvSpPr>
          <p:nvPr>
            <p:custDataLst>
              <p:tags r:id="rId193"/>
            </p:custDataLst>
          </p:nvPr>
        </p:nvSpPr>
        <p:spPr bwMode="gray">
          <a:xfrm>
            <a:off x="6472238" y="4732338"/>
            <a:ext cx="55562" cy="36512"/>
          </a:xfrm>
          <a:custGeom>
            <a:avLst/>
            <a:gdLst>
              <a:gd name="T0" fmla="*/ 0 w 35"/>
              <a:gd name="T1" fmla="*/ 2147483647 h 24"/>
              <a:gd name="T2" fmla="*/ 0 w 35"/>
              <a:gd name="T3" fmla="*/ 2147483647 h 24"/>
              <a:gd name="T4" fmla="*/ 2147483647 w 35"/>
              <a:gd name="T5" fmla="*/ 2147483647 h 24"/>
              <a:gd name="T6" fmla="*/ 2147483647 w 35"/>
              <a:gd name="T7" fmla="*/ 2147483647 h 24"/>
              <a:gd name="T8" fmla="*/ 2147483647 w 35"/>
              <a:gd name="T9" fmla="*/ 0 h 24"/>
              <a:gd name="T10" fmla="*/ 2147483647 w 35"/>
              <a:gd name="T11" fmla="*/ 0 h 24"/>
              <a:gd name="T12" fmla="*/ 0 w 35"/>
              <a:gd name="T13" fmla="*/ 2147483647 h 2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5"/>
              <a:gd name="T22" fmla="*/ 0 h 24"/>
              <a:gd name="T23" fmla="*/ 35 w 35"/>
              <a:gd name="T24" fmla="*/ 24 h 2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5" h="24">
                <a:moveTo>
                  <a:pt x="0" y="6"/>
                </a:moveTo>
                <a:lnTo>
                  <a:pt x="0" y="16"/>
                </a:lnTo>
                <a:lnTo>
                  <a:pt x="17" y="23"/>
                </a:lnTo>
                <a:lnTo>
                  <a:pt x="24" y="16"/>
                </a:lnTo>
                <a:lnTo>
                  <a:pt x="34" y="0"/>
                </a:lnTo>
                <a:lnTo>
                  <a:pt x="9" y="0"/>
                </a:lnTo>
                <a:lnTo>
                  <a:pt x="0" y="6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83" name="Freeform 246"/>
          <p:cNvSpPr>
            <a:spLocks/>
          </p:cNvSpPr>
          <p:nvPr>
            <p:custDataLst>
              <p:tags r:id="rId194"/>
            </p:custDataLst>
          </p:nvPr>
        </p:nvSpPr>
        <p:spPr bwMode="gray">
          <a:xfrm>
            <a:off x="6702425" y="4614863"/>
            <a:ext cx="39688" cy="65087"/>
          </a:xfrm>
          <a:custGeom>
            <a:avLst/>
            <a:gdLst>
              <a:gd name="T0" fmla="*/ 0 w 26"/>
              <a:gd name="T1" fmla="*/ 2147483647 h 41"/>
              <a:gd name="T2" fmla="*/ 0 w 26"/>
              <a:gd name="T3" fmla="*/ 2147483647 h 41"/>
              <a:gd name="T4" fmla="*/ 2147483647 w 26"/>
              <a:gd name="T5" fmla="*/ 2147483647 h 41"/>
              <a:gd name="T6" fmla="*/ 2147483647 w 26"/>
              <a:gd name="T7" fmla="*/ 0 h 41"/>
              <a:gd name="T8" fmla="*/ 2147483647 w 26"/>
              <a:gd name="T9" fmla="*/ 0 h 41"/>
              <a:gd name="T10" fmla="*/ 0 w 26"/>
              <a:gd name="T11" fmla="*/ 2147483647 h 4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6"/>
              <a:gd name="T19" fmla="*/ 0 h 41"/>
              <a:gd name="T20" fmla="*/ 26 w 26"/>
              <a:gd name="T21" fmla="*/ 41 h 4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6" h="41">
                <a:moveTo>
                  <a:pt x="0" y="25"/>
                </a:moveTo>
                <a:lnTo>
                  <a:pt x="0" y="33"/>
                </a:lnTo>
                <a:lnTo>
                  <a:pt x="8" y="40"/>
                </a:lnTo>
                <a:lnTo>
                  <a:pt x="25" y="0"/>
                </a:lnTo>
                <a:lnTo>
                  <a:pt x="17" y="0"/>
                </a:lnTo>
                <a:lnTo>
                  <a:pt x="0" y="25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84" name="Freeform 247"/>
          <p:cNvSpPr>
            <a:spLocks/>
          </p:cNvSpPr>
          <p:nvPr>
            <p:custDataLst>
              <p:tags r:id="rId195"/>
            </p:custDataLst>
          </p:nvPr>
        </p:nvSpPr>
        <p:spPr bwMode="gray">
          <a:xfrm>
            <a:off x="6896100" y="4411663"/>
            <a:ext cx="50800" cy="77787"/>
          </a:xfrm>
          <a:custGeom>
            <a:avLst/>
            <a:gdLst>
              <a:gd name="T0" fmla="*/ 0 w 33"/>
              <a:gd name="T1" fmla="*/ 2147483647 h 49"/>
              <a:gd name="T2" fmla="*/ 0 w 33"/>
              <a:gd name="T3" fmla="*/ 2147483647 h 49"/>
              <a:gd name="T4" fmla="*/ 2147483647 w 33"/>
              <a:gd name="T5" fmla="*/ 2147483647 h 49"/>
              <a:gd name="T6" fmla="*/ 2147483647 w 33"/>
              <a:gd name="T7" fmla="*/ 2147483647 h 49"/>
              <a:gd name="T8" fmla="*/ 2147483647 w 33"/>
              <a:gd name="T9" fmla="*/ 2147483647 h 49"/>
              <a:gd name="T10" fmla="*/ 2147483647 w 33"/>
              <a:gd name="T11" fmla="*/ 2147483647 h 49"/>
              <a:gd name="T12" fmla="*/ 2147483647 w 33"/>
              <a:gd name="T13" fmla="*/ 2147483647 h 49"/>
              <a:gd name="T14" fmla="*/ 2147483647 w 33"/>
              <a:gd name="T15" fmla="*/ 2147483647 h 49"/>
              <a:gd name="T16" fmla="*/ 2147483647 w 33"/>
              <a:gd name="T17" fmla="*/ 0 h 49"/>
              <a:gd name="T18" fmla="*/ 0 w 33"/>
              <a:gd name="T19" fmla="*/ 2147483647 h 4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3"/>
              <a:gd name="T31" fmla="*/ 0 h 49"/>
              <a:gd name="T32" fmla="*/ 33 w 33"/>
              <a:gd name="T33" fmla="*/ 49 h 4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3" h="49">
                <a:moveTo>
                  <a:pt x="0" y="7"/>
                </a:moveTo>
                <a:lnTo>
                  <a:pt x="0" y="17"/>
                </a:lnTo>
                <a:lnTo>
                  <a:pt x="7" y="17"/>
                </a:lnTo>
                <a:lnTo>
                  <a:pt x="7" y="41"/>
                </a:lnTo>
                <a:lnTo>
                  <a:pt x="16" y="48"/>
                </a:lnTo>
                <a:lnTo>
                  <a:pt x="22" y="41"/>
                </a:lnTo>
                <a:lnTo>
                  <a:pt x="32" y="17"/>
                </a:lnTo>
                <a:lnTo>
                  <a:pt x="22" y="7"/>
                </a:lnTo>
                <a:lnTo>
                  <a:pt x="7" y="0"/>
                </a:lnTo>
                <a:lnTo>
                  <a:pt x="0" y="7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85" name="Freeform 248"/>
          <p:cNvSpPr>
            <a:spLocks/>
          </p:cNvSpPr>
          <p:nvPr>
            <p:custDataLst>
              <p:tags r:id="rId196"/>
            </p:custDataLst>
          </p:nvPr>
        </p:nvSpPr>
        <p:spPr bwMode="gray">
          <a:xfrm>
            <a:off x="6945313" y="4411663"/>
            <a:ext cx="52387" cy="30162"/>
          </a:xfrm>
          <a:custGeom>
            <a:avLst/>
            <a:gdLst>
              <a:gd name="T0" fmla="*/ 0 w 33"/>
              <a:gd name="T1" fmla="*/ 2147483647 h 18"/>
              <a:gd name="T2" fmla="*/ 0 w 33"/>
              <a:gd name="T3" fmla="*/ 2147483647 h 18"/>
              <a:gd name="T4" fmla="*/ 2147483647 w 33"/>
              <a:gd name="T5" fmla="*/ 2147483647 h 18"/>
              <a:gd name="T6" fmla="*/ 2147483647 w 33"/>
              <a:gd name="T7" fmla="*/ 2147483647 h 18"/>
              <a:gd name="T8" fmla="*/ 2147483647 w 33"/>
              <a:gd name="T9" fmla="*/ 2147483647 h 18"/>
              <a:gd name="T10" fmla="*/ 2147483647 w 33"/>
              <a:gd name="T11" fmla="*/ 0 h 18"/>
              <a:gd name="T12" fmla="*/ 2147483647 w 33"/>
              <a:gd name="T13" fmla="*/ 0 h 18"/>
              <a:gd name="T14" fmla="*/ 0 w 33"/>
              <a:gd name="T15" fmla="*/ 2147483647 h 1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3"/>
              <a:gd name="T25" fmla="*/ 0 h 18"/>
              <a:gd name="T26" fmla="*/ 33 w 33"/>
              <a:gd name="T27" fmla="*/ 18 h 1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3" h="18">
                <a:moveTo>
                  <a:pt x="0" y="7"/>
                </a:moveTo>
                <a:lnTo>
                  <a:pt x="0" y="17"/>
                </a:lnTo>
                <a:lnTo>
                  <a:pt x="9" y="17"/>
                </a:lnTo>
                <a:lnTo>
                  <a:pt x="15" y="7"/>
                </a:lnTo>
                <a:lnTo>
                  <a:pt x="24" y="7"/>
                </a:lnTo>
                <a:lnTo>
                  <a:pt x="32" y="0"/>
                </a:lnTo>
                <a:lnTo>
                  <a:pt x="15" y="0"/>
                </a:lnTo>
                <a:lnTo>
                  <a:pt x="0" y="7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86" name="Freeform 249"/>
          <p:cNvSpPr>
            <a:spLocks/>
          </p:cNvSpPr>
          <p:nvPr>
            <p:custDataLst>
              <p:tags r:id="rId197"/>
            </p:custDataLst>
          </p:nvPr>
        </p:nvSpPr>
        <p:spPr bwMode="gray">
          <a:xfrm>
            <a:off x="6921500" y="4221163"/>
            <a:ext cx="215900" cy="204787"/>
          </a:xfrm>
          <a:custGeom>
            <a:avLst/>
            <a:gdLst>
              <a:gd name="T0" fmla="*/ 0 w 138"/>
              <a:gd name="T1" fmla="*/ 2147483647 h 130"/>
              <a:gd name="T2" fmla="*/ 0 w 138"/>
              <a:gd name="T3" fmla="*/ 2147483647 h 130"/>
              <a:gd name="T4" fmla="*/ 2147483647 w 138"/>
              <a:gd name="T5" fmla="*/ 2147483647 h 130"/>
              <a:gd name="T6" fmla="*/ 2147483647 w 138"/>
              <a:gd name="T7" fmla="*/ 2147483647 h 130"/>
              <a:gd name="T8" fmla="*/ 2147483647 w 138"/>
              <a:gd name="T9" fmla="*/ 2147483647 h 130"/>
              <a:gd name="T10" fmla="*/ 2147483647 w 138"/>
              <a:gd name="T11" fmla="*/ 2147483647 h 130"/>
              <a:gd name="T12" fmla="*/ 2147483647 w 138"/>
              <a:gd name="T13" fmla="*/ 2147483647 h 130"/>
              <a:gd name="T14" fmla="*/ 2147483647 w 138"/>
              <a:gd name="T15" fmla="*/ 2147483647 h 130"/>
              <a:gd name="T16" fmla="*/ 2147483647 w 138"/>
              <a:gd name="T17" fmla="*/ 2147483647 h 130"/>
              <a:gd name="T18" fmla="*/ 2147483647 w 138"/>
              <a:gd name="T19" fmla="*/ 2147483647 h 130"/>
              <a:gd name="T20" fmla="*/ 2147483647 w 138"/>
              <a:gd name="T21" fmla="*/ 2147483647 h 130"/>
              <a:gd name="T22" fmla="*/ 2147483647 w 138"/>
              <a:gd name="T23" fmla="*/ 2147483647 h 130"/>
              <a:gd name="T24" fmla="*/ 2147483647 w 138"/>
              <a:gd name="T25" fmla="*/ 2147483647 h 130"/>
              <a:gd name="T26" fmla="*/ 2147483647 w 138"/>
              <a:gd name="T27" fmla="*/ 2147483647 h 130"/>
              <a:gd name="T28" fmla="*/ 2147483647 w 138"/>
              <a:gd name="T29" fmla="*/ 2147483647 h 130"/>
              <a:gd name="T30" fmla="*/ 2147483647 w 138"/>
              <a:gd name="T31" fmla="*/ 2147483647 h 130"/>
              <a:gd name="T32" fmla="*/ 2147483647 w 138"/>
              <a:gd name="T33" fmla="*/ 2147483647 h 130"/>
              <a:gd name="T34" fmla="*/ 2147483647 w 138"/>
              <a:gd name="T35" fmla="*/ 2147483647 h 130"/>
              <a:gd name="T36" fmla="*/ 2147483647 w 138"/>
              <a:gd name="T37" fmla="*/ 2147483647 h 130"/>
              <a:gd name="T38" fmla="*/ 2147483647 w 138"/>
              <a:gd name="T39" fmla="*/ 2147483647 h 130"/>
              <a:gd name="T40" fmla="*/ 2147483647 w 138"/>
              <a:gd name="T41" fmla="*/ 2147483647 h 130"/>
              <a:gd name="T42" fmla="*/ 2147483647 w 138"/>
              <a:gd name="T43" fmla="*/ 0 h 130"/>
              <a:gd name="T44" fmla="*/ 2147483647 w 138"/>
              <a:gd name="T45" fmla="*/ 2147483647 h 130"/>
              <a:gd name="T46" fmla="*/ 2147483647 w 138"/>
              <a:gd name="T47" fmla="*/ 2147483647 h 130"/>
              <a:gd name="T48" fmla="*/ 2147483647 w 138"/>
              <a:gd name="T49" fmla="*/ 2147483647 h 130"/>
              <a:gd name="T50" fmla="*/ 2147483647 w 138"/>
              <a:gd name="T51" fmla="*/ 2147483647 h 130"/>
              <a:gd name="T52" fmla="*/ 2147483647 w 138"/>
              <a:gd name="T53" fmla="*/ 2147483647 h 130"/>
              <a:gd name="T54" fmla="*/ 2147483647 w 138"/>
              <a:gd name="T55" fmla="*/ 2147483647 h 130"/>
              <a:gd name="T56" fmla="*/ 2147483647 w 138"/>
              <a:gd name="T57" fmla="*/ 2147483647 h 130"/>
              <a:gd name="T58" fmla="*/ 2147483647 w 138"/>
              <a:gd name="T59" fmla="*/ 2147483647 h 130"/>
              <a:gd name="T60" fmla="*/ 2147483647 w 138"/>
              <a:gd name="T61" fmla="*/ 2147483647 h 130"/>
              <a:gd name="T62" fmla="*/ 2147483647 w 138"/>
              <a:gd name="T63" fmla="*/ 2147483647 h 130"/>
              <a:gd name="T64" fmla="*/ 0 w 138"/>
              <a:gd name="T65" fmla="*/ 2147483647 h 13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38"/>
              <a:gd name="T100" fmla="*/ 0 h 130"/>
              <a:gd name="T101" fmla="*/ 138 w 138"/>
              <a:gd name="T102" fmla="*/ 130 h 130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38" h="130">
                <a:moveTo>
                  <a:pt x="0" y="114"/>
                </a:moveTo>
                <a:lnTo>
                  <a:pt x="0" y="122"/>
                </a:lnTo>
                <a:lnTo>
                  <a:pt x="16" y="122"/>
                </a:lnTo>
                <a:lnTo>
                  <a:pt x="48" y="105"/>
                </a:lnTo>
                <a:lnTo>
                  <a:pt x="56" y="114"/>
                </a:lnTo>
                <a:lnTo>
                  <a:pt x="56" y="122"/>
                </a:lnTo>
                <a:lnTo>
                  <a:pt x="65" y="129"/>
                </a:lnTo>
                <a:lnTo>
                  <a:pt x="72" y="114"/>
                </a:lnTo>
                <a:lnTo>
                  <a:pt x="72" y="105"/>
                </a:lnTo>
                <a:lnTo>
                  <a:pt x="80" y="114"/>
                </a:lnTo>
                <a:lnTo>
                  <a:pt x="88" y="114"/>
                </a:lnTo>
                <a:lnTo>
                  <a:pt x="97" y="105"/>
                </a:lnTo>
                <a:lnTo>
                  <a:pt x="105" y="114"/>
                </a:lnTo>
                <a:lnTo>
                  <a:pt x="105" y="105"/>
                </a:lnTo>
                <a:lnTo>
                  <a:pt x="112" y="97"/>
                </a:lnTo>
                <a:lnTo>
                  <a:pt x="112" y="105"/>
                </a:lnTo>
                <a:lnTo>
                  <a:pt x="121" y="105"/>
                </a:lnTo>
                <a:lnTo>
                  <a:pt x="130" y="97"/>
                </a:lnTo>
                <a:lnTo>
                  <a:pt x="130" y="57"/>
                </a:lnTo>
                <a:lnTo>
                  <a:pt x="137" y="57"/>
                </a:lnTo>
                <a:lnTo>
                  <a:pt x="137" y="8"/>
                </a:lnTo>
                <a:lnTo>
                  <a:pt x="130" y="0"/>
                </a:lnTo>
                <a:lnTo>
                  <a:pt x="130" y="8"/>
                </a:lnTo>
                <a:lnTo>
                  <a:pt x="121" y="8"/>
                </a:lnTo>
                <a:lnTo>
                  <a:pt x="112" y="40"/>
                </a:lnTo>
                <a:lnTo>
                  <a:pt x="97" y="65"/>
                </a:lnTo>
                <a:lnTo>
                  <a:pt x="80" y="82"/>
                </a:lnTo>
                <a:lnTo>
                  <a:pt x="80" y="65"/>
                </a:lnTo>
                <a:lnTo>
                  <a:pt x="72" y="73"/>
                </a:lnTo>
                <a:lnTo>
                  <a:pt x="65" y="97"/>
                </a:lnTo>
                <a:lnTo>
                  <a:pt x="56" y="97"/>
                </a:lnTo>
                <a:lnTo>
                  <a:pt x="25" y="97"/>
                </a:lnTo>
                <a:lnTo>
                  <a:pt x="0" y="114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87" name="Freeform 250"/>
          <p:cNvSpPr>
            <a:spLocks/>
          </p:cNvSpPr>
          <p:nvPr>
            <p:custDataLst>
              <p:tags r:id="rId198"/>
            </p:custDataLst>
          </p:nvPr>
        </p:nvSpPr>
        <p:spPr bwMode="gray">
          <a:xfrm>
            <a:off x="7096125" y="4106863"/>
            <a:ext cx="130175" cy="115887"/>
          </a:xfrm>
          <a:custGeom>
            <a:avLst/>
            <a:gdLst>
              <a:gd name="T0" fmla="*/ 0 w 82"/>
              <a:gd name="T1" fmla="*/ 2147483647 h 74"/>
              <a:gd name="T2" fmla="*/ 0 w 82"/>
              <a:gd name="T3" fmla="*/ 2147483647 h 74"/>
              <a:gd name="T4" fmla="*/ 2147483647 w 82"/>
              <a:gd name="T5" fmla="*/ 2147483647 h 74"/>
              <a:gd name="T6" fmla="*/ 2147483647 w 82"/>
              <a:gd name="T7" fmla="*/ 2147483647 h 74"/>
              <a:gd name="T8" fmla="*/ 2147483647 w 82"/>
              <a:gd name="T9" fmla="*/ 2147483647 h 74"/>
              <a:gd name="T10" fmla="*/ 2147483647 w 82"/>
              <a:gd name="T11" fmla="*/ 2147483647 h 74"/>
              <a:gd name="T12" fmla="*/ 2147483647 w 82"/>
              <a:gd name="T13" fmla="*/ 2147483647 h 74"/>
              <a:gd name="T14" fmla="*/ 2147483647 w 82"/>
              <a:gd name="T15" fmla="*/ 2147483647 h 74"/>
              <a:gd name="T16" fmla="*/ 2147483647 w 82"/>
              <a:gd name="T17" fmla="*/ 2147483647 h 74"/>
              <a:gd name="T18" fmla="*/ 2147483647 w 82"/>
              <a:gd name="T19" fmla="*/ 2147483647 h 74"/>
              <a:gd name="T20" fmla="*/ 2147483647 w 82"/>
              <a:gd name="T21" fmla="*/ 2147483647 h 74"/>
              <a:gd name="T22" fmla="*/ 2147483647 w 82"/>
              <a:gd name="T23" fmla="*/ 2147483647 h 74"/>
              <a:gd name="T24" fmla="*/ 2147483647 w 82"/>
              <a:gd name="T25" fmla="*/ 2147483647 h 74"/>
              <a:gd name="T26" fmla="*/ 2147483647 w 82"/>
              <a:gd name="T27" fmla="*/ 2147483647 h 74"/>
              <a:gd name="T28" fmla="*/ 2147483647 w 82"/>
              <a:gd name="T29" fmla="*/ 2147483647 h 74"/>
              <a:gd name="T30" fmla="*/ 2147483647 w 82"/>
              <a:gd name="T31" fmla="*/ 0 h 74"/>
              <a:gd name="T32" fmla="*/ 2147483647 w 82"/>
              <a:gd name="T33" fmla="*/ 2147483647 h 74"/>
              <a:gd name="T34" fmla="*/ 2147483647 w 82"/>
              <a:gd name="T35" fmla="*/ 2147483647 h 74"/>
              <a:gd name="T36" fmla="*/ 2147483647 w 82"/>
              <a:gd name="T37" fmla="*/ 2147483647 h 74"/>
              <a:gd name="T38" fmla="*/ 2147483647 w 82"/>
              <a:gd name="T39" fmla="*/ 2147483647 h 74"/>
              <a:gd name="T40" fmla="*/ 2147483647 w 82"/>
              <a:gd name="T41" fmla="*/ 2147483647 h 74"/>
              <a:gd name="T42" fmla="*/ 0 w 82"/>
              <a:gd name="T43" fmla="*/ 2147483647 h 74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82"/>
              <a:gd name="T67" fmla="*/ 0 h 74"/>
              <a:gd name="T68" fmla="*/ 82 w 82"/>
              <a:gd name="T69" fmla="*/ 74 h 74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82" h="74">
                <a:moveTo>
                  <a:pt x="0" y="56"/>
                </a:moveTo>
                <a:lnTo>
                  <a:pt x="0" y="73"/>
                </a:lnTo>
                <a:lnTo>
                  <a:pt x="18" y="65"/>
                </a:lnTo>
                <a:lnTo>
                  <a:pt x="9" y="65"/>
                </a:lnTo>
                <a:lnTo>
                  <a:pt x="9" y="56"/>
                </a:lnTo>
                <a:lnTo>
                  <a:pt x="25" y="56"/>
                </a:lnTo>
                <a:lnTo>
                  <a:pt x="50" y="65"/>
                </a:lnTo>
                <a:lnTo>
                  <a:pt x="58" y="50"/>
                </a:lnTo>
                <a:lnTo>
                  <a:pt x="65" y="50"/>
                </a:lnTo>
                <a:lnTo>
                  <a:pt x="81" y="41"/>
                </a:lnTo>
                <a:lnTo>
                  <a:pt x="75" y="41"/>
                </a:lnTo>
                <a:lnTo>
                  <a:pt x="65" y="31"/>
                </a:lnTo>
                <a:lnTo>
                  <a:pt x="75" y="25"/>
                </a:lnTo>
                <a:lnTo>
                  <a:pt x="65" y="31"/>
                </a:lnTo>
                <a:lnTo>
                  <a:pt x="50" y="25"/>
                </a:lnTo>
                <a:lnTo>
                  <a:pt x="25" y="0"/>
                </a:lnTo>
                <a:lnTo>
                  <a:pt x="25" y="9"/>
                </a:lnTo>
                <a:lnTo>
                  <a:pt x="25" y="16"/>
                </a:lnTo>
                <a:lnTo>
                  <a:pt x="18" y="50"/>
                </a:lnTo>
                <a:lnTo>
                  <a:pt x="9" y="41"/>
                </a:lnTo>
                <a:lnTo>
                  <a:pt x="9" y="50"/>
                </a:lnTo>
                <a:lnTo>
                  <a:pt x="0" y="56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88" name="Freeform 251"/>
          <p:cNvSpPr>
            <a:spLocks/>
          </p:cNvSpPr>
          <p:nvPr>
            <p:custDataLst>
              <p:tags r:id="rId199"/>
            </p:custDataLst>
          </p:nvPr>
        </p:nvSpPr>
        <p:spPr bwMode="gray">
          <a:xfrm>
            <a:off x="7402513" y="3954463"/>
            <a:ext cx="28575" cy="25400"/>
          </a:xfrm>
          <a:custGeom>
            <a:avLst/>
            <a:gdLst>
              <a:gd name="T0" fmla="*/ 0 w 18"/>
              <a:gd name="T1" fmla="*/ 2147483647 h 17"/>
              <a:gd name="T2" fmla="*/ 0 w 18"/>
              <a:gd name="T3" fmla="*/ 2147483647 h 17"/>
              <a:gd name="T4" fmla="*/ 2147483647 w 18"/>
              <a:gd name="T5" fmla="*/ 2147483647 h 17"/>
              <a:gd name="T6" fmla="*/ 2147483647 w 18"/>
              <a:gd name="T7" fmla="*/ 0 h 17"/>
              <a:gd name="T8" fmla="*/ 0 w 18"/>
              <a:gd name="T9" fmla="*/ 2147483647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8"/>
              <a:gd name="T16" fmla="*/ 0 h 17"/>
              <a:gd name="T17" fmla="*/ 18 w 18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8" h="17">
                <a:moveTo>
                  <a:pt x="0" y="8"/>
                </a:moveTo>
                <a:lnTo>
                  <a:pt x="0" y="16"/>
                </a:lnTo>
                <a:lnTo>
                  <a:pt x="8" y="8"/>
                </a:lnTo>
                <a:lnTo>
                  <a:pt x="17" y="0"/>
                </a:lnTo>
                <a:lnTo>
                  <a:pt x="0" y="8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89" name="Freeform 252"/>
          <p:cNvSpPr>
            <a:spLocks/>
          </p:cNvSpPr>
          <p:nvPr>
            <p:custDataLst>
              <p:tags r:id="rId200"/>
            </p:custDataLst>
          </p:nvPr>
        </p:nvSpPr>
        <p:spPr bwMode="gray">
          <a:xfrm>
            <a:off x="7402513" y="3954463"/>
            <a:ext cx="28575" cy="25400"/>
          </a:xfrm>
          <a:custGeom>
            <a:avLst/>
            <a:gdLst>
              <a:gd name="T0" fmla="*/ 0 w 18"/>
              <a:gd name="T1" fmla="*/ 2147483647 h 17"/>
              <a:gd name="T2" fmla="*/ 0 w 18"/>
              <a:gd name="T3" fmla="*/ 2147483647 h 17"/>
              <a:gd name="T4" fmla="*/ 2147483647 w 18"/>
              <a:gd name="T5" fmla="*/ 2147483647 h 17"/>
              <a:gd name="T6" fmla="*/ 2147483647 w 18"/>
              <a:gd name="T7" fmla="*/ 0 h 17"/>
              <a:gd name="T8" fmla="*/ 0 w 18"/>
              <a:gd name="T9" fmla="*/ 2147483647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8"/>
              <a:gd name="T16" fmla="*/ 0 h 17"/>
              <a:gd name="T17" fmla="*/ 18 w 18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8" h="17">
                <a:moveTo>
                  <a:pt x="0" y="8"/>
                </a:moveTo>
                <a:lnTo>
                  <a:pt x="0" y="16"/>
                </a:lnTo>
                <a:lnTo>
                  <a:pt x="8" y="8"/>
                </a:lnTo>
                <a:lnTo>
                  <a:pt x="17" y="0"/>
                </a:lnTo>
                <a:lnTo>
                  <a:pt x="0" y="8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90" name="Freeform 253"/>
          <p:cNvSpPr>
            <a:spLocks/>
          </p:cNvSpPr>
          <p:nvPr>
            <p:custDataLst>
              <p:tags r:id="rId201"/>
            </p:custDataLst>
          </p:nvPr>
        </p:nvSpPr>
        <p:spPr bwMode="gray">
          <a:xfrm>
            <a:off x="7569200" y="3662363"/>
            <a:ext cx="25400" cy="25400"/>
          </a:xfrm>
          <a:custGeom>
            <a:avLst/>
            <a:gdLst>
              <a:gd name="T0" fmla="*/ 0 w 17"/>
              <a:gd name="T1" fmla="*/ 2147483647 h 17"/>
              <a:gd name="T2" fmla="*/ 2147483647 w 17"/>
              <a:gd name="T3" fmla="*/ 2147483647 h 17"/>
              <a:gd name="T4" fmla="*/ 2147483647 w 17"/>
              <a:gd name="T5" fmla="*/ 0 h 17"/>
              <a:gd name="T6" fmla="*/ 2147483647 w 17"/>
              <a:gd name="T7" fmla="*/ 0 h 17"/>
              <a:gd name="T8" fmla="*/ 0 w 17"/>
              <a:gd name="T9" fmla="*/ 2147483647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17"/>
              <a:gd name="T17" fmla="*/ 17 w 17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17">
                <a:moveTo>
                  <a:pt x="0" y="16"/>
                </a:moveTo>
                <a:lnTo>
                  <a:pt x="16" y="7"/>
                </a:lnTo>
                <a:lnTo>
                  <a:pt x="16" y="0"/>
                </a:lnTo>
                <a:lnTo>
                  <a:pt x="10" y="0"/>
                </a:lnTo>
                <a:lnTo>
                  <a:pt x="0" y="16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91" name="Freeform 254"/>
          <p:cNvSpPr>
            <a:spLocks/>
          </p:cNvSpPr>
          <p:nvPr>
            <p:custDataLst>
              <p:tags r:id="rId202"/>
            </p:custDataLst>
          </p:nvPr>
        </p:nvSpPr>
        <p:spPr bwMode="gray">
          <a:xfrm>
            <a:off x="7569200" y="3662363"/>
            <a:ext cx="25400" cy="25400"/>
          </a:xfrm>
          <a:custGeom>
            <a:avLst/>
            <a:gdLst>
              <a:gd name="T0" fmla="*/ 0 w 17"/>
              <a:gd name="T1" fmla="*/ 2147483647 h 17"/>
              <a:gd name="T2" fmla="*/ 2147483647 w 17"/>
              <a:gd name="T3" fmla="*/ 2147483647 h 17"/>
              <a:gd name="T4" fmla="*/ 2147483647 w 17"/>
              <a:gd name="T5" fmla="*/ 0 h 17"/>
              <a:gd name="T6" fmla="*/ 2147483647 w 17"/>
              <a:gd name="T7" fmla="*/ 0 h 17"/>
              <a:gd name="T8" fmla="*/ 0 w 17"/>
              <a:gd name="T9" fmla="*/ 2147483647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17"/>
              <a:gd name="T17" fmla="*/ 17 w 17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17">
                <a:moveTo>
                  <a:pt x="0" y="16"/>
                </a:moveTo>
                <a:lnTo>
                  <a:pt x="16" y="7"/>
                </a:lnTo>
                <a:lnTo>
                  <a:pt x="16" y="0"/>
                </a:lnTo>
                <a:lnTo>
                  <a:pt x="10" y="0"/>
                </a:lnTo>
                <a:lnTo>
                  <a:pt x="0" y="16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92" name="Freeform 255"/>
          <p:cNvSpPr>
            <a:spLocks/>
          </p:cNvSpPr>
          <p:nvPr>
            <p:custDataLst>
              <p:tags r:id="rId203"/>
            </p:custDataLst>
          </p:nvPr>
        </p:nvSpPr>
        <p:spPr bwMode="gray">
          <a:xfrm>
            <a:off x="7135813" y="3838575"/>
            <a:ext cx="52387" cy="269875"/>
          </a:xfrm>
          <a:custGeom>
            <a:avLst/>
            <a:gdLst>
              <a:gd name="T0" fmla="*/ 0 w 34"/>
              <a:gd name="T1" fmla="*/ 2147483647 h 172"/>
              <a:gd name="T2" fmla="*/ 0 w 34"/>
              <a:gd name="T3" fmla="*/ 2147483647 h 172"/>
              <a:gd name="T4" fmla="*/ 2147483647 w 34"/>
              <a:gd name="T5" fmla="*/ 2147483647 h 172"/>
              <a:gd name="T6" fmla="*/ 0 w 34"/>
              <a:gd name="T7" fmla="*/ 2147483647 h 172"/>
              <a:gd name="T8" fmla="*/ 2147483647 w 34"/>
              <a:gd name="T9" fmla="*/ 2147483647 h 172"/>
              <a:gd name="T10" fmla="*/ 0 w 34"/>
              <a:gd name="T11" fmla="*/ 2147483647 h 172"/>
              <a:gd name="T12" fmla="*/ 2147483647 w 34"/>
              <a:gd name="T13" fmla="*/ 2147483647 h 172"/>
              <a:gd name="T14" fmla="*/ 2147483647 w 34"/>
              <a:gd name="T15" fmla="*/ 2147483647 h 172"/>
              <a:gd name="T16" fmla="*/ 2147483647 w 34"/>
              <a:gd name="T17" fmla="*/ 2147483647 h 172"/>
              <a:gd name="T18" fmla="*/ 2147483647 w 34"/>
              <a:gd name="T19" fmla="*/ 2147483647 h 172"/>
              <a:gd name="T20" fmla="*/ 2147483647 w 34"/>
              <a:gd name="T21" fmla="*/ 2147483647 h 172"/>
              <a:gd name="T22" fmla="*/ 2147483647 w 34"/>
              <a:gd name="T23" fmla="*/ 2147483647 h 172"/>
              <a:gd name="T24" fmla="*/ 2147483647 w 34"/>
              <a:gd name="T25" fmla="*/ 2147483647 h 172"/>
              <a:gd name="T26" fmla="*/ 2147483647 w 34"/>
              <a:gd name="T27" fmla="*/ 2147483647 h 172"/>
              <a:gd name="T28" fmla="*/ 2147483647 w 34"/>
              <a:gd name="T29" fmla="*/ 2147483647 h 172"/>
              <a:gd name="T30" fmla="*/ 2147483647 w 34"/>
              <a:gd name="T31" fmla="*/ 2147483647 h 172"/>
              <a:gd name="T32" fmla="*/ 2147483647 w 34"/>
              <a:gd name="T33" fmla="*/ 0 h 172"/>
              <a:gd name="T34" fmla="*/ 2147483647 w 34"/>
              <a:gd name="T35" fmla="*/ 0 h 172"/>
              <a:gd name="T36" fmla="*/ 2147483647 w 34"/>
              <a:gd name="T37" fmla="*/ 2147483647 h 172"/>
              <a:gd name="T38" fmla="*/ 0 w 34"/>
              <a:gd name="T39" fmla="*/ 2147483647 h 172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34"/>
              <a:gd name="T61" fmla="*/ 0 h 172"/>
              <a:gd name="T62" fmla="*/ 34 w 34"/>
              <a:gd name="T63" fmla="*/ 172 h 172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34" h="172">
                <a:moveTo>
                  <a:pt x="0" y="18"/>
                </a:moveTo>
                <a:lnTo>
                  <a:pt x="0" y="59"/>
                </a:lnTo>
                <a:lnTo>
                  <a:pt x="8" y="65"/>
                </a:lnTo>
                <a:lnTo>
                  <a:pt x="0" y="115"/>
                </a:lnTo>
                <a:lnTo>
                  <a:pt x="8" y="131"/>
                </a:lnTo>
                <a:lnTo>
                  <a:pt x="0" y="155"/>
                </a:lnTo>
                <a:lnTo>
                  <a:pt x="8" y="171"/>
                </a:lnTo>
                <a:lnTo>
                  <a:pt x="8" y="155"/>
                </a:lnTo>
                <a:lnTo>
                  <a:pt x="25" y="162"/>
                </a:lnTo>
                <a:lnTo>
                  <a:pt x="25" y="155"/>
                </a:lnTo>
                <a:lnTo>
                  <a:pt x="8" y="131"/>
                </a:lnTo>
                <a:lnTo>
                  <a:pt x="16" y="107"/>
                </a:lnTo>
                <a:lnTo>
                  <a:pt x="25" y="107"/>
                </a:lnTo>
                <a:lnTo>
                  <a:pt x="33" y="107"/>
                </a:lnTo>
                <a:lnTo>
                  <a:pt x="16" y="50"/>
                </a:lnTo>
                <a:lnTo>
                  <a:pt x="16" y="10"/>
                </a:lnTo>
                <a:lnTo>
                  <a:pt x="16" y="0"/>
                </a:lnTo>
                <a:lnTo>
                  <a:pt x="8" y="0"/>
                </a:lnTo>
                <a:lnTo>
                  <a:pt x="8" y="10"/>
                </a:lnTo>
                <a:lnTo>
                  <a:pt x="0" y="18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93" name="Freeform 256"/>
          <p:cNvSpPr>
            <a:spLocks/>
          </p:cNvSpPr>
          <p:nvPr>
            <p:custDataLst>
              <p:tags r:id="rId204"/>
            </p:custDataLst>
          </p:nvPr>
        </p:nvSpPr>
        <p:spPr bwMode="gray">
          <a:xfrm>
            <a:off x="7875588" y="3051175"/>
            <a:ext cx="90487" cy="52388"/>
          </a:xfrm>
          <a:custGeom>
            <a:avLst/>
            <a:gdLst>
              <a:gd name="T0" fmla="*/ 2147483647 w 59"/>
              <a:gd name="T1" fmla="*/ 2147483647 h 33"/>
              <a:gd name="T2" fmla="*/ 2147483647 w 59"/>
              <a:gd name="T3" fmla="*/ 2147483647 h 33"/>
              <a:gd name="T4" fmla="*/ 2147483647 w 59"/>
              <a:gd name="T5" fmla="*/ 2147483647 h 33"/>
              <a:gd name="T6" fmla="*/ 2147483647 w 59"/>
              <a:gd name="T7" fmla="*/ 0 h 33"/>
              <a:gd name="T8" fmla="*/ 2147483647 w 59"/>
              <a:gd name="T9" fmla="*/ 0 h 33"/>
              <a:gd name="T10" fmla="*/ 0 w 59"/>
              <a:gd name="T11" fmla="*/ 2147483647 h 33"/>
              <a:gd name="T12" fmla="*/ 2147483647 w 59"/>
              <a:gd name="T13" fmla="*/ 2147483647 h 33"/>
              <a:gd name="T14" fmla="*/ 2147483647 w 59"/>
              <a:gd name="T15" fmla="*/ 2147483647 h 3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9"/>
              <a:gd name="T25" fmla="*/ 0 h 33"/>
              <a:gd name="T26" fmla="*/ 59 w 59"/>
              <a:gd name="T27" fmla="*/ 33 h 3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9" h="33">
                <a:moveTo>
                  <a:pt x="18" y="25"/>
                </a:moveTo>
                <a:lnTo>
                  <a:pt x="33" y="25"/>
                </a:lnTo>
                <a:lnTo>
                  <a:pt x="58" y="16"/>
                </a:lnTo>
                <a:lnTo>
                  <a:pt x="42" y="0"/>
                </a:lnTo>
                <a:lnTo>
                  <a:pt x="18" y="0"/>
                </a:lnTo>
                <a:lnTo>
                  <a:pt x="0" y="16"/>
                </a:lnTo>
                <a:lnTo>
                  <a:pt x="8" y="32"/>
                </a:lnTo>
                <a:lnTo>
                  <a:pt x="18" y="25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94" name="Freeform 257"/>
          <p:cNvSpPr>
            <a:spLocks/>
          </p:cNvSpPr>
          <p:nvPr>
            <p:custDataLst>
              <p:tags r:id="rId205"/>
            </p:custDataLst>
          </p:nvPr>
        </p:nvSpPr>
        <p:spPr bwMode="gray">
          <a:xfrm>
            <a:off x="7110413" y="2897188"/>
            <a:ext cx="66675" cy="55562"/>
          </a:xfrm>
          <a:custGeom>
            <a:avLst/>
            <a:gdLst>
              <a:gd name="T0" fmla="*/ 0 w 42"/>
              <a:gd name="T1" fmla="*/ 2147483647 h 35"/>
              <a:gd name="T2" fmla="*/ 2147483647 w 42"/>
              <a:gd name="T3" fmla="*/ 2147483647 h 35"/>
              <a:gd name="T4" fmla="*/ 2147483647 w 42"/>
              <a:gd name="T5" fmla="*/ 2147483647 h 35"/>
              <a:gd name="T6" fmla="*/ 2147483647 w 42"/>
              <a:gd name="T7" fmla="*/ 2147483647 h 35"/>
              <a:gd name="T8" fmla="*/ 2147483647 w 42"/>
              <a:gd name="T9" fmla="*/ 0 h 35"/>
              <a:gd name="T10" fmla="*/ 2147483647 w 42"/>
              <a:gd name="T11" fmla="*/ 0 h 35"/>
              <a:gd name="T12" fmla="*/ 0 w 42"/>
              <a:gd name="T13" fmla="*/ 2147483647 h 3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2"/>
              <a:gd name="T22" fmla="*/ 0 h 35"/>
              <a:gd name="T23" fmla="*/ 42 w 42"/>
              <a:gd name="T24" fmla="*/ 35 h 3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2" h="35">
                <a:moveTo>
                  <a:pt x="0" y="17"/>
                </a:moveTo>
                <a:lnTo>
                  <a:pt x="16" y="24"/>
                </a:lnTo>
                <a:lnTo>
                  <a:pt x="41" y="34"/>
                </a:lnTo>
                <a:lnTo>
                  <a:pt x="41" y="17"/>
                </a:lnTo>
                <a:lnTo>
                  <a:pt x="24" y="0"/>
                </a:lnTo>
                <a:lnTo>
                  <a:pt x="9" y="0"/>
                </a:lnTo>
                <a:lnTo>
                  <a:pt x="0" y="17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95" name="Freeform 258"/>
          <p:cNvSpPr>
            <a:spLocks/>
          </p:cNvSpPr>
          <p:nvPr>
            <p:custDataLst>
              <p:tags r:id="rId206"/>
            </p:custDataLst>
          </p:nvPr>
        </p:nvSpPr>
        <p:spPr bwMode="gray">
          <a:xfrm>
            <a:off x="7110413" y="2871788"/>
            <a:ext cx="26987" cy="28575"/>
          </a:xfrm>
          <a:custGeom>
            <a:avLst/>
            <a:gdLst>
              <a:gd name="T0" fmla="*/ 0 w 17"/>
              <a:gd name="T1" fmla="*/ 0 h 17"/>
              <a:gd name="T2" fmla="*/ 0 w 17"/>
              <a:gd name="T3" fmla="*/ 2147483647 h 17"/>
              <a:gd name="T4" fmla="*/ 2147483647 w 17"/>
              <a:gd name="T5" fmla="*/ 2147483647 h 17"/>
              <a:gd name="T6" fmla="*/ 2147483647 w 17"/>
              <a:gd name="T7" fmla="*/ 0 h 17"/>
              <a:gd name="T8" fmla="*/ 0 w 17"/>
              <a:gd name="T9" fmla="*/ 0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17"/>
              <a:gd name="T17" fmla="*/ 17 w 17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17">
                <a:moveTo>
                  <a:pt x="0" y="0"/>
                </a:moveTo>
                <a:lnTo>
                  <a:pt x="0" y="16"/>
                </a:lnTo>
                <a:lnTo>
                  <a:pt x="16" y="9"/>
                </a:lnTo>
                <a:lnTo>
                  <a:pt x="16" y="0"/>
                </a:lnTo>
                <a:lnTo>
                  <a:pt x="0" y="0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96" name="Freeform 259"/>
          <p:cNvSpPr>
            <a:spLocks/>
          </p:cNvSpPr>
          <p:nvPr>
            <p:custDataLst>
              <p:tags r:id="rId207"/>
            </p:custDataLst>
          </p:nvPr>
        </p:nvSpPr>
        <p:spPr bwMode="gray">
          <a:xfrm>
            <a:off x="7237413" y="2773363"/>
            <a:ext cx="92075" cy="63500"/>
          </a:xfrm>
          <a:custGeom>
            <a:avLst/>
            <a:gdLst>
              <a:gd name="T0" fmla="*/ 0 w 58"/>
              <a:gd name="T1" fmla="*/ 0 h 41"/>
              <a:gd name="T2" fmla="*/ 2147483647 w 58"/>
              <a:gd name="T3" fmla="*/ 2147483647 h 41"/>
              <a:gd name="T4" fmla="*/ 2147483647 w 58"/>
              <a:gd name="T5" fmla="*/ 2147483647 h 41"/>
              <a:gd name="T6" fmla="*/ 2147483647 w 58"/>
              <a:gd name="T7" fmla="*/ 2147483647 h 41"/>
              <a:gd name="T8" fmla="*/ 2147483647 w 58"/>
              <a:gd name="T9" fmla="*/ 2147483647 h 41"/>
              <a:gd name="T10" fmla="*/ 2147483647 w 58"/>
              <a:gd name="T11" fmla="*/ 2147483647 h 41"/>
              <a:gd name="T12" fmla="*/ 0 w 58"/>
              <a:gd name="T13" fmla="*/ 0 h 4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8"/>
              <a:gd name="T22" fmla="*/ 0 h 41"/>
              <a:gd name="T23" fmla="*/ 58 w 58"/>
              <a:gd name="T24" fmla="*/ 41 h 4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8" h="41">
                <a:moveTo>
                  <a:pt x="0" y="0"/>
                </a:moveTo>
                <a:lnTo>
                  <a:pt x="9" y="23"/>
                </a:lnTo>
                <a:lnTo>
                  <a:pt x="32" y="40"/>
                </a:lnTo>
                <a:lnTo>
                  <a:pt x="50" y="40"/>
                </a:lnTo>
                <a:lnTo>
                  <a:pt x="57" y="16"/>
                </a:lnTo>
                <a:lnTo>
                  <a:pt x="9" y="6"/>
                </a:lnTo>
                <a:lnTo>
                  <a:pt x="0" y="0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97" name="Freeform 260"/>
          <p:cNvSpPr>
            <a:spLocks/>
          </p:cNvSpPr>
          <p:nvPr>
            <p:custDataLst>
              <p:tags r:id="rId208"/>
            </p:custDataLst>
          </p:nvPr>
        </p:nvSpPr>
        <p:spPr bwMode="gray">
          <a:xfrm>
            <a:off x="7046913" y="2719388"/>
            <a:ext cx="153987" cy="117475"/>
          </a:xfrm>
          <a:custGeom>
            <a:avLst/>
            <a:gdLst>
              <a:gd name="T0" fmla="*/ 0 w 98"/>
              <a:gd name="T1" fmla="*/ 2147483647 h 75"/>
              <a:gd name="T2" fmla="*/ 2147483647 w 98"/>
              <a:gd name="T3" fmla="*/ 2147483647 h 75"/>
              <a:gd name="T4" fmla="*/ 2147483647 w 98"/>
              <a:gd name="T5" fmla="*/ 2147483647 h 75"/>
              <a:gd name="T6" fmla="*/ 2147483647 w 98"/>
              <a:gd name="T7" fmla="*/ 2147483647 h 75"/>
              <a:gd name="T8" fmla="*/ 2147483647 w 98"/>
              <a:gd name="T9" fmla="*/ 2147483647 h 75"/>
              <a:gd name="T10" fmla="*/ 2147483647 w 98"/>
              <a:gd name="T11" fmla="*/ 2147483647 h 75"/>
              <a:gd name="T12" fmla="*/ 2147483647 w 98"/>
              <a:gd name="T13" fmla="*/ 2147483647 h 75"/>
              <a:gd name="T14" fmla="*/ 2147483647 w 98"/>
              <a:gd name="T15" fmla="*/ 2147483647 h 75"/>
              <a:gd name="T16" fmla="*/ 2147483647 w 98"/>
              <a:gd name="T17" fmla="*/ 2147483647 h 75"/>
              <a:gd name="T18" fmla="*/ 2147483647 w 98"/>
              <a:gd name="T19" fmla="*/ 0 h 75"/>
              <a:gd name="T20" fmla="*/ 2147483647 w 98"/>
              <a:gd name="T21" fmla="*/ 2147483647 h 75"/>
              <a:gd name="T22" fmla="*/ 2147483647 w 98"/>
              <a:gd name="T23" fmla="*/ 0 h 75"/>
              <a:gd name="T24" fmla="*/ 0 w 98"/>
              <a:gd name="T25" fmla="*/ 2147483647 h 75"/>
              <a:gd name="T26" fmla="*/ 0 w 98"/>
              <a:gd name="T27" fmla="*/ 2147483647 h 7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98"/>
              <a:gd name="T43" fmla="*/ 0 h 75"/>
              <a:gd name="T44" fmla="*/ 98 w 98"/>
              <a:gd name="T45" fmla="*/ 75 h 75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98" h="75">
                <a:moveTo>
                  <a:pt x="0" y="50"/>
                </a:moveTo>
                <a:lnTo>
                  <a:pt x="8" y="74"/>
                </a:lnTo>
                <a:lnTo>
                  <a:pt x="25" y="74"/>
                </a:lnTo>
                <a:lnTo>
                  <a:pt x="65" y="57"/>
                </a:lnTo>
                <a:lnTo>
                  <a:pt x="73" y="65"/>
                </a:lnTo>
                <a:lnTo>
                  <a:pt x="97" y="40"/>
                </a:lnTo>
                <a:lnTo>
                  <a:pt x="97" y="25"/>
                </a:lnTo>
                <a:lnTo>
                  <a:pt x="90" y="16"/>
                </a:lnTo>
                <a:lnTo>
                  <a:pt x="82" y="16"/>
                </a:lnTo>
                <a:lnTo>
                  <a:pt x="65" y="0"/>
                </a:lnTo>
                <a:lnTo>
                  <a:pt x="50" y="16"/>
                </a:lnTo>
                <a:lnTo>
                  <a:pt x="25" y="0"/>
                </a:lnTo>
                <a:lnTo>
                  <a:pt x="0" y="9"/>
                </a:lnTo>
                <a:lnTo>
                  <a:pt x="0" y="50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798" name="Freeform 261"/>
          <p:cNvSpPr>
            <a:spLocks/>
          </p:cNvSpPr>
          <p:nvPr>
            <p:custDataLst>
              <p:tags r:id="rId209"/>
            </p:custDataLst>
          </p:nvPr>
        </p:nvSpPr>
        <p:spPr bwMode="gray">
          <a:xfrm>
            <a:off x="5324475" y="2646363"/>
            <a:ext cx="347663" cy="471487"/>
          </a:xfrm>
          <a:custGeom>
            <a:avLst/>
            <a:gdLst>
              <a:gd name="T0" fmla="*/ 0 w 221"/>
              <a:gd name="T1" fmla="*/ 2147483647 h 300"/>
              <a:gd name="T2" fmla="*/ 2147483647 w 221"/>
              <a:gd name="T3" fmla="*/ 2147483647 h 300"/>
              <a:gd name="T4" fmla="*/ 2147483647 w 221"/>
              <a:gd name="T5" fmla="*/ 2147483647 h 300"/>
              <a:gd name="T6" fmla="*/ 2147483647 w 221"/>
              <a:gd name="T7" fmla="*/ 2147483647 h 300"/>
              <a:gd name="T8" fmla="*/ 2147483647 w 221"/>
              <a:gd name="T9" fmla="*/ 2147483647 h 300"/>
              <a:gd name="T10" fmla="*/ 2147483647 w 221"/>
              <a:gd name="T11" fmla="*/ 2147483647 h 300"/>
              <a:gd name="T12" fmla="*/ 2147483647 w 221"/>
              <a:gd name="T13" fmla="*/ 2147483647 h 300"/>
              <a:gd name="T14" fmla="*/ 2147483647 w 221"/>
              <a:gd name="T15" fmla="*/ 2147483647 h 300"/>
              <a:gd name="T16" fmla="*/ 2147483647 w 221"/>
              <a:gd name="T17" fmla="*/ 2147483647 h 300"/>
              <a:gd name="T18" fmla="*/ 2147483647 w 221"/>
              <a:gd name="T19" fmla="*/ 2147483647 h 300"/>
              <a:gd name="T20" fmla="*/ 2147483647 w 221"/>
              <a:gd name="T21" fmla="*/ 2147483647 h 300"/>
              <a:gd name="T22" fmla="*/ 2147483647 w 221"/>
              <a:gd name="T23" fmla="*/ 2147483647 h 300"/>
              <a:gd name="T24" fmla="*/ 2147483647 w 221"/>
              <a:gd name="T25" fmla="*/ 0 h 300"/>
              <a:gd name="T26" fmla="*/ 2147483647 w 221"/>
              <a:gd name="T27" fmla="*/ 2147483647 h 300"/>
              <a:gd name="T28" fmla="*/ 2147483647 w 221"/>
              <a:gd name="T29" fmla="*/ 2147483647 h 300"/>
              <a:gd name="T30" fmla="*/ 2147483647 w 221"/>
              <a:gd name="T31" fmla="*/ 2147483647 h 300"/>
              <a:gd name="T32" fmla="*/ 2147483647 w 221"/>
              <a:gd name="T33" fmla="*/ 2147483647 h 300"/>
              <a:gd name="T34" fmla="*/ 2147483647 w 221"/>
              <a:gd name="T35" fmla="*/ 2147483647 h 300"/>
              <a:gd name="T36" fmla="*/ 2147483647 w 221"/>
              <a:gd name="T37" fmla="*/ 2147483647 h 300"/>
              <a:gd name="T38" fmla="*/ 2147483647 w 221"/>
              <a:gd name="T39" fmla="*/ 2147483647 h 300"/>
              <a:gd name="T40" fmla="*/ 2147483647 w 221"/>
              <a:gd name="T41" fmla="*/ 2147483647 h 300"/>
              <a:gd name="T42" fmla="*/ 2147483647 w 221"/>
              <a:gd name="T43" fmla="*/ 2147483647 h 300"/>
              <a:gd name="T44" fmla="*/ 2147483647 w 221"/>
              <a:gd name="T45" fmla="*/ 2147483647 h 300"/>
              <a:gd name="T46" fmla="*/ 2147483647 w 221"/>
              <a:gd name="T47" fmla="*/ 2147483647 h 300"/>
              <a:gd name="T48" fmla="*/ 2147483647 w 221"/>
              <a:gd name="T49" fmla="*/ 2147483647 h 300"/>
              <a:gd name="T50" fmla="*/ 2147483647 w 221"/>
              <a:gd name="T51" fmla="*/ 2147483647 h 300"/>
              <a:gd name="T52" fmla="*/ 2147483647 w 221"/>
              <a:gd name="T53" fmla="*/ 2147483647 h 300"/>
              <a:gd name="T54" fmla="*/ 0 w 221"/>
              <a:gd name="T55" fmla="*/ 2147483647 h 300"/>
              <a:gd name="T56" fmla="*/ 0 w 221"/>
              <a:gd name="T57" fmla="*/ 2147483647 h 300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221"/>
              <a:gd name="T88" fmla="*/ 0 h 300"/>
              <a:gd name="T89" fmla="*/ 221 w 221"/>
              <a:gd name="T90" fmla="*/ 300 h 300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221" h="300">
                <a:moveTo>
                  <a:pt x="0" y="258"/>
                </a:moveTo>
                <a:lnTo>
                  <a:pt x="25" y="290"/>
                </a:lnTo>
                <a:lnTo>
                  <a:pt x="66" y="299"/>
                </a:lnTo>
                <a:lnTo>
                  <a:pt x="74" y="290"/>
                </a:lnTo>
                <a:lnTo>
                  <a:pt x="58" y="274"/>
                </a:lnTo>
                <a:lnTo>
                  <a:pt x="49" y="258"/>
                </a:lnTo>
                <a:lnTo>
                  <a:pt x="49" y="218"/>
                </a:lnTo>
                <a:lnTo>
                  <a:pt x="58" y="202"/>
                </a:lnTo>
                <a:lnTo>
                  <a:pt x="114" y="104"/>
                </a:lnTo>
                <a:lnTo>
                  <a:pt x="155" y="72"/>
                </a:lnTo>
                <a:lnTo>
                  <a:pt x="220" y="40"/>
                </a:lnTo>
                <a:lnTo>
                  <a:pt x="220" y="7"/>
                </a:lnTo>
                <a:lnTo>
                  <a:pt x="205" y="0"/>
                </a:lnTo>
                <a:lnTo>
                  <a:pt x="188" y="16"/>
                </a:lnTo>
                <a:lnTo>
                  <a:pt x="171" y="32"/>
                </a:lnTo>
                <a:lnTo>
                  <a:pt x="146" y="40"/>
                </a:lnTo>
                <a:lnTo>
                  <a:pt x="123" y="40"/>
                </a:lnTo>
                <a:lnTo>
                  <a:pt x="99" y="56"/>
                </a:lnTo>
                <a:lnTo>
                  <a:pt x="74" y="87"/>
                </a:lnTo>
                <a:lnTo>
                  <a:pt x="49" y="104"/>
                </a:lnTo>
                <a:lnTo>
                  <a:pt x="49" y="121"/>
                </a:lnTo>
                <a:lnTo>
                  <a:pt x="41" y="144"/>
                </a:lnTo>
                <a:lnTo>
                  <a:pt x="25" y="160"/>
                </a:lnTo>
                <a:lnTo>
                  <a:pt x="34" y="177"/>
                </a:lnTo>
                <a:lnTo>
                  <a:pt x="25" y="194"/>
                </a:lnTo>
                <a:lnTo>
                  <a:pt x="9" y="209"/>
                </a:lnTo>
                <a:lnTo>
                  <a:pt x="18" y="225"/>
                </a:lnTo>
                <a:lnTo>
                  <a:pt x="0" y="234"/>
                </a:lnTo>
                <a:lnTo>
                  <a:pt x="0" y="258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799" name="Freeform 262"/>
          <p:cNvSpPr>
            <a:spLocks/>
          </p:cNvSpPr>
          <p:nvPr>
            <p:custDataLst>
              <p:tags r:id="rId210"/>
            </p:custDataLst>
          </p:nvPr>
        </p:nvSpPr>
        <p:spPr bwMode="gray">
          <a:xfrm>
            <a:off x="5262563" y="3167063"/>
            <a:ext cx="38100" cy="53975"/>
          </a:xfrm>
          <a:custGeom>
            <a:avLst/>
            <a:gdLst>
              <a:gd name="T0" fmla="*/ 0 w 25"/>
              <a:gd name="T1" fmla="*/ 2147483647 h 34"/>
              <a:gd name="T2" fmla="*/ 2147483647 w 25"/>
              <a:gd name="T3" fmla="*/ 2147483647 h 34"/>
              <a:gd name="T4" fmla="*/ 2147483647 w 25"/>
              <a:gd name="T5" fmla="*/ 2147483647 h 34"/>
              <a:gd name="T6" fmla="*/ 2147483647 w 25"/>
              <a:gd name="T7" fmla="*/ 0 h 34"/>
              <a:gd name="T8" fmla="*/ 0 w 25"/>
              <a:gd name="T9" fmla="*/ 2147483647 h 34"/>
              <a:gd name="T10" fmla="*/ 0 w 25"/>
              <a:gd name="T11" fmla="*/ 2147483647 h 3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5"/>
              <a:gd name="T19" fmla="*/ 0 h 34"/>
              <a:gd name="T20" fmla="*/ 25 w 25"/>
              <a:gd name="T21" fmla="*/ 34 h 3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5" h="34">
                <a:moveTo>
                  <a:pt x="0" y="33"/>
                </a:moveTo>
                <a:lnTo>
                  <a:pt x="17" y="24"/>
                </a:lnTo>
                <a:lnTo>
                  <a:pt x="24" y="15"/>
                </a:lnTo>
                <a:lnTo>
                  <a:pt x="9" y="0"/>
                </a:lnTo>
                <a:lnTo>
                  <a:pt x="0" y="15"/>
                </a:lnTo>
                <a:lnTo>
                  <a:pt x="0" y="33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800" name="Freeform 263"/>
          <p:cNvSpPr>
            <a:spLocks/>
          </p:cNvSpPr>
          <p:nvPr>
            <p:custDataLst>
              <p:tags r:id="rId211"/>
            </p:custDataLst>
          </p:nvPr>
        </p:nvSpPr>
        <p:spPr bwMode="gray">
          <a:xfrm>
            <a:off x="4141788" y="3687763"/>
            <a:ext cx="26987" cy="39687"/>
          </a:xfrm>
          <a:custGeom>
            <a:avLst/>
            <a:gdLst>
              <a:gd name="T0" fmla="*/ 0 w 17"/>
              <a:gd name="T1" fmla="*/ 2147483647 h 26"/>
              <a:gd name="T2" fmla="*/ 2147483647 w 17"/>
              <a:gd name="T3" fmla="*/ 2147483647 h 26"/>
              <a:gd name="T4" fmla="*/ 2147483647 w 17"/>
              <a:gd name="T5" fmla="*/ 0 h 26"/>
              <a:gd name="T6" fmla="*/ 0 w 17"/>
              <a:gd name="T7" fmla="*/ 2147483647 h 26"/>
              <a:gd name="T8" fmla="*/ 0 w 17"/>
              <a:gd name="T9" fmla="*/ 2147483647 h 2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26"/>
              <a:gd name="T17" fmla="*/ 17 w 17"/>
              <a:gd name="T18" fmla="*/ 26 h 2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26">
                <a:moveTo>
                  <a:pt x="0" y="25"/>
                </a:moveTo>
                <a:lnTo>
                  <a:pt x="7" y="10"/>
                </a:lnTo>
                <a:lnTo>
                  <a:pt x="16" y="0"/>
                </a:lnTo>
                <a:lnTo>
                  <a:pt x="0" y="10"/>
                </a:lnTo>
                <a:lnTo>
                  <a:pt x="0" y="25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801" name="Freeform 264"/>
          <p:cNvSpPr>
            <a:spLocks/>
          </p:cNvSpPr>
          <p:nvPr>
            <p:custDataLst>
              <p:tags r:id="rId212"/>
            </p:custDataLst>
          </p:nvPr>
        </p:nvSpPr>
        <p:spPr bwMode="gray">
          <a:xfrm>
            <a:off x="4141788" y="3687763"/>
            <a:ext cx="26987" cy="39687"/>
          </a:xfrm>
          <a:custGeom>
            <a:avLst/>
            <a:gdLst>
              <a:gd name="T0" fmla="*/ 0 w 17"/>
              <a:gd name="T1" fmla="*/ 2147483647 h 26"/>
              <a:gd name="T2" fmla="*/ 2147483647 w 17"/>
              <a:gd name="T3" fmla="*/ 2147483647 h 26"/>
              <a:gd name="T4" fmla="*/ 2147483647 w 17"/>
              <a:gd name="T5" fmla="*/ 0 h 26"/>
              <a:gd name="T6" fmla="*/ 0 w 17"/>
              <a:gd name="T7" fmla="*/ 2147483647 h 26"/>
              <a:gd name="T8" fmla="*/ 0 w 17"/>
              <a:gd name="T9" fmla="*/ 2147483647 h 2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26"/>
              <a:gd name="T17" fmla="*/ 17 w 17"/>
              <a:gd name="T18" fmla="*/ 26 h 2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26">
                <a:moveTo>
                  <a:pt x="0" y="25"/>
                </a:moveTo>
                <a:lnTo>
                  <a:pt x="7" y="10"/>
                </a:lnTo>
                <a:lnTo>
                  <a:pt x="16" y="0"/>
                </a:lnTo>
                <a:lnTo>
                  <a:pt x="0" y="10"/>
                </a:lnTo>
                <a:lnTo>
                  <a:pt x="0" y="25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02" name="Freeform 265"/>
          <p:cNvSpPr>
            <a:spLocks/>
          </p:cNvSpPr>
          <p:nvPr>
            <p:custDataLst>
              <p:tags r:id="rId213"/>
            </p:custDataLst>
          </p:nvPr>
        </p:nvSpPr>
        <p:spPr bwMode="gray">
          <a:xfrm>
            <a:off x="4483100" y="3789363"/>
            <a:ext cx="26988" cy="26987"/>
          </a:xfrm>
          <a:custGeom>
            <a:avLst/>
            <a:gdLst>
              <a:gd name="T0" fmla="*/ 0 w 17"/>
              <a:gd name="T1" fmla="*/ 2147483647 h 17"/>
              <a:gd name="T2" fmla="*/ 0 w 17"/>
              <a:gd name="T3" fmla="*/ 2147483647 h 17"/>
              <a:gd name="T4" fmla="*/ 2147483647 w 17"/>
              <a:gd name="T5" fmla="*/ 2147483647 h 17"/>
              <a:gd name="T6" fmla="*/ 2147483647 w 17"/>
              <a:gd name="T7" fmla="*/ 2147483647 h 17"/>
              <a:gd name="T8" fmla="*/ 2147483647 w 17"/>
              <a:gd name="T9" fmla="*/ 0 h 17"/>
              <a:gd name="T10" fmla="*/ 0 w 17"/>
              <a:gd name="T11" fmla="*/ 2147483647 h 1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7"/>
              <a:gd name="T19" fmla="*/ 0 h 17"/>
              <a:gd name="T20" fmla="*/ 17 w 17"/>
              <a:gd name="T21" fmla="*/ 17 h 1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7" h="17">
                <a:moveTo>
                  <a:pt x="0" y="9"/>
                </a:moveTo>
                <a:lnTo>
                  <a:pt x="0" y="16"/>
                </a:lnTo>
                <a:lnTo>
                  <a:pt x="16" y="16"/>
                </a:lnTo>
                <a:lnTo>
                  <a:pt x="16" y="9"/>
                </a:lnTo>
                <a:lnTo>
                  <a:pt x="16" y="0"/>
                </a:lnTo>
                <a:lnTo>
                  <a:pt x="0" y="9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803" name="Freeform 266"/>
          <p:cNvSpPr>
            <a:spLocks/>
          </p:cNvSpPr>
          <p:nvPr>
            <p:custDataLst>
              <p:tags r:id="rId214"/>
            </p:custDataLst>
          </p:nvPr>
        </p:nvSpPr>
        <p:spPr bwMode="gray">
          <a:xfrm>
            <a:off x="4508500" y="3775075"/>
            <a:ext cx="30163" cy="30163"/>
          </a:xfrm>
          <a:custGeom>
            <a:avLst/>
            <a:gdLst>
              <a:gd name="T0" fmla="*/ 0 w 19"/>
              <a:gd name="T1" fmla="*/ 2147483647 h 19"/>
              <a:gd name="T2" fmla="*/ 0 w 19"/>
              <a:gd name="T3" fmla="*/ 2147483647 h 19"/>
              <a:gd name="T4" fmla="*/ 2147483647 w 19"/>
              <a:gd name="T5" fmla="*/ 2147483647 h 19"/>
              <a:gd name="T6" fmla="*/ 2147483647 w 19"/>
              <a:gd name="T7" fmla="*/ 2147483647 h 19"/>
              <a:gd name="T8" fmla="*/ 2147483647 w 19"/>
              <a:gd name="T9" fmla="*/ 0 h 19"/>
              <a:gd name="T10" fmla="*/ 0 w 19"/>
              <a:gd name="T11" fmla="*/ 2147483647 h 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9"/>
              <a:gd name="T19" fmla="*/ 0 h 19"/>
              <a:gd name="T20" fmla="*/ 19 w 19"/>
              <a:gd name="T21" fmla="*/ 19 h 1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9" h="19">
                <a:moveTo>
                  <a:pt x="0" y="9"/>
                </a:moveTo>
                <a:lnTo>
                  <a:pt x="0" y="18"/>
                </a:lnTo>
                <a:lnTo>
                  <a:pt x="18" y="18"/>
                </a:lnTo>
                <a:lnTo>
                  <a:pt x="18" y="9"/>
                </a:lnTo>
                <a:lnTo>
                  <a:pt x="18" y="0"/>
                </a:lnTo>
                <a:lnTo>
                  <a:pt x="0" y="9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804" name="Freeform 267"/>
          <p:cNvSpPr>
            <a:spLocks/>
          </p:cNvSpPr>
          <p:nvPr>
            <p:custDataLst>
              <p:tags r:id="rId215"/>
            </p:custDataLst>
          </p:nvPr>
        </p:nvSpPr>
        <p:spPr bwMode="gray">
          <a:xfrm>
            <a:off x="4508500" y="3816350"/>
            <a:ext cx="30163" cy="25400"/>
          </a:xfrm>
          <a:custGeom>
            <a:avLst/>
            <a:gdLst>
              <a:gd name="T0" fmla="*/ 0 w 19"/>
              <a:gd name="T1" fmla="*/ 0 h 17"/>
              <a:gd name="T2" fmla="*/ 0 w 19"/>
              <a:gd name="T3" fmla="*/ 2147483647 h 17"/>
              <a:gd name="T4" fmla="*/ 2147483647 w 19"/>
              <a:gd name="T5" fmla="*/ 0 h 17"/>
              <a:gd name="T6" fmla="*/ 0 w 19"/>
              <a:gd name="T7" fmla="*/ 0 h 17"/>
              <a:gd name="T8" fmla="*/ 0 60000 65536"/>
              <a:gd name="T9" fmla="*/ 0 60000 65536"/>
              <a:gd name="T10" fmla="*/ 0 60000 65536"/>
              <a:gd name="T11" fmla="*/ 0 60000 65536"/>
              <a:gd name="T12" fmla="*/ 0 w 19"/>
              <a:gd name="T13" fmla="*/ 0 h 17"/>
              <a:gd name="T14" fmla="*/ 19 w 19"/>
              <a:gd name="T15" fmla="*/ 17 h 1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9" h="17">
                <a:moveTo>
                  <a:pt x="0" y="0"/>
                </a:moveTo>
                <a:lnTo>
                  <a:pt x="0" y="16"/>
                </a:lnTo>
                <a:lnTo>
                  <a:pt x="18" y="0"/>
                </a:lnTo>
                <a:lnTo>
                  <a:pt x="0" y="0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805" name="Freeform 275"/>
          <p:cNvSpPr>
            <a:spLocks/>
          </p:cNvSpPr>
          <p:nvPr>
            <p:custDataLst>
              <p:tags r:id="rId216"/>
            </p:custDataLst>
          </p:nvPr>
        </p:nvSpPr>
        <p:spPr bwMode="gray">
          <a:xfrm>
            <a:off x="6562725" y="5351463"/>
            <a:ext cx="817563" cy="636587"/>
          </a:xfrm>
          <a:custGeom>
            <a:avLst/>
            <a:gdLst>
              <a:gd name="T0" fmla="*/ 2147483647 w 521"/>
              <a:gd name="T1" fmla="*/ 2147483647 h 406"/>
              <a:gd name="T2" fmla="*/ 2147483647 w 521"/>
              <a:gd name="T3" fmla="*/ 2147483647 h 406"/>
              <a:gd name="T4" fmla="*/ 2147483647 w 521"/>
              <a:gd name="T5" fmla="*/ 2147483647 h 406"/>
              <a:gd name="T6" fmla="*/ 2147483647 w 521"/>
              <a:gd name="T7" fmla="*/ 2147483647 h 406"/>
              <a:gd name="T8" fmla="*/ 2147483647 w 521"/>
              <a:gd name="T9" fmla="*/ 2147483647 h 406"/>
              <a:gd name="T10" fmla="*/ 2147483647 w 521"/>
              <a:gd name="T11" fmla="*/ 2147483647 h 406"/>
              <a:gd name="T12" fmla="*/ 2147483647 w 521"/>
              <a:gd name="T13" fmla="*/ 2147483647 h 406"/>
              <a:gd name="T14" fmla="*/ 2147483647 w 521"/>
              <a:gd name="T15" fmla="*/ 2147483647 h 406"/>
              <a:gd name="T16" fmla="*/ 2147483647 w 521"/>
              <a:gd name="T17" fmla="*/ 2147483647 h 406"/>
              <a:gd name="T18" fmla="*/ 2147483647 w 521"/>
              <a:gd name="T19" fmla="*/ 2147483647 h 406"/>
              <a:gd name="T20" fmla="*/ 2147483647 w 521"/>
              <a:gd name="T21" fmla="*/ 2147483647 h 406"/>
              <a:gd name="T22" fmla="*/ 2147483647 w 521"/>
              <a:gd name="T23" fmla="*/ 2147483647 h 406"/>
              <a:gd name="T24" fmla="*/ 2147483647 w 521"/>
              <a:gd name="T25" fmla="*/ 2147483647 h 406"/>
              <a:gd name="T26" fmla="*/ 2147483647 w 521"/>
              <a:gd name="T27" fmla="*/ 2147483647 h 406"/>
              <a:gd name="T28" fmla="*/ 2147483647 w 521"/>
              <a:gd name="T29" fmla="*/ 2147483647 h 406"/>
              <a:gd name="T30" fmla="*/ 2147483647 w 521"/>
              <a:gd name="T31" fmla="*/ 2147483647 h 406"/>
              <a:gd name="T32" fmla="*/ 2147483647 w 521"/>
              <a:gd name="T33" fmla="*/ 2147483647 h 406"/>
              <a:gd name="T34" fmla="*/ 2147483647 w 521"/>
              <a:gd name="T35" fmla="*/ 2147483647 h 406"/>
              <a:gd name="T36" fmla="*/ 2147483647 w 521"/>
              <a:gd name="T37" fmla="*/ 2147483647 h 406"/>
              <a:gd name="T38" fmla="*/ 2147483647 w 521"/>
              <a:gd name="T39" fmla="*/ 2147483647 h 406"/>
              <a:gd name="T40" fmla="*/ 2147483647 w 521"/>
              <a:gd name="T41" fmla="*/ 2147483647 h 406"/>
              <a:gd name="T42" fmla="*/ 2147483647 w 521"/>
              <a:gd name="T43" fmla="*/ 2147483647 h 406"/>
              <a:gd name="T44" fmla="*/ 2147483647 w 521"/>
              <a:gd name="T45" fmla="*/ 2147483647 h 406"/>
              <a:gd name="T46" fmla="*/ 2147483647 w 521"/>
              <a:gd name="T47" fmla="*/ 2147483647 h 406"/>
              <a:gd name="T48" fmla="*/ 2147483647 w 521"/>
              <a:gd name="T49" fmla="*/ 0 h 406"/>
              <a:gd name="T50" fmla="*/ 2147483647 w 521"/>
              <a:gd name="T51" fmla="*/ 2147483647 h 406"/>
              <a:gd name="T52" fmla="*/ 2147483647 w 521"/>
              <a:gd name="T53" fmla="*/ 2147483647 h 406"/>
              <a:gd name="T54" fmla="*/ 2147483647 w 521"/>
              <a:gd name="T55" fmla="*/ 2147483647 h 406"/>
              <a:gd name="T56" fmla="*/ 2147483647 w 521"/>
              <a:gd name="T57" fmla="*/ 2147483647 h 406"/>
              <a:gd name="T58" fmla="*/ 2147483647 w 521"/>
              <a:gd name="T59" fmla="*/ 2147483647 h 406"/>
              <a:gd name="T60" fmla="*/ 2147483647 w 521"/>
              <a:gd name="T61" fmla="*/ 2147483647 h 406"/>
              <a:gd name="T62" fmla="*/ 2147483647 w 521"/>
              <a:gd name="T63" fmla="*/ 2147483647 h 406"/>
              <a:gd name="T64" fmla="*/ 2147483647 w 521"/>
              <a:gd name="T65" fmla="*/ 2147483647 h 406"/>
              <a:gd name="T66" fmla="*/ 2147483647 w 521"/>
              <a:gd name="T67" fmla="*/ 2147483647 h 406"/>
              <a:gd name="T68" fmla="*/ 2147483647 w 521"/>
              <a:gd name="T69" fmla="*/ 2147483647 h 406"/>
              <a:gd name="T70" fmla="*/ 2147483647 w 521"/>
              <a:gd name="T71" fmla="*/ 2147483647 h 406"/>
              <a:gd name="T72" fmla="*/ 2147483647 w 521"/>
              <a:gd name="T73" fmla="*/ 2147483647 h 406"/>
              <a:gd name="T74" fmla="*/ 2147483647 w 521"/>
              <a:gd name="T75" fmla="*/ 2147483647 h 406"/>
              <a:gd name="T76" fmla="*/ 2147483647 w 521"/>
              <a:gd name="T77" fmla="*/ 2147483647 h 406"/>
              <a:gd name="T78" fmla="*/ 2147483647 w 521"/>
              <a:gd name="T79" fmla="*/ 2147483647 h 406"/>
              <a:gd name="T80" fmla="*/ 2147483647 w 521"/>
              <a:gd name="T81" fmla="*/ 2147483647 h 406"/>
              <a:gd name="T82" fmla="*/ 2147483647 w 521"/>
              <a:gd name="T83" fmla="*/ 2147483647 h 406"/>
              <a:gd name="T84" fmla="*/ 2147483647 w 521"/>
              <a:gd name="T85" fmla="*/ 2147483647 h 406"/>
              <a:gd name="T86" fmla="*/ 2147483647 w 521"/>
              <a:gd name="T87" fmla="*/ 2147483647 h 406"/>
              <a:gd name="T88" fmla="*/ 2147483647 w 521"/>
              <a:gd name="T89" fmla="*/ 2147483647 h 406"/>
              <a:gd name="T90" fmla="*/ 2147483647 w 521"/>
              <a:gd name="T91" fmla="*/ 2147483647 h 406"/>
              <a:gd name="T92" fmla="*/ 2147483647 w 521"/>
              <a:gd name="T93" fmla="*/ 2147483647 h 406"/>
              <a:gd name="T94" fmla="*/ 2147483647 w 521"/>
              <a:gd name="T95" fmla="*/ 2147483647 h 406"/>
              <a:gd name="T96" fmla="*/ 2147483647 w 521"/>
              <a:gd name="T97" fmla="*/ 2147483647 h 406"/>
              <a:gd name="T98" fmla="*/ 2147483647 w 521"/>
              <a:gd name="T99" fmla="*/ 2147483647 h 406"/>
              <a:gd name="T100" fmla="*/ 2147483647 w 521"/>
              <a:gd name="T101" fmla="*/ 2147483647 h 406"/>
              <a:gd name="T102" fmla="*/ 2147483647 w 521"/>
              <a:gd name="T103" fmla="*/ 2147483647 h 406"/>
              <a:gd name="T104" fmla="*/ 2147483647 w 521"/>
              <a:gd name="T105" fmla="*/ 2147483647 h 40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521"/>
              <a:gd name="T160" fmla="*/ 0 h 406"/>
              <a:gd name="T161" fmla="*/ 521 w 521"/>
              <a:gd name="T162" fmla="*/ 406 h 40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521" h="406">
                <a:moveTo>
                  <a:pt x="23" y="324"/>
                </a:moveTo>
                <a:lnTo>
                  <a:pt x="48" y="342"/>
                </a:lnTo>
                <a:lnTo>
                  <a:pt x="64" y="342"/>
                </a:lnTo>
                <a:lnTo>
                  <a:pt x="89" y="317"/>
                </a:lnTo>
                <a:lnTo>
                  <a:pt x="129" y="317"/>
                </a:lnTo>
                <a:lnTo>
                  <a:pt x="138" y="308"/>
                </a:lnTo>
                <a:lnTo>
                  <a:pt x="169" y="293"/>
                </a:lnTo>
                <a:lnTo>
                  <a:pt x="234" y="283"/>
                </a:lnTo>
                <a:lnTo>
                  <a:pt x="268" y="299"/>
                </a:lnTo>
                <a:lnTo>
                  <a:pt x="268" y="308"/>
                </a:lnTo>
                <a:lnTo>
                  <a:pt x="276" y="308"/>
                </a:lnTo>
                <a:lnTo>
                  <a:pt x="293" y="342"/>
                </a:lnTo>
                <a:lnTo>
                  <a:pt x="316" y="299"/>
                </a:lnTo>
                <a:lnTo>
                  <a:pt x="316" y="317"/>
                </a:lnTo>
                <a:lnTo>
                  <a:pt x="308" y="342"/>
                </a:lnTo>
                <a:lnTo>
                  <a:pt x="316" y="342"/>
                </a:lnTo>
                <a:lnTo>
                  <a:pt x="316" y="324"/>
                </a:lnTo>
                <a:lnTo>
                  <a:pt x="325" y="342"/>
                </a:lnTo>
                <a:lnTo>
                  <a:pt x="316" y="348"/>
                </a:lnTo>
                <a:lnTo>
                  <a:pt x="333" y="348"/>
                </a:lnTo>
                <a:lnTo>
                  <a:pt x="340" y="365"/>
                </a:lnTo>
                <a:lnTo>
                  <a:pt x="340" y="373"/>
                </a:lnTo>
                <a:lnTo>
                  <a:pt x="349" y="382"/>
                </a:lnTo>
                <a:lnTo>
                  <a:pt x="365" y="389"/>
                </a:lnTo>
                <a:lnTo>
                  <a:pt x="381" y="389"/>
                </a:lnTo>
                <a:lnTo>
                  <a:pt x="390" y="398"/>
                </a:lnTo>
                <a:lnTo>
                  <a:pt x="405" y="382"/>
                </a:lnTo>
                <a:lnTo>
                  <a:pt x="405" y="389"/>
                </a:lnTo>
                <a:lnTo>
                  <a:pt x="415" y="389"/>
                </a:lnTo>
                <a:lnTo>
                  <a:pt x="415" y="398"/>
                </a:lnTo>
                <a:lnTo>
                  <a:pt x="430" y="405"/>
                </a:lnTo>
                <a:lnTo>
                  <a:pt x="446" y="382"/>
                </a:lnTo>
                <a:lnTo>
                  <a:pt x="470" y="382"/>
                </a:lnTo>
                <a:lnTo>
                  <a:pt x="480" y="348"/>
                </a:lnTo>
                <a:lnTo>
                  <a:pt x="511" y="276"/>
                </a:lnTo>
                <a:lnTo>
                  <a:pt x="520" y="243"/>
                </a:lnTo>
                <a:lnTo>
                  <a:pt x="511" y="203"/>
                </a:lnTo>
                <a:lnTo>
                  <a:pt x="495" y="180"/>
                </a:lnTo>
                <a:lnTo>
                  <a:pt x="487" y="171"/>
                </a:lnTo>
                <a:lnTo>
                  <a:pt x="480" y="156"/>
                </a:lnTo>
                <a:lnTo>
                  <a:pt x="470" y="146"/>
                </a:lnTo>
                <a:lnTo>
                  <a:pt x="470" y="156"/>
                </a:lnTo>
                <a:lnTo>
                  <a:pt x="455" y="131"/>
                </a:lnTo>
                <a:lnTo>
                  <a:pt x="430" y="106"/>
                </a:lnTo>
                <a:lnTo>
                  <a:pt x="421" y="81"/>
                </a:lnTo>
                <a:lnTo>
                  <a:pt x="415" y="74"/>
                </a:lnTo>
                <a:lnTo>
                  <a:pt x="415" y="57"/>
                </a:lnTo>
                <a:lnTo>
                  <a:pt x="405" y="49"/>
                </a:lnTo>
                <a:lnTo>
                  <a:pt x="390" y="49"/>
                </a:lnTo>
                <a:lnTo>
                  <a:pt x="381" y="0"/>
                </a:lnTo>
                <a:lnTo>
                  <a:pt x="373" y="0"/>
                </a:lnTo>
                <a:lnTo>
                  <a:pt x="365" y="17"/>
                </a:lnTo>
                <a:lnTo>
                  <a:pt x="365" y="57"/>
                </a:lnTo>
                <a:lnTo>
                  <a:pt x="358" y="90"/>
                </a:lnTo>
                <a:lnTo>
                  <a:pt x="340" y="90"/>
                </a:lnTo>
                <a:lnTo>
                  <a:pt x="308" y="66"/>
                </a:lnTo>
                <a:lnTo>
                  <a:pt x="300" y="66"/>
                </a:lnTo>
                <a:lnTo>
                  <a:pt x="300" y="57"/>
                </a:lnTo>
                <a:lnTo>
                  <a:pt x="284" y="57"/>
                </a:lnTo>
                <a:lnTo>
                  <a:pt x="293" y="34"/>
                </a:lnTo>
                <a:lnTo>
                  <a:pt x="300" y="34"/>
                </a:lnTo>
                <a:lnTo>
                  <a:pt x="308" y="17"/>
                </a:lnTo>
                <a:lnTo>
                  <a:pt x="300" y="17"/>
                </a:lnTo>
                <a:lnTo>
                  <a:pt x="293" y="25"/>
                </a:lnTo>
                <a:lnTo>
                  <a:pt x="293" y="17"/>
                </a:lnTo>
                <a:lnTo>
                  <a:pt x="284" y="17"/>
                </a:lnTo>
                <a:lnTo>
                  <a:pt x="244" y="9"/>
                </a:lnTo>
                <a:lnTo>
                  <a:pt x="253" y="17"/>
                </a:lnTo>
                <a:lnTo>
                  <a:pt x="244" y="17"/>
                </a:lnTo>
                <a:lnTo>
                  <a:pt x="228" y="17"/>
                </a:lnTo>
                <a:lnTo>
                  <a:pt x="219" y="25"/>
                </a:lnTo>
                <a:lnTo>
                  <a:pt x="219" y="34"/>
                </a:lnTo>
                <a:lnTo>
                  <a:pt x="212" y="34"/>
                </a:lnTo>
                <a:lnTo>
                  <a:pt x="212" y="49"/>
                </a:lnTo>
                <a:lnTo>
                  <a:pt x="212" y="57"/>
                </a:lnTo>
                <a:lnTo>
                  <a:pt x="194" y="49"/>
                </a:lnTo>
                <a:lnTo>
                  <a:pt x="194" y="57"/>
                </a:lnTo>
                <a:lnTo>
                  <a:pt x="194" y="49"/>
                </a:lnTo>
                <a:lnTo>
                  <a:pt x="187" y="41"/>
                </a:lnTo>
                <a:lnTo>
                  <a:pt x="179" y="41"/>
                </a:lnTo>
                <a:lnTo>
                  <a:pt x="163" y="49"/>
                </a:lnTo>
                <a:lnTo>
                  <a:pt x="154" y="49"/>
                </a:lnTo>
                <a:lnTo>
                  <a:pt x="147" y="74"/>
                </a:lnTo>
                <a:lnTo>
                  <a:pt x="138" y="74"/>
                </a:lnTo>
                <a:lnTo>
                  <a:pt x="129" y="74"/>
                </a:lnTo>
                <a:lnTo>
                  <a:pt x="138" y="81"/>
                </a:lnTo>
                <a:lnTo>
                  <a:pt x="129" y="90"/>
                </a:lnTo>
                <a:lnTo>
                  <a:pt x="129" y="74"/>
                </a:lnTo>
                <a:lnTo>
                  <a:pt x="114" y="90"/>
                </a:lnTo>
                <a:lnTo>
                  <a:pt x="122" y="97"/>
                </a:lnTo>
                <a:lnTo>
                  <a:pt x="97" y="114"/>
                </a:lnTo>
                <a:lnTo>
                  <a:pt x="41" y="131"/>
                </a:lnTo>
                <a:lnTo>
                  <a:pt x="17" y="156"/>
                </a:lnTo>
                <a:lnTo>
                  <a:pt x="8" y="146"/>
                </a:lnTo>
                <a:lnTo>
                  <a:pt x="8" y="156"/>
                </a:lnTo>
                <a:lnTo>
                  <a:pt x="8" y="171"/>
                </a:lnTo>
                <a:lnTo>
                  <a:pt x="0" y="171"/>
                </a:lnTo>
                <a:lnTo>
                  <a:pt x="17" y="211"/>
                </a:lnTo>
                <a:lnTo>
                  <a:pt x="8" y="196"/>
                </a:lnTo>
                <a:lnTo>
                  <a:pt x="8" y="211"/>
                </a:lnTo>
                <a:lnTo>
                  <a:pt x="0" y="203"/>
                </a:lnTo>
                <a:lnTo>
                  <a:pt x="23" y="251"/>
                </a:lnTo>
                <a:lnTo>
                  <a:pt x="32" y="283"/>
                </a:lnTo>
                <a:lnTo>
                  <a:pt x="32" y="308"/>
                </a:lnTo>
                <a:lnTo>
                  <a:pt x="23" y="317"/>
                </a:lnTo>
                <a:lnTo>
                  <a:pt x="23" y="324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06" name="Freeform 276"/>
          <p:cNvSpPr>
            <a:spLocks/>
          </p:cNvSpPr>
          <p:nvPr>
            <p:custDataLst>
              <p:tags r:id="rId217"/>
            </p:custDataLst>
          </p:nvPr>
        </p:nvSpPr>
        <p:spPr bwMode="gray">
          <a:xfrm>
            <a:off x="6905625" y="5365750"/>
            <a:ext cx="26988" cy="25400"/>
          </a:xfrm>
          <a:custGeom>
            <a:avLst/>
            <a:gdLst>
              <a:gd name="T0" fmla="*/ 0 w 17"/>
              <a:gd name="T1" fmla="*/ 2147483647 h 17"/>
              <a:gd name="T2" fmla="*/ 2147483647 w 17"/>
              <a:gd name="T3" fmla="*/ 2147483647 h 17"/>
              <a:gd name="T4" fmla="*/ 2147483647 w 17"/>
              <a:gd name="T5" fmla="*/ 0 h 17"/>
              <a:gd name="T6" fmla="*/ 0 w 17"/>
              <a:gd name="T7" fmla="*/ 0 h 17"/>
              <a:gd name="T8" fmla="*/ 0 w 17"/>
              <a:gd name="T9" fmla="*/ 2147483647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17"/>
              <a:gd name="T17" fmla="*/ 17 w 17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17">
                <a:moveTo>
                  <a:pt x="0" y="16"/>
                </a:moveTo>
                <a:lnTo>
                  <a:pt x="9" y="16"/>
                </a:lnTo>
                <a:lnTo>
                  <a:pt x="16" y="0"/>
                </a:lnTo>
                <a:lnTo>
                  <a:pt x="0" y="0"/>
                </a:lnTo>
                <a:lnTo>
                  <a:pt x="0" y="16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807" name="Freeform 277"/>
          <p:cNvSpPr>
            <a:spLocks/>
          </p:cNvSpPr>
          <p:nvPr>
            <p:custDataLst>
              <p:tags r:id="rId218"/>
            </p:custDataLst>
          </p:nvPr>
        </p:nvSpPr>
        <p:spPr bwMode="gray">
          <a:xfrm>
            <a:off x="6905625" y="5365750"/>
            <a:ext cx="26988" cy="25400"/>
          </a:xfrm>
          <a:custGeom>
            <a:avLst/>
            <a:gdLst>
              <a:gd name="T0" fmla="*/ 0 w 17"/>
              <a:gd name="T1" fmla="*/ 2147483647 h 17"/>
              <a:gd name="T2" fmla="*/ 2147483647 w 17"/>
              <a:gd name="T3" fmla="*/ 2147483647 h 17"/>
              <a:gd name="T4" fmla="*/ 2147483647 w 17"/>
              <a:gd name="T5" fmla="*/ 0 h 17"/>
              <a:gd name="T6" fmla="*/ 0 w 17"/>
              <a:gd name="T7" fmla="*/ 0 h 17"/>
              <a:gd name="T8" fmla="*/ 0 w 17"/>
              <a:gd name="T9" fmla="*/ 2147483647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17"/>
              <a:gd name="T17" fmla="*/ 17 w 17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17">
                <a:moveTo>
                  <a:pt x="0" y="16"/>
                </a:moveTo>
                <a:lnTo>
                  <a:pt x="9" y="16"/>
                </a:lnTo>
                <a:lnTo>
                  <a:pt x="16" y="0"/>
                </a:lnTo>
                <a:lnTo>
                  <a:pt x="0" y="0"/>
                </a:lnTo>
                <a:lnTo>
                  <a:pt x="0" y="16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08" name="Freeform 278"/>
          <p:cNvSpPr>
            <a:spLocks/>
          </p:cNvSpPr>
          <p:nvPr>
            <p:custDataLst>
              <p:tags r:id="rId219"/>
            </p:custDataLst>
          </p:nvPr>
        </p:nvSpPr>
        <p:spPr bwMode="gray">
          <a:xfrm>
            <a:off x="7032625" y="5897563"/>
            <a:ext cx="26988" cy="26987"/>
          </a:xfrm>
          <a:custGeom>
            <a:avLst/>
            <a:gdLst>
              <a:gd name="T0" fmla="*/ 0 w 17"/>
              <a:gd name="T1" fmla="*/ 0 h 17"/>
              <a:gd name="T2" fmla="*/ 2147483647 w 17"/>
              <a:gd name="T3" fmla="*/ 2147483647 h 17"/>
              <a:gd name="T4" fmla="*/ 2147483647 w 17"/>
              <a:gd name="T5" fmla="*/ 0 h 17"/>
              <a:gd name="T6" fmla="*/ 2147483647 w 17"/>
              <a:gd name="T7" fmla="*/ 0 h 17"/>
              <a:gd name="T8" fmla="*/ 0 w 17"/>
              <a:gd name="T9" fmla="*/ 0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17"/>
              <a:gd name="T17" fmla="*/ 17 w 17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17">
                <a:moveTo>
                  <a:pt x="0" y="0"/>
                </a:moveTo>
                <a:lnTo>
                  <a:pt x="16" y="16"/>
                </a:lnTo>
                <a:lnTo>
                  <a:pt x="16" y="0"/>
                </a:lnTo>
                <a:lnTo>
                  <a:pt x="8" y="0"/>
                </a:lnTo>
                <a:lnTo>
                  <a:pt x="0" y="0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809" name="Freeform 279"/>
          <p:cNvSpPr>
            <a:spLocks/>
          </p:cNvSpPr>
          <p:nvPr>
            <p:custDataLst>
              <p:tags r:id="rId220"/>
            </p:custDataLst>
          </p:nvPr>
        </p:nvSpPr>
        <p:spPr bwMode="gray">
          <a:xfrm>
            <a:off x="7032625" y="5897563"/>
            <a:ext cx="26988" cy="26987"/>
          </a:xfrm>
          <a:custGeom>
            <a:avLst/>
            <a:gdLst>
              <a:gd name="T0" fmla="*/ 0 w 17"/>
              <a:gd name="T1" fmla="*/ 0 h 17"/>
              <a:gd name="T2" fmla="*/ 2147483647 w 17"/>
              <a:gd name="T3" fmla="*/ 2147483647 h 17"/>
              <a:gd name="T4" fmla="*/ 2147483647 w 17"/>
              <a:gd name="T5" fmla="*/ 0 h 17"/>
              <a:gd name="T6" fmla="*/ 2147483647 w 17"/>
              <a:gd name="T7" fmla="*/ 0 h 17"/>
              <a:gd name="T8" fmla="*/ 0 w 17"/>
              <a:gd name="T9" fmla="*/ 0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17"/>
              <a:gd name="T17" fmla="*/ 17 w 17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17">
                <a:moveTo>
                  <a:pt x="0" y="0"/>
                </a:moveTo>
                <a:lnTo>
                  <a:pt x="16" y="16"/>
                </a:lnTo>
                <a:lnTo>
                  <a:pt x="16" y="0"/>
                </a:lnTo>
                <a:lnTo>
                  <a:pt x="8" y="0"/>
                </a:lnTo>
                <a:lnTo>
                  <a:pt x="0" y="0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10" name="Freeform 280"/>
          <p:cNvSpPr>
            <a:spLocks/>
          </p:cNvSpPr>
          <p:nvPr>
            <p:custDataLst>
              <p:tags r:id="rId221"/>
            </p:custDataLst>
          </p:nvPr>
        </p:nvSpPr>
        <p:spPr bwMode="gray">
          <a:xfrm>
            <a:off x="7199313" y="6026150"/>
            <a:ext cx="79375" cy="79375"/>
          </a:xfrm>
          <a:custGeom>
            <a:avLst/>
            <a:gdLst>
              <a:gd name="T0" fmla="*/ 0 w 51"/>
              <a:gd name="T1" fmla="*/ 0 h 50"/>
              <a:gd name="T2" fmla="*/ 2147483647 w 51"/>
              <a:gd name="T3" fmla="*/ 2147483647 h 50"/>
              <a:gd name="T4" fmla="*/ 2147483647 w 51"/>
              <a:gd name="T5" fmla="*/ 2147483647 h 50"/>
              <a:gd name="T6" fmla="*/ 2147483647 w 51"/>
              <a:gd name="T7" fmla="*/ 2147483647 h 50"/>
              <a:gd name="T8" fmla="*/ 2147483647 w 51"/>
              <a:gd name="T9" fmla="*/ 2147483647 h 50"/>
              <a:gd name="T10" fmla="*/ 2147483647 w 51"/>
              <a:gd name="T11" fmla="*/ 0 h 50"/>
              <a:gd name="T12" fmla="*/ 2147483647 w 51"/>
              <a:gd name="T13" fmla="*/ 0 h 50"/>
              <a:gd name="T14" fmla="*/ 2147483647 w 51"/>
              <a:gd name="T15" fmla="*/ 2147483647 h 50"/>
              <a:gd name="T16" fmla="*/ 0 w 51"/>
              <a:gd name="T17" fmla="*/ 0 h 5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1"/>
              <a:gd name="T28" fmla="*/ 0 h 50"/>
              <a:gd name="T29" fmla="*/ 51 w 51"/>
              <a:gd name="T30" fmla="*/ 50 h 5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1" h="50">
                <a:moveTo>
                  <a:pt x="0" y="0"/>
                </a:moveTo>
                <a:lnTo>
                  <a:pt x="10" y="40"/>
                </a:lnTo>
                <a:lnTo>
                  <a:pt x="25" y="49"/>
                </a:lnTo>
                <a:lnTo>
                  <a:pt x="34" y="33"/>
                </a:lnTo>
                <a:lnTo>
                  <a:pt x="41" y="40"/>
                </a:lnTo>
                <a:lnTo>
                  <a:pt x="50" y="0"/>
                </a:lnTo>
                <a:lnTo>
                  <a:pt x="41" y="0"/>
                </a:lnTo>
                <a:lnTo>
                  <a:pt x="16" y="8"/>
                </a:lnTo>
                <a:lnTo>
                  <a:pt x="0" y="0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811" name="Freeform 281"/>
          <p:cNvSpPr>
            <a:spLocks/>
          </p:cNvSpPr>
          <p:nvPr>
            <p:custDataLst>
              <p:tags r:id="rId222"/>
            </p:custDataLst>
          </p:nvPr>
        </p:nvSpPr>
        <p:spPr bwMode="gray">
          <a:xfrm>
            <a:off x="7759700" y="5875338"/>
            <a:ext cx="115888" cy="179387"/>
          </a:xfrm>
          <a:custGeom>
            <a:avLst/>
            <a:gdLst>
              <a:gd name="T0" fmla="*/ 2147483647 w 73"/>
              <a:gd name="T1" fmla="*/ 2147483647 h 115"/>
              <a:gd name="T2" fmla="*/ 2147483647 w 73"/>
              <a:gd name="T3" fmla="*/ 2147483647 h 115"/>
              <a:gd name="T4" fmla="*/ 2147483647 w 73"/>
              <a:gd name="T5" fmla="*/ 2147483647 h 115"/>
              <a:gd name="T6" fmla="*/ 2147483647 w 73"/>
              <a:gd name="T7" fmla="*/ 2147483647 h 115"/>
              <a:gd name="T8" fmla="*/ 2147483647 w 73"/>
              <a:gd name="T9" fmla="*/ 2147483647 h 115"/>
              <a:gd name="T10" fmla="*/ 2147483647 w 73"/>
              <a:gd name="T11" fmla="*/ 2147483647 h 115"/>
              <a:gd name="T12" fmla="*/ 2147483647 w 73"/>
              <a:gd name="T13" fmla="*/ 2147483647 h 115"/>
              <a:gd name="T14" fmla="*/ 2147483647 w 73"/>
              <a:gd name="T15" fmla="*/ 2147483647 h 115"/>
              <a:gd name="T16" fmla="*/ 2147483647 w 73"/>
              <a:gd name="T17" fmla="*/ 2147483647 h 115"/>
              <a:gd name="T18" fmla="*/ 2147483647 w 73"/>
              <a:gd name="T19" fmla="*/ 2147483647 h 115"/>
              <a:gd name="T20" fmla="*/ 2147483647 w 73"/>
              <a:gd name="T21" fmla="*/ 2147483647 h 115"/>
              <a:gd name="T22" fmla="*/ 2147483647 w 73"/>
              <a:gd name="T23" fmla="*/ 2147483647 h 115"/>
              <a:gd name="T24" fmla="*/ 2147483647 w 73"/>
              <a:gd name="T25" fmla="*/ 2147483647 h 115"/>
              <a:gd name="T26" fmla="*/ 2147483647 w 73"/>
              <a:gd name="T27" fmla="*/ 2147483647 h 115"/>
              <a:gd name="T28" fmla="*/ 2147483647 w 73"/>
              <a:gd name="T29" fmla="*/ 2147483647 h 115"/>
              <a:gd name="T30" fmla="*/ 2147483647 w 73"/>
              <a:gd name="T31" fmla="*/ 2147483647 h 115"/>
              <a:gd name="T32" fmla="*/ 2147483647 w 73"/>
              <a:gd name="T33" fmla="*/ 2147483647 h 115"/>
              <a:gd name="T34" fmla="*/ 0 w 73"/>
              <a:gd name="T35" fmla="*/ 0 h 115"/>
              <a:gd name="T36" fmla="*/ 2147483647 w 73"/>
              <a:gd name="T37" fmla="*/ 2147483647 h 115"/>
              <a:gd name="T38" fmla="*/ 2147483647 w 73"/>
              <a:gd name="T39" fmla="*/ 2147483647 h 115"/>
              <a:gd name="T40" fmla="*/ 2147483647 w 73"/>
              <a:gd name="T41" fmla="*/ 2147483647 h 11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73"/>
              <a:gd name="T64" fmla="*/ 0 h 115"/>
              <a:gd name="T65" fmla="*/ 73 w 73"/>
              <a:gd name="T66" fmla="*/ 115 h 115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73" h="115">
                <a:moveTo>
                  <a:pt x="16" y="72"/>
                </a:moveTo>
                <a:lnTo>
                  <a:pt x="31" y="80"/>
                </a:lnTo>
                <a:lnTo>
                  <a:pt x="25" y="105"/>
                </a:lnTo>
                <a:lnTo>
                  <a:pt x="31" y="114"/>
                </a:lnTo>
                <a:lnTo>
                  <a:pt x="40" y="105"/>
                </a:lnTo>
                <a:lnTo>
                  <a:pt x="56" y="72"/>
                </a:lnTo>
                <a:lnTo>
                  <a:pt x="65" y="72"/>
                </a:lnTo>
                <a:lnTo>
                  <a:pt x="72" y="65"/>
                </a:lnTo>
                <a:lnTo>
                  <a:pt x="72" y="49"/>
                </a:lnTo>
                <a:lnTo>
                  <a:pt x="65" y="40"/>
                </a:lnTo>
                <a:lnTo>
                  <a:pt x="56" y="49"/>
                </a:lnTo>
                <a:lnTo>
                  <a:pt x="40" y="49"/>
                </a:lnTo>
                <a:lnTo>
                  <a:pt x="40" y="32"/>
                </a:lnTo>
                <a:lnTo>
                  <a:pt x="31" y="32"/>
                </a:lnTo>
                <a:lnTo>
                  <a:pt x="31" y="40"/>
                </a:lnTo>
                <a:lnTo>
                  <a:pt x="25" y="32"/>
                </a:lnTo>
                <a:lnTo>
                  <a:pt x="25" y="9"/>
                </a:lnTo>
                <a:lnTo>
                  <a:pt x="0" y="0"/>
                </a:lnTo>
                <a:lnTo>
                  <a:pt x="25" y="32"/>
                </a:lnTo>
                <a:lnTo>
                  <a:pt x="25" y="65"/>
                </a:lnTo>
                <a:lnTo>
                  <a:pt x="16" y="72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812" name="Freeform 282"/>
          <p:cNvSpPr>
            <a:spLocks/>
          </p:cNvSpPr>
          <p:nvPr>
            <p:custDataLst>
              <p:tags r:id="rId223"/>
            </p:custDataLst>
          </p:nvPr>
        </p:nvSpPr>
        <p:spPr bwMode="gray">
          <a:xfrm>
            <a:off x="7759700" y="5875338"/>
            <a:ext cx="115888" cy="179387"/>
          </a:xfrm>
          <a:custGeom>
            <a:avLst/>
            <a:gdLst>
              <a:gd name="T0" fmla="*/ 2147483647 w 73"/>
              <a:gd name="T1" fmla="*/ 2147483647 h 115"/>
              <a:gd name="T2" fmla="*/ 2147483647 w 73"/>
              <a:gd name="T3" fmla="*/ 2147483647 h 115"/>
              <a:gd name="T4" fmla="*/ 2147483647 w 73"/>
              <a:gd name="T5" fmla="*/ 2147483647 h 115"/>
              <a:gd name="T6" fmla="*/ 2147483647 w 73"/>
              <a:gd name="T7" fmla="*/ 2147483647 h 115"/>
              <a:gd name="T8" fmla="*/ 2147483647 w 73"/>
              <a:gd name="T9" fmla="*/ 2147483647 h 115"/>
              <a:gd name="T10" fmla="*/ 2147483647 w 73"/>
              <a:gd name="T11" fmla="*/ 2147483647 h 115"/>
              <a:gd name="T12" fmla="*/ 2147483647 w 73"/>
              <a:gd name="T13" fmla="*/ 2147483647 h 115"/>
              <a:gd name="T14" fmla="*/ 2147483647 w 73"/>
              <a:gd name="T15" fmla="*/ 2147483647 h 115"/>
              <a:gd name="T16" fmla="*/ 2147483647 w 73"/>
              <a:gd name="T17" fmla="*/ 2147483647 h 115"/>
              <a:gd name="T18" fmla="*/ 2147483647 w 73"/>
              <a:gd name="T19" fmla="*/ 2147483647 h 115"/>
              <a:gd name="T20" fmla="*/ 2147483647 w 73"/>
              <a:gd name="T21" fmla="*/ 2147483647 h 115"/>
              <a:gd name="T22" fmla="*/ 2147483647 w 73"/>
              <a:gd name="T23" fmla="*/ 2147483647 h 115"/>
              <a:gd name="T24" fmla="*/ 2147483647 w 73"/>
              <a:gd name="T25" fmla="*/ 2147483647 h 115"/>
              <a:gd name="T26" fmla="*/ 2147483647 w 73"/>
              <a:gd name="T27" fmla="*/ 2147483647 h 115"/>
              <a:gd name="T28" fmla="*/ 2147483647 w 73"/>
              <a:gd name="T29" fmla="*/ 2147483647 h 115"/>
              <a:gd name="T30" fmla="*/ 2147483647 w 73"/>
              <a:gd name="T31" fmla="*/ 2147483647 h 115"/>
              <a:gd name="T32" fmla="*/ 2147483647 w 73"/>
              <a:gd name="T33" fmla="*/ 2147483647 h 115"/>
              <a:gd name="T34" fmla="*/ 0 w 73"/>
              <a:gd name="T35" fmla="*/ 0 h 115"/>
              <a:gd name="T36" fmla="*/ 2147483647 w 73"/>
              <a:gd name="T37" fmla="*/ 2147483647 h 115"/>
              <a:gd name="T38" fmla="*/ 2147483647 w 73"/>
              <a:gd name="T39" fmla="*/ 2147483647 h 115"/>
              <a:gd name="T40" fmla="*/ 2147483647 w 73"/>
              <a:gd name="T41" fmla="*/ 2147483647 h 11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73"/>
              <a:gd name="T64" fmla="*/ 0 h 115"/>
              <a:gd name="T65" fmla="*/ 73 w 73"/>
              <a:gd name="T66" fmla="*/ 115 h 115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73" h="115">
                <a:moveTo>
                  <a:pt x="16" y="72"/>
                </a:moveTo>
                <a:lnTo>
                  <a:pt x="31" y="80"/>
                </a:lnTo>
                <a:lnTo>
                  <a:pt x="25" y="105"/>
                </a:lnTo>
                <a:lnTo>
                  <a:pt x="31" y="114"/>
                </a:lnTo>
                <a:lnTo>
                  <a:pt x="40" y="105"/>
                </a:lnTo>
                <a:lnTo>
                  <a:pt x="56" y="72"/>
                </a:lnTo>
                <a:lnTo>
                  <a:pt x="65" y="72"/>
                </a:lnTo>
                <a:lnTo>
                  <a:pt x="72" y="65"/>
                </a:lnTo>
                <a:lnTo>
                  <a:pt x="72" y="49"/>
                </a:lnTo>
                <a:lnTo>
                  <a:pt x="65" y="40"/>
                </a:lnTo>
                <a:lnTo>
                  <a:pt x="56" y="49"/>
                </a:lnTo>
                <a:lnTo>
                  <a:pt x="40" y="49"/>
                </a:lnTo>
                <a:lnTo>
                  <a:pt x="40" y="32"/>
                </a:lnTo>
                <a:lnTo>
                  <a:pt x="31" y="32"/>
                </a:lnTo>
                <a:lnTo>
                  <a:pt x="31" y="40"/>
                </a:lnTo>
                <a:lnTo>
                  <a:pt x="25" y="32"/>
                </a:lnTo>
                <a:lnTo>
                  <a:pt x="25" y="9"/>
                </a:lnTo>
                <a:lnTo>
                  <a:pt x="0" y="0"/>
                </a:lnTo>
                <a:lnTo>
                  <a:pt x="25" y="32"/>
                </a:lnTo>
                <a:lnTo>
                  <a:pt x="25" y="65"/>
                </a:lnTo>
                <a:lnTo>
                  <a:pt x="16" y="72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13" name="Freeform 283"/>
          <p:cNvSpPr>
            <a:spLocks/>
          </p:cNvSpPr>
          <p:nvPr>
            <p:custDataLst>
              <p:tags r:id="rId224"/>
            </p:custDataLst>
          </p:nvPr>
        </p:nvSpPr>
        <p:spPr bwMode="gray">
          <a:xfrm>
            <a:off x="7634288" y="6026150"/>
            <a:ext cx="166687" cy="166688"/>
          </a:xfrm>
          <a:custGeom>
            <a:avLst/>
            <a:gdLst>
              <a:gd name="T0" fmla="*/ 0 w 107"/>
              <a:gd name="T1" fmla="*/ 2147483647 h 106"/>
              <a:gd name="T2" fmla="*/ 2147483647 w 107"/>
              <a:gd name="T3" fmla="*/ 2147483647 h 106"/>
              <a:gd name="T4" fmla="*/ 2147483647 w 107"/>
              <a:gd name="T5" fmla="*/ 2147483647 h 106"/>
              <a:gd name="T6" fmla="*/ 2147483647 w 107"/>
              <a:gd name="T7" fmla="*/ 2147483647 h 106"/>
              <a:gd name="T8" fmla="*/ 2147483647 w 107"/>
              <a:gd name="T9" fmla="*/ 2147483647 h 106"/>
              <a:gd name="T10" fmla="*/ 2147483647 w 107"/>
              <a:gd name="T11" fmla="*/ 2147483647 h 106"/>
              <a:gd name="T12" fmla="*/ 2147483647 w 107"/>
              <a:gd name="T13" fmla="*/ 2147483647 h 106"/>
              <a:gd name="T14" fmla="*/ 2147483647 w 107"/>
              <a:gd name="T15" fmla="*/ 2147483647 h 106"/>
              <a:gd name="T16" fmla="*/ 2147483647 w 107"/>
              <a:gd name="T17" fmla="*/ 2147483647 h 106"/>
              <a:gd name="T18" fmla="*/ 2147483647 w 107"/>
              <a:gd name="T19" fmla="*/ 2147483647 h 106"/>
              <a:gd name="T20" fmla="*/ 2147483647 w 107"/>
              <a:gd name="T21" fmla="*/ 2147483647 h 106"/>
              <a:gd name="T22" fmla="*/ 2147483647 w 107"/>
              <a:gd name="T23" fmla="*/ 2147483647 h 106"/>
              <a:gd name="T24" fmla="*/ 2147483647 w 107"/>
              <a:gd name="T25" fmla="*/ 2147483647 h 106"/>
              <a:gd name="T26" fmla="*/ 2147483647 w 107"/>
              <a:gd name="T27" fmla="*/ 0 h 106"/>
              <a:gd name="T28" fmla="*/ 2147483647 w 107"/>
              <a:gd name="T29" fmla="*/ 2147483647 h 106"/>
              <a:gd name="T30" fmla="*/ 2147483647 w 107"/>
              <a:gd name="T31" fmla="*/ 0 h 106"/>
              <a:gd name="T32" fmla="*/ 2147483647 w 107"/>
              <a:gd name="T33" fmla="*/ 0 h 106"/>
              <a:gd name="T34" fmla="*/ 2147483647 w 107"/>
              <a:gd name="T35" fmla="*/ 0 h 106"/>
              <a:gd name="T36" fmla="*/ 2147483647 w 107"/>
              <a:gd name="T37" fmla="*/ 2147483647 h 106"/>
              <a:gd name="T38" fmla="*/ 2147483647 w 107"/>
              <a:gd name="T39" fmla="*/ 2147483647 h 106"/>
              <a:gd name="T40" fmla="*/ 2147483647 w 107"/>
              <a:gd name="T41" fmla="*/ 2147483647 h 106"/>
              <a:gd name="T42" fmla="*/ 2147483647 w 107"/>
              <a:gd name="T43" fmla="*/ 2147483647 h 106"/>
              <a:gd name="T44" fmla="*/ 0 w 107"/>
              <a:gd name="T45" fmla="*/ 2147483647 h 10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07"/>
              <a:gd name="T70" fmla="*/ 0 h 106"/>
              <a:gd name="T71" fmla="*/ 107 w 107"/>
              <a:gd name="T72" fmla="*/ 106 h 10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07" h="106">
                <a:moveTo>
                  <a:pt x="0" y="89"/>
                </a:moveTo>
                <a:lnTo>
                  <a:pt x="9" y="97"/>
                </a:lnTo>
                <a:lnTo>
                  <a:pt x="15" y="97"/>
                </a:lnTo>
                <a:lnTo>
                  <a:pt x="32" y="105"/>
                </a:lnTo>
                <a:lnTo>
                  <a:pt x="49" y="97"/>
                </a:lnTo>
                <a:lnTo>
                  <a:pt x="56" y="80"/>
                </a:lnTo>
                <a:lnTo>
                  <a:pt x="65" y="65"/>
                </a:lnTo>
                <a:lnTo>
                  <a:pt x="81" y="49"/>
                </a:lnTo>
                <a:lnTo>
                  <a:pt x="89" y="49"/>
                </a:lnTo>
                <a:lnTo>
                  <a:pt x="81" y="40"/>
                </a:lnTo>
                <a:lnTo>
                  <a:pt x="106" y="17"/>
                </a:lnTo>
                <a:lnTo>
                  <a:pt x="106" y="8"/>
                </a:lnTo>
                <a:lnTo>
                  <a:pt x="97" y="8"/>
                </a:lnTo>
                <a:lnTo>
                  <a:pt x="97" y="0"/>
                </a:lnTo>
                <a:lnTo>
                  <a:pt x="89" y="8"/>
                </a:lnTo>
                <a:lnTo>
                  <a:pt x="89" y="0"/>
                </a:lnTo>
                <a:lnTo>
                  <a:pt x="81" y="0"/>
                </a:lnTo>
                <a:lnTo>
                  <a:pt x="72" y="0"/>
                </a:lnTo>
                <a:lnTo>
                  <a:pt x="72" y="17"/>
                </a:lnTo>
                <a:lnTo>
                  <a:pt x="65" y="17"/>
                </a:lnTo>
                <a:lnTo>
                  <a:pt x="56" y="33"/>
                </a:lnTo>
                <a:lnTo>
                  <a:pt x="24" y="55"/>
                </a:lnTo>
                <a:lnTo>
                  <a:pt x="0" y="89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814" name="Freeform 284"/>
          <p:cNvSpPr>
            <a:spLocks/>
          </p:cNvSpPr>
          <p:nvPr>
            <p:custDataLst>
              <p:tags r:id="rId225"/>
            </p:custDataLst>
          </p:nvPr>
        </p:nvSpPr>
        <p:spPr bwMode="gray">
          <a:xfrm>
            <a:off x="7634288" y="6026150"/>
            <a:ext cx="166687" cy="166688"/>
          </a:xfrm>
          <a:custGeom>
            <a:avLst/>
            <a:gdLst>
              <a:gd name="T0" fmla="*/ 0 w 107"/>
              <a:gd name="T1" fmla="*/ 2147483647 h 106"/>
              <a:gd name="T2" fmla="*/ 2147483647 w 107"/>
              <a:gd name="T3" fmla="*/ 2147483647 h 106"/>
              <a:gd name="T4" fmla="*/ 2147483647 w 107"/>
              <a:gd name="T5" fmla="*/ 2147483647 h 106"/>
              <a:gd name="T6" fmla="*/ 2147483647 w 107"/>
              <a:gd name="T7" fmla="*/ 2147483647 h 106"/>
              <a:gd name="T8" fmla="*/ 2147483647 w 107"/>
              <a:gd name="T9" fmla="*/ 2147483647 h 106"/>
              <a:gd name="T10" fmla="*/ 2147483647 w 107"/>
              <a:gd name="T11" fmla="*/ 2147483647 h 106"/>
              <a:gd name="T12" fmla="*/ 2147483647 w 107"/>
              <a:gd name="T13" fmla="*/ 2147483647 h 106"/>
              <a:gd name="T14" fmla="*/ 2147483647 w 107"/>
              <a:gd name="T15" fmla="*/ 2147483647 h 106"/>
              <a:gd name="T16" fmla="*/ 2147483647 w 107"/>
              <a:gd name="T17" fmla="*/ 2147483647 h 106"/>
              <a:gd name="T18" fmla="*/ 2147483647 w 107"/>
              <a:gd name="T19" fmla="*/ 2147483647 h 106"/>
              <a:gd name="T20" fmla="*/ 2147483647 w 107"/>
              <a:gd name="T21" fmla="*/ 2147483647 h 106"/>
              <a:gd name="T22" fmla="*/ 2147483647 w 107"/>
              <a:gd name="T23" fmla="*/ 2147483647 h 106"/>
              <a:gd name="T24" fmla="*/ 2147483647 w 107"/>
              <a:gd name="T25" fmla="*/ 2147483647 h 106"/>
              <a:gd name="T26" fmla="*/ 2147483647 w 107"/>
              <a:gd name="T27" fmla="*/ 0 h 106"/>
              <a:gd name="T28" fmla="*/ 2147483647 w 107"/>
              <a:gd name="T29" fmla="*/ 2147483647 h 106"/>
              <a:gd name="T30" fmla="*/ 2147483647 w 107"/>
              <a:gd name="T31" fmla="*/ 0 h 106"/>
              <a:gd name="T32" fmla="*/ 2147483647 w 107"/>
              <a:gd name="T33" fmla="*/ 0 h 106"/>
              <a:gd name="T34" fmla="*/ 2147483647 w 107"/>
              <a:gd name="T35" fmla="*/ 0 h 106"/>
              <a:gd name="T36" fmla="*/ 2147483647 w 107"/>
              <a:gd name="T37" fmla="*/ 2147483647 h 106"/>
              <a:gd name="T38" fmla="*/ 2147483647 w 107"/>
              <a:gd name="T39" fmla="*/ 2147483647 h 106"/>
              <a:gd name="T40" fmla="*/ 2147483647 w 107"/>
              <a:gd name="T41" fmla="*/ 2147483647 h 106"/>
              <a:gd name="T42" fmla="*/ 2147483647 w 107"/>
              <a:gd name="T43" fmla="*/ 2147483647 h 106"/>
              <a:gd name="T44" fmla="*/ 0 w 107"/>
              <a:gd name="T45" fmla="*/ 2147483647 h 10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07"/>
              <a:gd name="T70" fmla="*/ 0 h 106"/>
              <a:gd name="T71" fmla="*/ 107 w 107"/>
              <a:gd name="T72" fmla="*/ 106 h 10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07" h="106">
                <a:moveTo>
                  <a:pt x="0" y="89"/>
                </a:moveTo>
                <a:lnTo>
                  <a:pt x="9" y="97"/>
                </a:lnTo>
                <a:lnTo>
                  <a:pt x="15" y="97"/>
                </a:lnTo>
                <a:lnTo>
                  <a:pt x="32" y="105"/>
                </a:lnTo>
                <a:lnTo>
                  <a:pt x="49" y="97"/>
                </a:lnTo>
                <a:lnTo>
                  <a:pt x="56" y="80"/>
                </a:lnTo>
                <a:lnTo>
                  <a:pt x="65" y="65"/>
                </a:lnTo>
                <a:lnTo>
                  <a:pt x="81" y="49"/>
                </a:lnTo>
                <a:lnTo>
                  <a:pt x="89" y="49"/>
                </a:lnTo>
                <a:lnTo>
                  <a:pt x="81" y="40"/>
                </a:lnTo>
                <a:lnTo>
                  <a:pt x="106" y="17"/>
                </a:lnTo>
                <a:lnTo>
                  <a:pt x="106" y="8"/>
                </a:lnTo>
                <a:lnTo>
                  <a:pt x="97" y="8"/>
                </a:lnTo>
                <a:lnTo>
                  <a:pt x="97" y="0"/>
                </a:lnTo>
                <a:lnTo>
                  <a:pt x="89" y="8"/>
                </a:lnTo>
                <a:lnTo>
                  <a:pt x="89" y="0"/>
                </a:lnTo>
                <a:lnTo>
                  <a:pt x="81" y="0"/>
                </a:lnTo>
                <a:lnTo>
                  <a:pt x="72" y="0"/>
                </a:lnTo>
                <a:lnTo>
                  <a:pt x="72" y="17"/>
                </a:lnTo>
                <a:lnTo>
                  <a:pt x="65" y="17"/>
                </a:lnTo>
                <a:lnTo>
                  <a:pt x="56" y="33"/>
                </a:lnTo>
                <a:lnTo>
                  <a:pt x="24" y="55"/>
                </a:lnTo>
                <a:lnTo>
                  <a:pt x="0" y="89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15" name="Freeform 285"/>
          <p:cNvSpPr>
            <a:spLocks/>
          </p:cNvSpPr>
          <p:nvPr>
            <p:custDataLst>
              <p:tags r:id="rId226"/>
            </p:custDataLst>
          </p:nvPr>
        </p:nvSpPr>
        <p:spPr bwMode="gray">
          <a:xfrm>
            <a:off x="6203950" y="5024438"/>
            <a:ext cx="219075" cy="227012"/>
          </a:xfrm>
          <a:custGeom>
            <a:avLst/>
            <a:gdLst>
              <a:gd name="T0" fmla="*/ 0 w 140"/>
              <a:gd name="T1" fmla="*/ 0 h 145"/>
              <a:gd name="T2" fmla="*/ 0 w 140"/>
              <a:gd name="T3" fmla="*/ 2147483647 h 145"/>
              <a:gd name="T4" fmla="*/ 2147483647 w 140"/>
              <a:gd name="T5" fmla="*/ 2147483647 h 145"/>
              <a:gd name="T6" fmla="*/ 2147483647 w 140"/>
              <a:gd name="T7" fmla="*/ 2147483647 h 145"/>
              <a:gd name="T8" fmla="*/ 2147483647 w 140"/>
              <a:gd name="T9" fmla="*/ 2147483647 h 145"/>
              <a:gd name="T10" fmla="*/ 2147483647 w 140"/>
              <a:gd name="T11" fmla="*/ 2147483647 h 145"/>
              <a:gd name="T12" fmla="*/ 2147483647 w 140"/>
              <a:gd name="T13" fmla="*/ 2147483647 h 145"/>
              <a:gd name="T14" fmla="*/ 2147483647 w 140"/>
              <a:gd name="T15" fmla="*/ 2147483647 h 145"/>
              <a:gd name="T16" fmla="*/ 2147483647 w 140"/>
              <a:gd name="T17" fmla="*/ 2147483647 h 145"/>
              <a:gd name="T18" fmla="*/ 2147483647 w 140"/>
              <a:gd name="T19" fmla="*/ 2147483647 h 145"/>
              <a:gd name="T20" fmla="*/ 2147483647 w 140"/>
              <a:gd name="T21" fmla="*/ 2147483647 h 145"/>
              <a:gd name="T22" fmla="*/ 2147483647 w 140"/>
              <a:gd name="T23" fmla="*/ 2147483647 h 145"/>
              <a:gd name="T24" fmla="*/ 2147483647 w 140"/>
              <a:gd name="T25" fmla="*/ 2147483647 h 145"/>
              <a:gd name="T26" fmla="*/ 2147483647 w 140"/>
              <a:gd name="T27" fmla="*/ 2147483647 h 145"/>
              <a:gd name="T28" fmla="*/ 2147483647 w 140"/>
              <a:gd name="T29" fmla="*/ 2147483647 h 145"/>
              <a:gd name="T30" fmla="*/ 2147483647 w 140"/>
              <a:gd name="T31" fmla="*/ 2147483647 h 145"/>
              <a:gd name="T32" fmla="*/ 2147483647 w 140"/>
              <a:gd name="T33" fmla="*/ 2147483647 h 145"/>
              <a:gd name="T34" fmla="*/ 2147483647 w 140"/>
              <a:gd name="T35" fmla="*/ 2147483647 h 145"/>
              <a:gd name="T36" fmla="*/ 2147483647 w 140"/>
              <a:gd name="T37" fmla="*/ 2147483647 h 145"/>
              <a:gd name="T38" fmla="*/ 2147483647 w 140"/>
              <a:gd name="T39" fmla="*/ 2147483647 h 145"/>
              <a:gd name="T40" fmla="*/ 2147483647 w 140"/>
              <a:gd name="T41" fmla="*/ 2147483647 h 145"/>
              <a:gd name="T42" fmla="*/ 0 w 140"/>
              <a:gd name="T43" fmla="*/ 0 h 14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140"/>
              <a:gd name="T67" fmla="*/ 0 h 145"/>
              <a:gd name="T68" fmla="*/ 140 w 140"/>
              <a:gd name="T69" fmla="*/ 145 h 145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140" h="145">
                <a:moveTo>
                  <a:pt x="0" y="0"/>
                </a:moveTo>
                <a:lnTo>
                  <a:pt x="0" y="7"/>
                </a:lnTo>
                <a:lnTo>
                  <a:pt x="18" y="23"/>
                </a:lnTo>
                <a:lnTo>
                  <a:pt x="33" y="41"/>
                </a:lnTo>
                <a:lnTo>
                  <a:pt x="42" y="47"/>
                </a:lnTo>
                <a:lnTo>
                  <a:pt x="49" y="64"/>
                </a:lnTo>
                <a:lnTo>
                  <a:pt x="65" y="81"/>
                </a:lnTo>
                <a:lnTo>
                  <a:pt x="83" y="113"/>
                </a:lnTo>
                <a:lnTo>
                  <a:pt x="114" y="144"/>
                </a:lnTo>
                <a:lnTo>
                  <a:pt x="130" y="144"/>
                </a:lnTo>
                <a:lnTo>
                  <a:pt x="139" y="113"/>
                </a:lnTo>
                <a:lnTo>
                  <a:pt x="130" y="97"/>
                </a:lnTo>
                <a:lnTo>
                  <a:pt x="123" y="97"/>
                </a:lnTo>
                <a:lnTo>
                  <a:pt x="114" y="81"/>
                </a:lnTo>
                <a:lnTo>
                  <a:pt x="108" y="81"/>
                </a:lnTo>
                <a:lnTo>
                  <a:pt x="108" y="72"/>
                </a:lnTo>
                <a:lnTo>
                  <a:pt x="98" y="64"/>
                </a:lnTo>
                <a:lnTo>
                  <a:pt x="98" y="56"/>
                </a:lnTo>
                <a:lnTo>
                  <a:pt x="74" y="41"/>
                </a:lnTo>
                <a:lnTo>
                  <a:pt x="65" y="41"/>
                </a:lnTo>
                <a:lnTo>
                  <a:pt x="24" y="7"/>
                </a:lnTo>
                <a:lnTo>
                  <a:pt x="0" y="0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16" name="Freeform 286"/>
          <p:cNvSpPr>
            <a:spLocks/>
          </p:cNvSpPr>
          <p:nvPr>
            <p:custDataLst>
              <p:tags r:id="rId227"/>
            </p:custDataLst>
          </p:nvPr>
        </p:nvSpPr>
        <p:spPr bwMode="gray">
          <a:xfrm>
            <a:off x="6408738" y="5249863"/>
            <a:ext cx="180975" cy="55562"/>
          </a:xfrm>
          <a:custGeom>
            <a:avLst/>
            <a:gdLst>
              <a:gd name="T0" fmla="*/ 0 w 116"/>
              <a:gd name="T1" fmla="*/ 2147483647 h 35"/>
              <a:gd name="T2" fmla="*/ 2147483647 w 116"/>
              <a:gd name="T3" fmla="*/ 2147483647 h 35"/>
              <a:gd name="T4" fmla="*/ 2147483647 w 116"/>
              <a:gd name="T5" fmla="*/ 2147483647 h 35"/>
              <a:gd name="T6" fmla="*/ 2147483647 w 116"/>
              <a:gd name="T7" fmla="*/ 2147483647 h 35"/>
              <a:gd name="T8" fmla="*/ 2147483647 w 116"/>
              <a:gd name="T9" fmla="*/ 2147483647 h 35"/>
              <a:gd name="T10" fmla="*/ 2147483647 w 116"/>
              <a:gd name="T11" fmla="*/ 2147483647 h 35"/>
              <a:gd name="T12" fmla="*/ 2147483647 w 116"/>
              <a:gd name="T13" fmla="*/ 2147483647 h 35"/>
              <a:gd name="T14" fmla="*/ 2147483647 w 116"/>
              <a:gd name="T15" fmla="*/ 2147483647 h 35"/>
              <a:gd name="T16" fmla="*/ 2147483647 w 116"/>
              <a:gd name="T17" fmla="*/ 2147483647 h 35"/>
              <a:gd name="T18" fmla="*/ 2147483647 w 116"/>
              <a:gd name="T19" fmla="*/ 0 h 35"/>
              <a:gd name="T20" fmla="*/ 2147483647 w 116"/>
              <a:gd name="T21" fmla="*/ 0 h 35"/>
              <a:gd name="T22" fmla="*/ 0 w 116"/>
              <a:gd name="T23" fmla="*/ 2147483647 h 3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16"/>
              <a:gd name="T37" fmla="*/ 0 h 35"/>
              <a:gd name="T38" fmla="*/ 116 w 116"/>
              <a:gd name="T39" fmla="*/ 35 h 3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16" h="35">
                <a:moveTo>
                  <a:pt x="0" y="9"/>
                </a:moveTo>
                <a:lnTo>
                  <a:pt x="33" y="25"/>
                </a:lnTo>
                <a:lnTo>
                  <a:pt x="115" y="34"/>
                </a:lnTo>
                <a:lnTo>
                  <a:pt x="115" y="25"/>
                </a:lnTo>
                <a:lnTo>
                  <a:pt x="98" y="25"/>
                </a:lnTo>
                <a:lnTo>
                  <a:pt x="90" y="17"/>
                </a:lnTo>
                <a:lnTo>
                  <a:pt x="65" y="9"/>
                </a:lnTo>
                <a:lnTo>
                  <a:pt x="65" y="17"/>
                </a:lnTo>
                <a:lnTo>
                  <a:pt x="50" y="9"/>
                </a:lnTo>
                <a:lnTo>
                  <a:pt x="25" y="0"/>
                </a:lnTo>
                <a:lnTo>
                  <a:pt x="9" y="0"/>
                </a:lnTo>
                <a:lnTo>
                  <a:pt x="0" y="9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817" name="Freeform 287"/>
          <p:cNvSpPr>
            <a:spLocks/>
          </p:cNvSpPr>
          <p:nvPr>
            <p:custDataLst>
              <p:tags r:id="rId228"/>
            </p:custDataLst>
          </p:nvPr>
        </p:nvSpPr>
        <p:spPr bwMode="gray">
          <a:xfrm>
            <a:off x="6588125" y="5303838"/>
            <a:ext cx="26988" cy="1587"/>
          </a:xfrm>
          <a:custGeom>
            <a:avLst/>
            <a:gdLst>
              <a:gd name="T0" fmla="*/ 0 w 17"/>
              <a:gd name="T1" fmla="*/ 0 h 1"/>
              <a:gd name="T2" fmla="*/ 2147483647 w 17"/>
              <a:gd name="T3" fmla="*/ 0 h 1"/>
              <a:gd name="T4" fmla="*/ 2147483647 w 17"/>
              <a:gd name="T5" fmla="*/ 0 h 1"/>
              <a:gd name="T6" fmla="*/ 0 w 17"/>
              <a:gd name="T7" fmla="*/ 0 h 1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1"/>
              <a:gd name="T14" fmla="*/ 17 w 17"/>
              <a:gd name="T15" fmla="*/ 1 h 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1">
                <a:moveTo>
                  <a:pt x="0" y="0"/>
                </a:moveTo>
                <a:lnTo>
                  <a:pt x="6" y="0"/>
                </a:lnTo>
                <a:lnTo>
                  <a:pt x="16" y="0"/>
                </a:lnTo>
                <a:lnTo>
                  <a:pt x="0" y="0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818" name="Freeform 288"/>
          <p:cNvSpPr>
            <a:spLocks/>
          </p:cNvSpPr>
          <p:nvPr>
            <p:custDataLst>
              <p:tags r:id="rId229"/>
            </p:custDataLst>
          </p:nvPr>
        </p:nvSpPr>
        <p:spPr bwMode="gray">
          <a:xfrm>
            <a:off x="6626225" y="5303838"/>
            <a:ext cx="155575" cy="25400"/>
          </a:xfrm>
          <a:custGeom>
            <a:avLst/>
            <a:gdLst>
              <a:gd name="T0" fmla="*/ 0 w 98"/>
              <a:gd name="T1" fmla="*/ 2147483647 h 17"/>
              <a:gd name="T2" fmla="*/ 2147483647 w 98"/>
              <a:gd name="T3" fmla="*/ 2147483647 h 17"/>
              <a:gd name="T4" fmla="*/ 2147483647 w 98"/>
              <a:gd name="T5" fmla="*/ 0 h 17"/>
              <a:gd name="T6" fmla="*/ 2147483647 w 98"/>
              <a:gd name="T7" fmla="*/ 2147483647 h 17"/>
              <a:gd name="T8" fmla="*/ 2147483647 w 98"/>
              <a:gd name="T9" fmla="*/ 0 h 17"/>
              <a:gd name="T10" fmla="*/ 2147483647 w 98"/>
              <a:gd name="T11" fmla="*/ 0 h 17"/>
              <a:gd name="T12" fmla="*/ 2147483647 w 98"/>
              <a:gd name="T13" fmla="*/ 0 h 17"/>
              <a:gd name="T14" fmla="*/ 2147483647 w 98"/>
              <a:gd name="T15" fmla="*/ 0 h 17"/>
              <a:gd name="T16" fmla="*/ 2147483647 w 98"/>
              <a:gd name="T17" fmla="*/ 0 h 17"/>
              <a:gd name="T18" fmla="*/ 2147483647 w 98"/>
              <a:gd name="T19" fmla="*/ 0 h 17"/>
              <a:gd name="T20" fmla="*/ 0 w 98"/>
              <a:gd name="T21" fmla="*/ 0 h 17"/>
              <a:gd name="T22" fmla="*/ 0 w 98"/>
              <a:gd name="T23" fmla="*/ 2147483647 h 1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98"/>
              <a:gd name="T37" fmla="*/ 0 h 17"/>
              <a:gd name="T38" fmla="*/ 98 w 98"/>
              <a:gd name="T39" fmla="*/ 17 h 17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98" h="17">
                <a:moveTo>
                  <a:pt x="0" y="16"/>
                </a:moveTo>
                <a:lnTo>
                  <a:pt x="7" y="16"/>
                </a:lnTo>
                <a:lnTo>
                  <a:pt x="41" y="0"/>
                </a:lnTo>
                <a:lnTo>
                  <a:pt x="73" y="16"/>
                </a:lnTo>
                <a:lnTo>
                  <a:pt x="97" y="0"/>
                </a:lnTo>
                <a:lnTo>
                  <a:pt x="81" y="0"/>
                </a:lnTo>
                <a:lnTo>
                  <a:pt x="56" y="0"/>
                </a:lnTo>
                <a:lnTo>
                  <a:pt x="41" y="0"/>
                </a:lnTo>
                <a:lnTo>
                  <a:pt x="16" y="0"/>
                </a:lnTo>
                <a:lnTo>
                  <a:pt x="23" y="0"/>
                </a:lnTo>
                <a:lnTo>
                  <a:pt x="0" y="0"/>
                </a:lnTo>
                <a:lnTo>
                  <a:pt x="0" y="16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819" name="Freeform 289"/>
          <p:cNvSpPr>
            <a:spLocks/>
          </p:cNvSpPr>
          <p:nvPr>
            <p:custDataLst>
              <p:tags r:id="rId230"/>
            </p:custDataLst>
          </p:nvPr>
        </p:nvSpPr>
        <p:spPr bwMode="gray">
          <a:xfrm>
            <a:off x="6673850" y="5327650"/>
            <a:ext cx="42863" cy="26988"/>
          </a:xfrm>
          <a:custGeom>
            <a:avLst/>
            <a:gdLst>
              <a:gd name="T0" fmla="*/ 0 w 26"/>
              <a:gd name="T1" fmla="*/ 0 h 17"/>
              <a:gd name="T2" fmla="*/ 2147483647 w 26"/>
              <a:gd name="T3" fmla="*/ 2147483647 h 17"/>
              <a:gd name="T4" fmla="*/ 2147483647 w 26"/>
              <a:gd name="T5" fmla="*/ 2147483647 h 17"/>
              <a:gd name="T6" fmla="*/ 2147483647 w 26"/>
              <a:gd name="T7" fmla="*/ 0 h 17"/>
              <a:gd name="T8" fmla="*/ 0 w 26"/>
              <a:gd name="T9" fmla="*/ 0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6"/>
              <a:gd name="T16" fmla="*/ 0 h 17"/>
              <a:gd name="T17" fmla="*/ 26 w 26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6" h="17">
                <a:moveTo>
                  <a:pt x="0" y="0"/>
                </a:moveTo>
                <a:lnTo>
                  <a:pt x="17" y="16"/>
                </a:lnTo>
                <a:lnTo>
                  <a:pt x="25" y="16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820" name="Freeform 290"/>
          <p:cNvSpPr>
            <a:spLocks/>
          </p:cNvSpPr>
          <p:nvPr>
            <p:custDataLst>
              <p:tags r:id="rId231"/>
            </p:custDataLst>
          </p:nvPr>
        </p:nvSpPr>
        <p:spPr bwMode="gray">
          <a:xfrm>
            <a:off x="6765925" y="5303838"/>
            <a:ext cx="79375" cy="39687"/>
          </a:xfrm>
          <a:custGeom>
            <a:avLst/>
            <a:gdLst>
              <a:gd name="T0" fmla="*/ 0 w 51"/>
              <a:gd name="T1" fmla="*/ 2147483647 h 26"/>
              <a:gd name="T2" fmla="*/ 2147483647 w 51"/>
              <a:gd name="T3" fmla="*/ 2147483647 h 26"/>
              <a:gd name="T4" fmla="*/ 2147483647 w 51"/>
              <a:gd name="T5" fmla="*/ 0 h 26"/>
              <a:gd name="T6" fmla="*/ 2147483647 w 51"/>
              <a:gd name="T7" fmla="*/ 0 h 26"/>
              <a:gd name="T8" fmla="*/ 2147483647 w 51"/>
              <a:gd name="T9" fmla="*/ 2147483647 h 26"/>
              <a:gd name="T10" fmla="*/ 0 w 51"/>
              <a:gd name="T11" fmla="*/ 2147483647 h 2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1"/>
              <a:gd name="T19" fmla="*/ 0 h 26"/>
              <a:gd name="T20" fmla="*/ 51 w 51"/>
              <a:gd name="T21" fmla="*/ 26 h 2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1" h="26">
                <a:moveTo>
                  <a:pt x="0" y="25"/>
                </a:moveTo>
                <a:lnTo>
                  <a:pt x="18" y="25"/>
                </a:lnTo>
                <a:lnTo>
                  <a:pt x="50" y="0"/>
                </a:lnTo>
                <a:lnTo>
                  <a:pt x="25" y="0"/>
                </a:lnTo>
                <a:lnTo>
                  <a:pt x="9" y="16"/>
                </a:lnTo>
                <a:lnTo>
                  <a:pt x="0" y="25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21" name="Freeform 291"/>
          <p:cNvSpPr>
            <a:spLocks/>
          </p:cNvSpPr>
          <p:nvPr>
            <p:custDataLst>
              <p:tags r:id="rId232"/>
            </p:custDataLst>
          </p:nvPr>
        </p:nvSpPr>
        <p:spPr bwMode="gray">
          <a:xfrm>
            <a:off x="6983413" y="5238750"/>
            <a:ext cx="25400" cy="39688"/>
          </a:xfrm>
          <a:custGeom>
            <a:avLst/>
            <a:gdLst>
              <a:gd name="T0" fmla="*/ 0 w 17"/>
              <a:gd name="T1" fmla="*/ 2147483647 h 25"/>
              <a:gd name="T2" fmla="*/ 2147483647 w 17"/>
              <a:gd name="T3" fmla="*/ 2147483647 h 25"/>
              <a:gd name="T4" fmla="*/ 2147483647 w 17"/>
              <a:gd name="T5" fmla="*/ 0 h 25"/>
              <a:gd name="T6" fmla="*/ 0 w 17"/>
              <a:gd name="T7" fmla="*/ 2147483647 h 25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25"/>
              <a:gd name="T14" fmla="*/ 17 w 17"/>
              <a:gd name="T15" fmla="*/ 25 h 2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25">
                <a:moveTo>
                  <a:pt x="0" y="24"/>
                </a:moveTo>
                <a:lnTo>
                  <a:pt x="16" y="7"/>
                </a:lnTo>
                <a:lnTo>
                  <a:pt x="16" y="0"/>
                </a:lnTo>
                <a:lnTo>
                  <a:pt x="0" y="24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822" name="Freeform 292"/>
          <p:cNvSpPr>
            <a:spLocks/>
          </p:cNvSpPr>
          <p:nvPr>
            <p:custDataLst>
              <p:tags r:id="rId233"/>
            </p:custDataLst>
          </p:nvPr>
        </p:nvSpPr>
        <p:spPr bwMode="gray">
          <a:xfrm>
            <a:off x="6408738" y="5160963"/>
            <a:ext cx="28575" cy="41275"/>
          </a:xfrm>
          <a:custGeom>
            <a:avLst/>
            <a:gdLst>
              <a:gd name="T0" fmla="*/ 0 w 19"/>
              <a:gd name="T1" fmla="*/ 2147483647 h 26"/>
              <a:gd name="T2" fmla="*/ 2147483647 w 19"/>
              <a:gd name="T3" fmla="*/ 2147483647 h 26"/>
              <a:gd name="T4" fmla="*/ 2147483647 w 19"/>
              <a:gd name="T5" fmla="*/ 2147483647 h 26"/>
              <a:gd name="T6" fmla="*/ 2147483647 w 19"/>
              <a:gd name="T7" fmla="*/ 2147483647 h 26"/>
              <a:gd name="T8" fmla="*/ 2147483647 w 19"/>
              <a:gd name="T9" fmla="*/ 0 h 26"/>
              <a:gd name="T10" fmla="*/ 0 w 19"/>
              <a:gd name="T11" fmla="*/ 2147483647 h 2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9"/>
              <a:gd name="T19" fmla="*/ 0 h 26"/>
              <a:gd name="T20" fmla="*/ 19 w 19"/>
              <a:gd name="T21" fmla="*/ 26 h 2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9" h="26">
                <a:moveTo>
                  <a:pt x="0" y="9"/>
                </a:moveTo>
                <a:lnTo>
                  <a:pt x="9" y="16"/>
                </a:lnTo>
                <a:lnTo>
                  <a:pt x="18" y="25"/>
                </a:lnTo>
                <a:lnTo>
                  <a:pt x="18" y="16"/>
                </a:lnTo>
                <a:lnTo>
                  <a:pt x="9" y="0"/>
                </a:lnTo>
                <a:lnTo>
                  <a:pt x="0" y="9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823" name="Freeform 293"/>
          <p:cNvSpPr>
            <a:spLocks/>
          </p:cNvSpPr>
          <p:nvPr>
            <p:custDataLst>
              <p:tags r:id="rId234"/>
            </p:custDataLst>
          </p:nvPr>
        </p:nvSpPr>
        <p:spPr bwMode="gray">
          <a:xfrm>
            <a:off x="6408738" y="5160963"/>
            <a:ext cx="28575" cy="41275"/>
          </a:xfrm>
          <a:custGeom>
            <a:avLst/>
            <a:gdLst>
              <a:gd name="T0" fmla="*/ 0 w 19"/>
              <a:gd name="T1" fmla="*/ 2147483647 h 26"/>
              <a:gd name="T2" fmla="*/ 2147483647 w 19"/>
              <a:gd name="T3" fmla="*/ 2147483647 h 26"/>
              <a:gd name="T4" fmla="*/ 2147483647 w 19"/>
              <a:gd name="T5" fmla="*/ 2147483647 h 26"/>
              <a:gd name="T6" fmla="*/ 2147483647 w 19"/>
              <a:gd name="T7" fmla="*/ 2147483647 h 26"/>
              <a:gd name="T8" fmla="*/ 2147483647 w 19"/>
              <a:gd name="T9" fmla="*/ 0 h 26"/>
              <a:gd name="T10" fmla="*/ 0 w 19"/>
              <a:gd name="T11" fmla="*/ 2147483647 h 2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9"/>
              <a:gd name="T19" fmla="*/ 0 h 26"/>
              <a:gd name="T20" fmla="*/ 19 w 19"/>
              <a:gd name="T21" fmla="*/ 26 h 2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9" h="26">
                <a:moveTo>
                  <a:pt x="0" y="9"/>
                </a:moveTo>
                <a:lnTo>
                  <a:pt x="9" y="16"/>
                </a:lnTo>
                <a:lnTo>
                  <a:pt x="18" y="25"/>
                </a:lnTo>
                <a:lnTo>
                  <a:pt x="18" y="16"/>
                </a:lnTo>
                <a:lnTo>
                  <a:pt x="9" y="0"/>
                </a:lnTo>
                <a:lnTo>
                  <a:pt x="0" y="9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24" name="Freeform 294"/>
          <p:cNvSpPr>
            <a:spLocks/>
          </p:cNvSpPr>
          <p:nvPr>
            <p:custDataLst>
              <p:tags r:id="rId235"/>
            </p:custDataLst>
          </p:nvPr>
        </p:nvSpPr>
        <p:spPr bwMode="gray">
          <a:xfrm>
            <a:off x="6446838" y="5186363"/>
            <a:ext cx="26987" cy="26987"/>
          </a:xfrm>
          <a:custGeom>
            <a:avLst/>
            <a:gdLst>
              <a:gd name="T0" fmla="*/ 0 w 17"/>
              <a:gd name="T1" fmla="*/ 2147483647 h 17"/>
              <a:gd name="T2" fmla="*/ 2147483647 w 17"/>
              <a:gd name="T3" fmla="*/ 2147483647 h 17"/>
              <a:gd name="T4" fmla="*/ 2147483647 w 17"/>
              <a:gd name="T5" fmla="*/ 0 h 17"/>
              <a:gd name="T6" fmla="*/ 0 w 17"/>
              <a:gd name="T7" fmla="*/ 0 h 17"/>
              <a:gd name="T8" fmla="*/ 0 w 17"/>
              <a:gd name="T9" fmla="*/ 2147483647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17"/>
              <a:gd name="T17" fmla="*/ 17 w 17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17">
                <a:moveTo>
                  <a:pt x="0" y="16"/>
                </a:moveTo>
                <a:lnTo>
                  <a:pt x="16" y="16"/>
                </a:lnTo>
                <a:lnTo>
                  <a:pt x="16" y="0"/>
                </a:lnTo>
                <a:lnTo>
                  <a:pt x="0" y="0"/>
                </a:lnTo>
                <a:lnTo>
                  <a:pt x="0" y="16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825" name="Freeform 295"/>
          <p:cNvSpPr>
            <a:spLocks/>
          </p:cNvSpPr>
          <p:nvPr>
            <p:custDataLst>
              <p:tags r:id="rId236"/>
            </p:custDataLst>
          </p:nvPr>
        </p:nvSpPr>
        <p:spPr bwMode="gray">
          <a:xfrm>
            <a:off x="6673850" y="5097463"/>
            <a:ext cx="131763" cy="153987"/>
          </a:xfrm>
          <a:custGeom>
            <a:avLst/>
            <a:gdLst>
              <a:gd name="T0" fmla="*/ 0 w 83"/>
              <a:gd name="T1" fmla="*/ 2147483647 h 98"/>
              <a:gd name="T2" fmla="*/ 0 w 83"/>
              <a:gd name="T3" fmla="*/ 2147483647 h 98"/>
              <a:gd name="T4" fmla="*/ 2147483647 w 83"/>
              <a:gd name="T5" fmla="*/ 2147483647 h 98"/>
              <a:gd name="T6" fmla="*/ 2147483647 w 83"/>
              <a:gd name="T7" fmla="*/ 2147483647 h 98"/>
              <a:gd name="T8" fmla="*/ 2147483647 w 83"/>
              <a:gd name="T9" fmla="*/ 2147483647 h 98"/>
              <a:gd name="T10" fmla="*/ 2147483647 w 83"/>
              <a:gd name="T11" fmla="*/ 2147483647 h 98"/>
              <a:gd name="T12" fmla="*/ 2147483647 w 83"/>
              <a:gd name="T13" fmla="*/ 2147483647 h 98"/>
              <a:gd name="T14" fmla="*/ 2147483647 w 83"/>
              <a:gd name="T15" fmla="*/ 2147483647 h 98"/>
              <a:gd name="T16" fmla="*/ 2147483647 w 83"/>
              <a:gd name="T17" fmla="*/ 2147483647 h 98"/>
              <a:gd name="T18" fmla="*/ 2147483647 w 83"/>
              <a:gd name="T19" fmla="*/ 2147483647 h 98"/>
              <a:gd name="T20" fmla="*/ 2147483647 w 83"/>
              <a:gd name="T21" fmla="*/ 2147483647 h 98"/>
              <a:gd name="T22" fmla="*/ 2147483647 w 83"/>
              <a:gd name="T23" fmla="*/ 2147483647 h 98"/>
              <a:gd name="T24" fmla="*/ 2147483647 w 83"/>
              <a:gd name="T25" fmla="*/ 2147483647 h 98"/>
              <a:gd name="T26" fmla="*/ 2147483647 w 83"/>
              <a:gd name="T27" fmla="*/ 2147483647 h 98"/>
              <a:gd name="T28" fmla="*/ 2147483647 w 83"/>
              <a:gd name="T29" fmla="*/ 2147483647 h 98"/>
              <a:gd name="T30" fmla="*/ 2147483647 w 83"/>
              <a:gd name="T31" fmla="*/ 2147483647 h 98"/>
              <a:gd name="T32" fmla="*/ 2147483647 w 83"/>
              <a:gd name="T33" fmla="*/ 2147483647 h 98"/>
              <a:gd name="T34" fmla="*/ 2147483647 w 83"/>
              <a:gd name="T35" fmla="*/ 2147483647 h 98"/>
              <a:gd name="T36" fmla="*/ 2147483647 w 83"/>
              <a:gd name="T37" fmla="*/ 2147483647 h 98"/>
              <a:gd name="T38" fmla="*/ 2147483647 w 83"/>
              <a:gd name="T39" fmla="*/ 2147483647 h 98"/>
              <a:gd name="T40" fmla="*/ 2147483647 w 83"/>
              <a:gd name="T41" fmla="*/ 2147483647 h 98"/>
              <a:gd name="T42" fmla="*/ 2147483647 w 83"/>
              <a:gd name="T43" fmla="*/ 2147483647 h 98"/>
              <a:gd name="T44" fmla="*/ 2147483647 w 83"/>
              <a:gd name="T45" fmla="*/ 2147483647 h 98"/>
              <a:gd name="T46" fmla="*/ 2147483647 w 83"/>
              <a:gd name="T47" fmla="*/ 2147483647 h 98"/>
              <a:gd name="T48" fmla="*/ 2147483647 w 83"/>
              <a:gd name="T49" fmla="*/ 2147483647 h 98"/>
              <a:gd name="T50" fmla="*/ 2147483647 w 83"/>
              <a:gd name="T51" fmla="*/ 2147483647 h 98"/>
              <a:gd name="T52" fmla="*/ 2147483647 w 83"/>
              <a:gd name="T53" fmla="*/ 0 h 98"/>
              <a:gd name="T54" fmla="*/ 2147483647 w 83"/>
              <a:gd name="T55" fmla="*/ 2147483647 h 98"/>
              <a:gd name="T56" fmla="*/ 2147483647 w 83"/>
              <a:gd name="T57" fmla="*/ 2147483647 h 98"/>
              <a:gd name="T58" fmla="*/ 2147483647 w 83"/>
              <a:gd name="T59" fmla="*/ 2147483647 h 98"/>
              <a:gd name="T60" fmla="*/ 2147483647 w 83"/>
              <a:gd name="T61" fmla="*/ 2147483647 h 98"/>
              <a:gd name="T62" fmla="*/ 2147483647 w 83"/>
              <a:gd name="T63" fmla="*/ 2147483647 h 98"/>
              <a:gd name="T64" fmla="*/ 2147483647 w 83"/>
              <a:gd name="T65" fmla="*/ 2147483647 h 98"/>
              <a:gd name="T66" fmla="*/ 0 w 83"/>
              <a:gd name="T67" fmla="*/ 2147483647 h 98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83"/>
              <a:gd name="T103" fmla="*/ 0 h 98"/>
              <a:gd name="T104" fmla="*/ 83 w 83"/>
              <a:gd name="T105" fmla="*/ 98 h 98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83" h="98">
                <a:moveTo>
                  <a:pt x="0" y="57"/>
                </a:moveTo>
                <a:lnTo>
                  <a:pt x="0" y="66"/>
                </a:lnTo>
                <a:lnTo>
                  <a:pt x="10" y="66"/>
                </a:lnTo>
                <a:lnTo>
                  <a:pt x="10" y="74"/>
                </a:lnTo>
                <a:lnTo>
                  <a:pt x="10" y="97"/>
                </a:lnTo>
                <a:lnTo>
                  <a:pt x="17" y="90"/>
                </a:lnTo>
                <a:lnTo>
                  <a:pt x="17" y="66"/>
                </a:lnTo>
                <a:lnTo>
                  <a:pt x="25" y="57"/>
                </a:lnTo>
                <a:lnTo>
                  <a:pt x="34" y="57"/>
                </a:lnTo>
                <a:lnTo>
                  <a:pt x="25" y="66"/>
                </a:lnTo>
                <a:lnTo>
                  <a:pt x="34" y="74"/>
                </a:lnTo>
                <a:lnTo>
                  <a:pt x="34" y="82"/>
                </a:lnTo>
                <a:lnTo>
                  <a:pt x="50" y="82"/>
                </a:lnTo>
                <a:lnTo>
                  <a:pt x="50" y="97"/>
                </a:lnTo>
                <a:lnTo>
                  <a:pt x="57" y="90"/>
                </a:lnTo>
                <a:lnTo>
                  <a:pt x="57" y="82"/>
                </a:lnTo>
                <a:lnTo>
                  <a:pt x="42" y="66"/>
                </a:lnTo>
                <a:lnTo>
                  <a:pt x="50" y="66"/>
                </a:lnTo>
                <a:lnTo>
                  <a:pt x="34" y="50"/>
                </a:lnTo>
                <a:lnTo>
                  <a:pt x="50" y="34"/>
                </a:lnTo>
                <a:lnTo>
                  <a:pt x="57" y="34"/>
                </a:lnTo>
                <a:lnTo>
                  <a:pt x="25" y="41"/>
                </a:lnTo>
                <a:lnTo>
                  <a:pt x="17" y="34"/>
                </a:lnTo>
                <a:lnTo>
                  <a:pt x="17" y="25"/>
                </a:lnTo>
                <a:lnTo>
                  <a:pt x="25" y="17"/>
                </a:lnTo>
                <a:lnTo>
                  <a:pt x="75" y="17"/>
                </a:lnTo>
                <a:lnTo>
                  <a:pt x="82" y="0"/>
                </a:lnTo>
                <a:lnTo>
                  <a:pt x="66" y="9"/>
                </a:lnTo>
                <a:lnTo>
                  <a:pt x="50" y="17"/>
                </a:lnTo>
                <a:lnTo>
                  <a:pt x="25" y="9"/>
                </a:lnTo>
                <a:lnTo>
                  <a:pt x="25" y="17"/>
                </a:lnTo>
                <a:lnTo>
                  <a:pt x="17" y="17"/>
                </a:lnTo>
                <a:lnTo>
                  <a:pt x="17" y="34"/>
                </a:lnTo>
                <a:lnTo>
                  <a:pt x="0" y="57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826" name="Freeform 296"/>
          <p:cNvSpPr>
            <a:spLocks/>
          </p:cNvSpPr>
          <p:nvPr>
            <p:custDataLst>
              <p:tags r:id="rId237"/>
            </p:custDataLst>
          </p:nvPr>
        </p:nvSpPr>
        <p:spPr bwMode="gray">
          <a:xfrm>
            <a:off x="6843713" y="5087938"/>
            <a:ext cx="26987" cy="65087"/>
          </a:xfrm>
          <a:custGeom>
            <a:avLst/>
            <a:gdLst>
              <a:gd name="T0" fmla="*/ 0 w 17"/>
              <a:gd name="T1" fmla="*/ 2147483647 h 41"/>
              <a:gd name="T2" fmla="*/ 2147483647 w 17"/>
              <a:gd name="T3" fmla="*/ 2147483647 h 41"/>
              <a:gd name="T4" fmla="*/ 2147483647 w 17"/>
              <a:gd name="T5" fmla="*/ 2147483647 h 41"/>
              <a:gd name="T6" fmla="*/ 2147483647 w 17"/>
              <a:gd name="T7" fmla="*/ 2147483647 h 41"/>
              <a:gd name="T8" fmla="*/ 2147483647 w 17"/>
              <a:gd name="T9" fmla="*/ 2147483647 h 41"/>
              <a:gd name="T10" fmla="*/ 2147483647 w 17"/>
              <a:gd name="T11" fmla="*/ 2147483647 h 41"/>
              <a:gd name="T12" fmla="*/ 2147483647 w 17"/>
              <a:gd name="T13" fmla="*/ 2147483647 h 41"/>
              <a:gd name="T14" fmla="*/ 2147483647 w 17"/>
              <a:gd name="T15" fmla="*/ 2147483647 h 41"/>
              <a:gd name="T16" fmla="*/ 2147483647 w 17"/>
              <a:gd name="T17" fmla="*/ 2147483647 h 41"/>
              <a:gd name="T18" fmla="*/ 2147483647 w 17"/>
              <a:gd name="T19" fmla="*/ 0 h 41"/>
              <a:gd name="T20" fmla="*/ 0 w 17"/>
              <a:gd name="T21" fmla="*/ 2147483647 h 4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7"/>
              <a:gd name="T34" fmla="*/ 0 h 41"/>
              <a:gd name="T35" fmla="*/ 17 w 17"/>
              <a:gd name="T36" fmla="*/ 41 h 4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7" h="41">
                <a:moveTo>
                  <a:pt x="0" y="15"/>
                </a:moveTo>
                <a:lnTo>
                  <a:pt x="8" y="31"/>
                </a:lnTo>
                <a:lnTo>
                  <a:pt x="16" y="40"/>
                </a:lnTo>
                <a:lnTo>
                  <a:pt x="8" y="31"/>
                </a:lnTo>
                <a:lnTo>
                  <a:pt x="8" y="23"/>
                </a:lnTo>
                <a:lnTo>
                  <a:pt x="16" y="23"/>
                </a:lnTo>
                <a:lnTo>
                  <a:pt x="16" y="15"/>
                </a:lnTo>
                <a:lnTo>
                  <a:pt x="16" y="6"/>
                </a:lnTo>
                <a:lnTo>
                  <a:pt x="16" y="15"/>
                </a:lnTo>
                <a:lnTo>
                  <a:pt x="8" y="0"/>
                </a:lnTo>
                <a:lnTo>
                  <a:pt x="0" y="15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827" name="Freeform 297"/>
          <p:cNvSpPr>
            <a:spLocks/>
          </p:cNvSpPr>
          <p:nvPr>
            <p:custDataLst>
              <p:tags r:id="rId238"/>
            </p:custDataLst>
          </p:nvPr>
        </p:nvSpPr>
        <p:spPr bwMode="gray">
          <a:xfrm>
            <a:off x="6818313" y="5200650"/>
            <a:ext cx="26987" cy="26988"/>
          </a:xfrm>
          <a:custGeom>
            <a:avLst/>
            <a:gdLst>
              <a:gd name="T0" fmla="*/ 0 w 17"/>
              <a:gd name="T1" fmla="*/ 0 h 17"/>
              <a:gd name="T2" fmla="*/ 2147483647 w 17"/>
              <a:gd name="T3" fmla="*/ 2147483647 h 17"/>
              <a:gd name="T4" fmla="*/ 2147483647 w 17"/>
              <a:gd name="T5" fmla="*/ 0 h 17"/>
              <a:gd name="T6" fmla="*/ 0 w 17"/>
              <a:gd name="T7" fmla="*/ 0 h 17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17"/>
              <a:gd name="T14" fmla="*/ 17 w 17"/>
              <a:gd name="T15" fmla="*/ 17 h 1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17">
                <a:moveTo>
                  <a:pt x="0" y="0"/>
                </a:moveTo>
                <a:lnTo>
                  <a:pt x="16" y="16"/>
                </a:lnTo>
                <a:lnTo>
                  <a:pt x="16" y="0"/>
                </a:lnTo>
                <a:lnTo>
                  <a:pt x="0" y="0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828" name="Freeform 298"/>
          <p:cNvSpPr>
            <a:spLocks/>
          </p:cNvSpPr>
          <p:nvPr>
            <p:custDataLst>
              <p:tags r:id="rId239"/>
            </p:custDataLst>
          </p:nvPr>
        </p:nvSpPr>
        <p:spPr bwMode="gray">
          <a:xfrm>
            <a:off x="6856413" y="5186363"/>
            <a:ext cx="65087" cy="28575"/>
          </a:xfrm>
          <a:custGeom>
            <a:avLst/>
            <a:gdLst>
              <a:gd name="T0" fmla="*/ 0 w 42"/>
              <a:gd name="T1" fmla="*/ 2147483647 h 18"/>
              <a:gd name="T2" fmla="*/ 2147483647 w 42"/>
              <a:gd name="T3" fmla="*/ 2147483647 h 18"/>
              <a:gd name="T4" fmla="*/ 2147483647 w 42"/>
              <a:gd name="T5" fmla="*/ 2147483647 h 18"/>
              <a:gd name="T6" fmla="*/ 2147483647 w 42"/>
              <a:gd name="T7" fmla="*/ 0 h 18"/>
              <a:gd name="T8" fmla="*/ 2147483647 w 42"/>
              <a:gd name="T9" fmla="*/ 0 h 18"/>
              <a:gd name="T10" fmla="*/ 0 w 42"/>
              <a:gd name="T11" fmla="*/ 2147483647 h 1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2"/>
              <a:gd name="T19" fmla="*/ 0 h 18"/>
              <a:gd name="T20" fmla="*/ 42 w 42"/>
              <a:gd name="T21" fmla="*/ 18 h 1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2" h="18">
                <a:moveTo>
                  <a:pt x="0" y="9"/>
                </a:moveTo>
                <a:lnTo>
                  <a:pt x="41" y="17"/>
                </a:lnTo>
                <a:lnTo>
                  <a:pt x="32" y="9"/>
                </a:lnTo>
                <a:lnTo>
                  <a:pt x="25" y="0"/>
                </a:lnTo>
                <a:lnTo>
                  <a:pt x="7" y="0"/>
                </a:lnTo>
                <a:lnTo>
                  <a:pt x="0" y="9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829" name="Freeform 299"/>
          <p:cNvSpPr>
            <a:spLocks/>
          </p:cNvSpPr>
          <p:nvPr>
            <p:custDataLst>
              <p:tags r:id="rId240"/>
            </p:custDataLst>
          </p:nvPr>
        </p:nvSpPr>
        <p:spPr bwMode="gray">
          <a:xfrm>
            <a:off x="6702425" y="4756150"/>
            <a:ext cx="79375" cy="115888"/>
          </a:xfrm>
          <a:custGeom>
            <a:avLst/>
            <a:gdLst>
              <a:gd name="T0" fmla="*/ 0 w 50"/>
              <a:gd name="T1" fmla="*/ 2147483647 h 73"/>
              <a:gd name="T2" fmla="*/ 0 w 50"/>
              <a:gd name="T3" fmla="*/ 2147483647 h 73"/>
              <a:gd name="T4" fmla="*/ 2147483647 w 50"/>
              <a:gd name="T5" fmla="*/ 2147483647 h 73"/>
              <a:gd name="T6" fmla="*/ 2147483647 w 50"/>
              <a:gd name="T7" fmla="*/ 2147483647 h 73"/>
              <a:gd name="T8" fmla="*/ 2147483647 w 50"/>
              <a:gd name="T9" fmla="*/ 2147483647 h 73"/>
              <a:gd name="T10" fmla="*/ 2147483647 w 50"/>
              <a:gd name="T11" fmla="*/ 2147483647 h 73"/>
              <a:gd name="T12" fmla="*/ 2147483647 w 50"/>
              <a:gd name="T13" fmla="*/ 2147483647 h 73"/>
              <a:gd name="T14" fmla="*/ 2147483647 w 50"/>
              <a:gd name="T15" fmla="*/ 2147483647 h 73"/>
              <a:gd name="T16" fmla="*/ 2147483647 w 50"/>
              <a:gd name="T17" fmla="*/ 2147483647 h 73"/>
              <a:gd name="T18" fmla="*/ 2147483647 w 50"/>
              <a:gd name="T19" fmla="*/ 2147483647 h 73"/>
              <a:gd name="T20" fmla="*/ 2147483647 w 50"/>
              <a:gd name="T21" fmla="*/ 2147483647 h 73"/>
              <a:gd name="T22" fmla="*/ 2147483647 w 50"/>
              <a:gd name="T23" fmla="*/ 2147483647 h 73"/>
              <a:gd name="T24" fmla="*/ 2147483647 w 50"/>
              <a:gd name="T25" fmla="*/ 2147483647 h 73"/>
              <a:gd name="T26" fmla="*/ 2147483647 w 50"/>
              <a:gd name="T27" fmla="*/ 2147483647 h 73"/>
              <a:gd name="T28" fmla="*/ 2147483647 w 50"/>
              <a:gd name="T29" fmla="*/ 2147483647 h 73"/>
              <a:gd name="T30" fmla="*/ 2147483647 w 50"/>
              <a:gd name="T31" fmla="*/ 2147483647 h 73"/>
              <a:gd name="T32" fmla="*/ 2147483647 w 50"/>
              <a:gd name="T33" fmla="*/ 2147483647 h 73"/>
              <a:gd name="T34" fmla="*/ 2147483647 w 50"/>
              <a:gd name="T35" fmla="*/ 0 h 73"/>
              <a:gd name="T36" fmla="*/ 2147483647 w 50"/>
              <a:gd name="T37" fmla="*/ 2147483647 h 73"/>
              <a:gd name="T38" fmla="*/ 2147483647 w 50"/>
              <a:gd name="T39" fmla="*/ 0 h 73"/>
              <a:gd name="T40" fmla="*/ 0 w 50"/>
              <a:gd name="T41" fmla="*/ 2147483647 h 7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50"/>
              <a:gd name="T64" fmla="*/ 0 h 73"/>
              <a:gd name="T65" fmla="*/ 50 w 50"/>
              <a:gd name="T66" fmla="*/ 73 h 73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50" h="73">
                <a:moveTo>
                  <a:pt x="0" y="31"/>
                </a:moveTo>
                <a:lnTo>
                  <a:pt x="0" y="47"/>
                </a:lnTo>
                <a:lnTo>
                  <a:pt x="8" y="55"/>
                </a:lnTo>
                <a:lnTo>
                  <a:pt x="8" y="65"/>
                </a:lnTo>
                <a:lnTo>
                  <a:pt x="17" y="65"/>
                </a:lnTo>
                <a:lnTo>
                  <a:pt x="25" y="65"/>
                </a:lnTo>
                <a:lnTo>
                  <a:pt x="33" y="72"/>
                </a:lnTo>
                <a:lnTo>
                  <a:pt x="33" y="65"/>
                </a:lnTo>
                <a:lnTo>
                  <a:pt x="40" y="72"/>
                </a:lnTo>
                <a:lnTo>
                  <a:pt x="49" y="72"/>
                </a:lnTo>
                <a:lnTo>
                  <a:pt x="40" y="65"/>
                </a:lnTo>
                <a:lnTo>
                  <a:pt x="49" y="65"/>
                </a:lnTo>
                <a:lnTo>
                  <a:pt x="33" y="55"/>
                </a:lnTo>
                <a:lnTo>
                  <a:pt x="25" y="65"/>
                </a:lnTo>
                <a:lnTo>
                  <a:pt x="17" y="47"/>
                </a:lnTo>
                <a:lnTo>
                  <a:pt x="33" y="24"/>
                </a:lnTo>
                <a:lnTo>
                  <a:pt x="25" y="15"/>
                </a:lnTo>
                <a:lnTo>
                  <a:pt x="33" y="0"/>
                </a:lnTo>
                <a:lnTo>
                  <a:pt x="25" y="7"/>
                </a:lnTo>
                <a:lnTo>
                  <a:pt x="8" y="0"/>
                </a:lnTo>
                <a:lnTo>
                  <a:pt x="0" y="31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30" name="Freeform 300"/>
          <p:cNvSpPr>
            <a:spLocks/>
          </p:cNvSpPr>
          <p:nvPr>
            <p:custDataLst>
              <p:tags r:id="rId241"/>
            </p:custDataLst>
          </p:nvPr>
        </p:nvSpPr>
        <p:spPr bwMode="gray">
          <a:xfrm>
            <a:off x="6638925" y="4908550"/>
            <a:ext cx="53975" cy="65088"/>
          </a:xfrm>
          <a:custGeom>
            <a:avLst/>
            <a:gdLst>
              <a:gd name="T0" fmla="*/ 0 w 35"/>
              <a:gd name="T1" fmla="*/ 2147483647 h 41"/>
              <a:gd name="T2" fmla="*/ 2147483647 w 35"/>
              <a:gd name="T3" fmla="*/ 2147483647 h 41"/>
              <a:gd name="T4" fmla="*/ 2147483647 w 35"/>
              <a:gd name="T5" fmla="*/ 0 h 41"/>
              <a:gd name="T6" fmla="*/ 0 w 35"/>
              <a:gd name="T7" fmla="*/ 2147483647 h 41"/>
              <a:gd name="T8" fmla="*/ 0 60000 65536"/>
              <a:gd name="T9" fmla="*/ 0 60000 65536"/>
              <a:gd name="T10" fmla="*/ 0 60000 65536"/>
              <a:gd name="T11" fmla="*/ 0 60000 65536"/>
              <a:gd name="T12" fmla="*/ 0 w 35"/>
              <a:gd name="T13" fmla="*/ 0 h 41"/>
              <a:gd name="T14" fmla="*/ 35 w 35"/>
              <a:gd name="T15" fmla="*/ 41 h 4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5" h="41">
                <a:moveTo>
                  <a:pt x="0" y="40"/>
                </a:moveTo>
                <a:lnTo>
                  <a:pt x="34" y="8"/>
                </a:lnTo>
                <a:lnTo>
                  <a:pt x="34" y="0"/>
                </a:lnTo>
                <a:lnTo>
                  <a:pt x="0" y="40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831" name="Freeform 301"/>
          <p:cNvSpPr>
            <a:spLocks/>
          </p:cNvSpPr>
          <p:nvPr>
            <p:custDataLst>
              <p:tags r:id="rId242"/>
            </p:custDataLst>
          </p:nvPr>
        </p:nvSpPr>
        <p:spPr bwMode="gray">
          <a:xfrm>
            <a:off x="6702425" y="4870450"/>
            <a:ext cx="26988" cy="25400"/>
          </a:xfrm>
          <a:custGeom>
            <a:avLst/>
            <a:gdLst>
              <a:gd name="T0" fmla="*/ 0 w 18"/>
              <a:gd name="T1" fmla="*/ 0 h 17"/>
              <a:gd name="T2" fmla="*/ 2147483647 w 18"/>
              <a:gd name="T3" fmla="*/ 2147483647 h 17"/>
              <a:gd name="T4" fmla="*/ 2147483647 w 18"/>
              <a:gd name="T5" fmla="*/ 2147483647 h 17"/>
              <a:gd name="T6" fmla="*/ 2147483647 w 18"/>
              <a:gd name="T7" fmla="*/ 0 h 17"/>
              <a:gd name="T8" fmla="*/ 0 w 18"/>
              <a:gd name="T9" fmla="*/ 0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8"/>
              <a:gd name="T16" fmla="*/ 0 h 17"/>
              <a:gd name="T17" fmla="*/ 18 w 18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8" h="17">
                <a:moveTo>
                  <a:pt x="0" y="0"/>
                </a:moveTo>
                <a:lnTo>
                  <a:pt x="17" y="16"/>
                </a:lnTo>
                <a:lnTo>
                  <a:pt x="17" y="8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832" name="Freeform 302"/>
          <p:cNvSpPr>
            <a:spLocks/>
          </p:cNvSpPr>
          <p:nvPr>
            <p:custDataLst>
              <p:tags r:id="rId243"/>
            </p:custDataLst>
          </p:nvPr>
        </p:nvSpPr>
        <p:spPr bwMode="gray">
          <a:xfrm>
            <a:off x="6792913" y="4881563"/>
            <a:ext cx="26987" cy="52387"/>
          </a:xfrm>
          <a:custGeom>
            <a:avLst/>
            <a:gdLst>
              <a:gd name="T0" fmla="*/ 0 w 17"/>
              <a:gd name="T1" fmla="*/ 0 h 33"/>
              <a:gd name="T2" fmla="*/ 2147483647 w 17"/>
              <a:gd name="T3" fmla="*/ 2147483647 h 33"/>
              <a:gd name="T4" fmla="*/ 0 w 17"/>
              <a:gd name="T5" fmla="*/ 2147483647 h 33"/>
              <a:gd name="T6" fmla="*/ 0 w 17"/>
              <a:gd name="T7" fmla="*/ 2147483647 h 33"/>
              <a:gd name="T8" fmla="*/ 0 w 17"/>
              <a:gd name="T9" fmla="*/ 2147483647 h 33"/>
              <a:gd name="T10" fmla="*/ 2147483647 w 17"/>
              <a:gd name="T11" fmla="*/ 2147483647 h 33"/>
              <a:gd name="T12" fmla="*/ 2147483647 w 17"/>
              <a:gd name="T13" fmla="*/ 2147483647 h 33"/>
              <a:gd name="T14" fmla="*/ 2147483647 w 17"/>
              <a:gd name="T15" fmla="*/ 2147483647 h 33"/>
              <a:gd name="T16" fmla="*/ 2147483647 w 17"/>
              <a:gd name="T17" fmla="*/ 2147483647 h 33"/>
              <a:gd name="T18" fmla="*/ 2147483647 w 17"/>
              <a:gd name="T19" fmla="*/ 0 h 33"/>
              <a:gd name="T20" fmla="*/ 0 w 17"/>
              <a:gd name="T21" fmla="*/ 0 h 3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7"/>
              <a:gd name="T34" fmla="*/ 0 h 33"/>
              <a:gd name="T35" fmla="*/ 17 w 17"/>
              <a:gd name="T36" fmla="*/ 33 h 33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7" h="33">
                <a:moveTo>
                  <a:pt x="0" y="0"/>
                </a:moveTo>
                <a:lnTo>
                  <a:pt x="7" y="7"/>
                </a:lnTo>
                <a:lnTo>
                  <a:pt x="0" y="17"/>
                </a:lnTo>
                <a:lnTo>
                  <a:pt x="0" y="25"/>
                </a:lnTo>
                <a:lnTo>
                  <a:pt x="0" y="32"/>
                </a:lnTo>
                <a:lnTo>
                  <a:pt x="7" y="32"/>
                </a:lnTo>
                <a:lnTo>
                  <a:pt x="7" y="17"/>
                </a:lnTo>
                <a:lnTo>
                  <a:pt x="16" y="17"/>
                </a:lnTo>
                <a:lnTo>
                  <a:pt x="7" y="7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833" name="Freeform 303"/>
          <p:cNvSpPr>
            <a:spLocks/>
          </p:cNvSpPr>
          <p:nvPr>
            <p:custDataLst>
              <p:tags r:id="rId244"/>
            </p:custDataLst>
          </p:nvPr>
        </p:nvSpPr>
        <p:spPr bwMode="gray">
          <a:xfrm>
            <a:off x="6742113" y="4894263"/>
            <a:ext cx="50800" cy="65087"/>
          </a:xfrm>
          <a:custGeom>
            <a:avLst/>
            <a:gdLst>
              <a:gd name="T0" fmla="*/ 0 w 34"/>
              <a:gd name="T1" fmla="*/ 2147483647 h 42"/>
              <a:gd name="T2" fmla="*/ 2147483647 w 34"/>
              <a:gd name="T3" fmla="*/ 2147483647 h 42"/>
              <a:gd name="T4" fmla="*/ 2147483647 w 34"/>
              <a:gd name="T5" fmla="*/ 2147483647 h 42"/>
              <a:gd name="T6" fmla="*/ 2147483647 w 34"/>
              <a:gd name="T7" fmla="*/ 2147483647 h 42"/>
              <a:gd name="T8" fmla="*/ 2147483647 w 34"/>
              <a:gd name="T9" fmla="*/ 2147483647 h 42"/>
              <a:gd name="T10" fmla="*/ 2147483647 w 34"/>
              <a:gd name="T11" fmla="*/ 2147483647 h 42"/>
              <a:gd name="T12" fmla="*/ 2147483647 w 34"/>
              <a:gd name="T13" fmla="*/ 2147483647 h 42"/>
              <a:gd name="T14" fmla="*/ 2147483647 w 34"/>
              <a:gd name="T15" fmla="*/ 2147483647 h 42"/>
              <a:gd name="T16" fmla="*/ 2147483647 w 34"/>
              <a:gd name="T17" fmla="*/ 2147483647 h 42"/>
              <a:gd name="T18" fmla="*/ 2147483647 w 34"/>
              <a:gd name="T19" fmla="*/ 2147483647 h 42"/>
              <a:gd name="T20" fmla="*/ 2147483647 w 34"/>
              <a:gd name="T21" fmla="*/ 2147483647 h 42"/>
              <a:gd name="T22" fmla="*/ 2147483647 w 34"/>
              <a:gd name="T23" fmla="*/ 2147483647 h 42"/>
              <a:gd name="T24" fmla="*/ 2147483647 w 34"/>
              <a:gd name="T25" fmla="*/ 0 h 42"/>
              <a:gd name="T26" fmla="*/ 0 w 34"/>
              <a:gd name="T27" fmla="*/ 0 h 42"/>
              <a:gd name="T28" fmla="*/ 0 w 34"/>
              <a:gd name="T29" fmla="*/ 2147483647 h 4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34"/>
              <a:gd name="T46" fmla="*/ 0 h 42"/>
              <a:gd name="T47" fmla="*/ 34 w 34"/>
              <a:gd name="T48" fmla="*/ 42 h 42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34" h="42">
                <a:moveTo>
                  <a:pt x="0" y="18"/>
                </a:moveTo>
                <a:lnTo>
                  <a:pt x="8" y="18"/>
                </a:lnTo>
                <a:lnTo>
                  <a:pt x="8" y="25"/>
                </a:lnTo>
                <a:lnTo>
                  <a:pt x="15" y="41"/>
                </a:lnTo>
                <a:lnTo>
                  <a:pt x="15" y="34"/>
                </a:lnTo>
                <a:lnTo>
                  <a:pt x="15" y="25"/>
                </a:lnTo>
                <a:lnTo>
                  <a:pt x="33" y="34"/>
                </a:lnTo>
                <a:lnTo>
                  <a:pt x="33" y="25"/>
                </a:lnTo>
                <a:lnTo>
                  <a:pt x="24" y="25"/>
                </a:lnTo>
                <a:lnTo>
                  <a:pt x="24" y="10"/>
                </a:lnTo>
                <a:lnTo>
                  <a:pt x="15" y="18"/>
                </a:lnTo>
                <a:lnTo>
                  <a:pt x="15" y="10"/>
                </a:lnTo>
                <a:lnTo>
                  <a:pt x="8" y="0"/>
                </a:lnTo>
                <a:lnTo>
                  <a:pt x="0" y="0"/>
                </a:lnTo>
                <a:lnTo>
                  <a:pt x="0" y="18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34" name="Freeform 304"/>
          <p:cNvSpPr>
            <a:spLocks/>
          </p:cNvSpPr>
          <p:nvPr>
            <p:custDataLst>
              <p:tags r:id="rId245"/>
            </p:custDataLst>
          </p:nvPr>
        </p:nvSpPr>
        <p:spPr bwMode="gray">
          <a:xfrm>
            <a:off x="6742113" y="4932363"/>
            <a:ext cx="87312" cy="92075"/>
          </a:xfrm>
          <a:custGeom>
            <a:avLst/>
            <a:gdLst>
              <a:gd name="T0" fmla="*/ 0 w 56"/>
              <a:gd name="T1" fmla="*/ 2147483647 h 59"/>
              <a:gd name="T2" fmla="*/ 2147483647 w 56"/>
              <a:gd name="T3" fmla="*/ 2147483647 h 59"/>
              <a:gd name="T4" fmla="*/ 2147483647 w 56"/>
              <a:gd name="T5" fmla="*/ 2147483647 h 59"/>
              <a:gd name="T6" fmla="*/ 2147483647 w 56"/>
              <a:gd name="T7" fmla="*/ 2147483647 h 59"/>
              <a:gd name="T8" fmla="*/ 2147483647 w 56"/>
              <a:gd name="T9" fmla="*/ 2147483647 h 59"/>
              <a:gd name="T10" fmla="*/ 2147483647 w 56"/>
              <a:gd name="T11" fmla="*/ 2147483647 h 59"/>
              <a:gd name="T12" fmla="*/ 2147483647 w 56"/>
              <a:gd name="T13" fmla="*/ 2147483647 h 59"/>
              <a:gd name="T14" fmla="*/ 2147483647 w 56"/>
              <a:gd name="T15" fmla="*/ 2147483647 h 59"/>
              <a:gd name="T16" fmla="*/ 2147483647 w 56"/>
              <a:gd name="T17" fmla="*/ 2147483647 h 59"/>
              <a:gd name="T18" fmla="*/ 2147483647 w 56"/>
              <a:gd name="T19" fmla="*/ 2147483647 h 59"/>
              <a:gd name="T20" fmla="*/ 2147483647 w 56"/>
              <a:gd name="T21" fmla="*/ 2147483647 h 59"/>
              <a:gd name="T22" fmla="*/ 2147483647 w 56"/>
              <a:gd name="T23" fmla="*/ 2147483647 h 59"/>
              <a:gd name="T24" fmla="*/ 2147483647 w 56"/>
              <a:gd name="T25" fmla="*/ 2147483647 h 59"/>
              <a:gd name="T26" fmla="*/ 2147483647 w 56"/>
              <a:gd name="T27" fmla="*/ 0 h 59"/>
              <a:gd name="T28" fmla="*/ 2147483647 w 56"/>
              <a:gd name="T29" fmla="*/ 2147483647 h 59"/>
              <a:gd name="T30" fmla="*/ 2147483647 w 56"/>
              <a:gd name="T31" fmla="*/ 2147483647 h 59"/>
              <a:gd name="T32" fmla="*/ 2147483647 w 56"/>
              <a:gd name="T33" fmla="*/ 2147483647 h 59"/>
              <a:gd name="T34" fmla="*/ 2147483647 w 56"/>
              <a:gd name="T35" fmla="*/ 2147483647 h 59"/>
              <a:gd name="T36" fmla="*/ 0 w 56"/>
              <a:gd name="T37" fmla="*/ 2147483647 h 59"/>
              <a:gd name="T38" fmla="*/ 0 w 56"/>
              <a:gd name="T39" fmla="*/ 2147483647 h 59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56"/>
              <a:gd name="T61" fmla="*/ 0 h 59"/>
              <a:gd name="T62" fmla="*/ 56 w 56"/>
              <a:gd name="T63" fmla="*/ 59 h 59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56" h="59">
                <a:moveTo>
                  <a:pt x="0" y="40"/>
                </a:moveTo>
                <a:lnTo>
                  <a:pt x="8" y="34"/>
                </a:lnTo>
                <a:lnTo>
                  <a:pt x="15" y="34"/>
                </a:lnTo>
                <a:lnTo>
                  <a:pt x="24" y="34"/>
                </a:lnTo>
                <a:lnTo>
                  <a:pt x="33" y="34"/>
                </a:lnTo>
                <a:lnTo>
                  <a:pt x="24" y="49"/>
                </a:lnTo>
                <a:lnTo>
                  <a:pt x="40" y="58"/>
                </a:lnTo>
                <a:lnTo>
                  <a:pt x="49" y="49"/>
                </a:lnTo>
                <a:lnTo>
                  <a:pt x="40" y="40"/>
                </a:lnTo>
                <a:lnTo>
                  <a:pt x="49" y="34"/>
                </a:lnTo>
                <a:lnTo>
                  <a:pt x="55" y="49"/>
                </a:lnTo>
                <a:lnTo>
                  <a:pt x="55" y="34"/>
                </a:lnTo>
                <a:lnTo>
                  <a:pt x="55" y="16"/>
                </a:lnTo>
                <a:lnTo>
                  <a:pt x="40" y="0"/>
                </a:lnTo>
                <a:lnTo>
                  <a:pt x="40" y="16"/>
                </a:lnTo>
                <a:lnTo>
                  <a:pt x="33" y="16"/>
                </a:lnTo>
                <a:lnTo>
                  <a:pt x="24" y="25"/>
                </a:lnTo>
                <a:lnTo>
                  <a:pt x="15" y="16"/>
                </a:lnTo>
                <a:lnTo>
                  <a:pt x="0" y="34"/>
                </a:lnTo>
                <a:lnTo>
                  <a:pt x="0" y="40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35" name="Freeform 305"/>
          <p:cNvSpPr>
            <a:spLocks/>
          </p:cNvSpPr>
          <p:nvPr>
            <p:custDataLst>
              <p:tags r:id="rId246"/>
            </p:custDataLst>
          </p:nvPr>
        </p:nvSpPr>
        <p:spPr bwMode="gray">
          <a:xfrm>
            <a:off x="7262813" y="5213350"/>
            <a:ext cx="90487" cy="50800"/>
          </a:xfrm>
          <a:custGeom>
            <a:avLst/>
            <a:gdLst>
              <a:gd name="T0" fmla="*/ 0 w 57"/>
              <a:gd name="T1" fmla="*/ 2147483647 h 33"/>
              <a:gd name="T2" fmla="*/ 2147483647 w 57"/>
              <a:gd name="T3" fmla="*/ 2147483647 h 33"/>
              <a:gd name="T4" fmla="*/ 2147483647 w 57"/>
              <a:gd name="T5" fmla="*/ 2147483647 h 33"/>
              <a:gd name="T6" fmla="*/ 2147483647 w 57"/>
              <a:gd name="T7" fmla="*/ 2147483647 h 33"/>
              <a:gd name="T8" fmla="*/ 2147483647 w 57"/>
              <a:gd name="T9" fmla="*/ 2147483647 h 33"/>
              <a:gd name="T10" fmla="*/ 2147483647 w 57"/>
              <a:gd name="T11" fmla="*/ 0 h 33"/>
              <a:gd name="T12" fmla="*/ 2147483647 w 57"/>
              <a:gd name="T13" fmla="*/ 0 h 33"/>
              <a:gd name="T14" fmla="*/ 2147483647 w 57"/>
              <a:gd name="T15" fmla="*/ 2147483647 h 33"/>
              <a:gd name="T16" fmla="*/ 2147483647 w 57"/>
              <a:gd name="T17" fmla="*/ 2147483647 h 33"/>
              <a:gd name="T18" fmla="*/ 2147483647 w 57"/>
              <a:gd name="T19" fmla="*/ 2147483647 h 33"/>
              <a:gd name="T20" fmla="*/ 0 w 57"/>
              <a:gd name="T21" fmla="*/ 2147483647 h 3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57"/>
              <a:gd name="T34" fmla="*/ 0 h 33"/>
              <a:gd name="T35" fmla="*/ 57 w 57"/>
              <a:gd name="T36" fmla="*/ 33 h 33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57" h="33">
                <a:moveTo>
                  <a:pt x="0" y="16"/>
                </a:moveTo>
                <a:lnTo>
                  <a:pt x="16" y="32"/>
                </a:lnTo>
                <a:lnTo>
                  <a:pt x="34" y="32"/>
                </a:lnTo>
                <a:lnTo>
                  <a:pt x="49" y="23"/>
                </a:lnTo>
                <a:lnTo>
                  <a:pt x="56" y="8"/>
                </a:lnTo>
                <a:lnTo>
                  <a:pt x="56" y="0"/>
                </a:lnTo>
                <a:lnTo>
                  <a:pt x="49" y="0"/>
                </a:lnTo>
                <a:lnTo>
                  <a:pt x="49" y="16"/>
                </a:lnTo>
                <a:lnTo>
                  <a:pt x="41" y="16"/>
                </a:lnTo>
                <a:lnTo>
                  <a:pt x="34" y="16"/>
                </a:lnTo>
                <a:lnTo>
                  <a:pt x="0" y="16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836" name="Freeform 306"/>
          <p:cNvSpPr>
            <a:spLocks/>
          </p:cNvSpPr>
          <p:nvPr>
            <p:custDataLst>
              <p:tags r:id="rId247"/>
            </p:custDataLst>
          </p:nvPr>
        </p:nvSpPr>
        <p:spPr bwMode="gray">
          <a:xfrm>
            <a:off x="7327900" y="5200650"/>
            <a:ext cx="38100" cy="26988"/>
          </a:xfrm>
          <a:custGeom>
            <a:avLst/>
            <a:gdLst>
              <a:gd name="T0" fmla="*/ 0 w 25"/>
              <a:gd name="T1" fmla="*/ 0 h 17"/>
              <a:gd name="T2" fmla="*/ 2147483647 w 25"/>
              <a:gd name="T3" fmla="*/ 2147483647 h 17"/>
              <a:gd name="T4" fmla="*/ 2147483647 w 25"/>
              <a:gd name="T5" fmla="*/ 2147483647 h 17"/>
              <a:gd name="T6" fmla="*/ 2147483647 w 25"/>
              <a:gd name="T7" fmla="*/ 2147483647 h 17"/>
              <a:gd name="T8" fmla="*/ 0 w 25"/>
              <a:gd name="T9" fmla="*/ 0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5"/>
              <a:gd name="T16" fmla="*/ 0 h 17"/>
              <a:gd name="T17" fmla="*/ 25 w 25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5" h="17">
                <a:moveTo>
                  <a:pt x="0" y="0"/>
                </a:moveTo>
                <a:lnTo>
                  <a:pt x="15" y="8"/>
                </a:lnTo>
                <a:lnTo>
                  <a:pt x="24" y="16"/>
                </a:lnTo>
                <a:lnTo>
                  <a:pt x="24" y="8"/>
                </a:lnTo>
                <a:lnTo>
                  <a:pt x="0" y="0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837" name="Freeform 307"/>
          <p:cNvSpPr>
            <a:spLocks/>
          </p:cNvSpPr>
          <p:nvPr>
            <p:custDataLst>
              <p:tags r:id="rId248"/>
            </p:custDataLst>
          </p:nvPr>
        </p:nvSpPr>
        <p:spPr bwMode="gray">
          <a:xfrm>
            <a:off x="7402513" y="5238750"/>
            <a:ext cx="28575" cy="39688"/>
          </a:xfrm>
          <a:custGeom>
            <a:avLst/>
            <a:gdLst>
              <a:gd name="T0" fmla="*/ 0 w 18"/>
              <a:gd name="T1" fmla="*/ 0 h 25"/>
              <a:gd name="T2" fmla="*/ 2147483647 w 18"/>
              <a:gd name="T3" fmla="*/ 2147483647 h 25"/>
              <a:gd name="T4" fmla="*/ 2147483647 w 18"/>
              <a:gd name="T5" fmla="*/ 2147483647 h 25"/>
              <a:gd name="T6" fmla="*/ 0 w 18"/>
              <a:gd name="T7" fmla="*/ 0 h 25"/>
              <a:gd name="T8" fmla="*/ 0 60000 65536"/>
              <a:gd name="T9" fmla="*/ 0 60000 65536"/>
              <a:gd name="T10" fmla="*/ 0 60000 65536"/>
              <a:gd name="T11" fmla="*/ 0 60000 65536"/>
              <a:gd name="T12" fmla="*/ 0 w 18"/>
              <a:gd name="T13" fmla="*/ 0 h 25"/>
              <a:gd name="T14" fmla="*/ 18 w 18"/>
              <a:gd name="T15" fmla="*/ 25 h 2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" h="25">
                <a:moveTo>
                  <a:pt x="0" y="0"/>
                </a:moveTo>
                <a:lnTo>
                  <a:pt x="8" y="24"/>
                </a:lnTo>
                <a:lnTo>
                  <a:pt x="17" y="16"/>
                </a:lnTo>
                <a:lnTo>
                  <a:pt x="0" y="0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838" name="Freeform 308"/>
          <p:cNvSpPr>
            <a:spLocks/>
          </p:cNvSpPr>
          <p:nvPr>
            <p:custDataLst>
              <p:tags r:id="rId249"/>
            </p:custDataLst>
          </p:nvPr>
        </p:nvSpPr>
        <p:spPr bwMode="gray">
          <a:xfrm>
            <a:off x="7491413" y="5311775"/>
            <a:ext cx="26987" cy="25400"/>
          </a:xfrm>
          <a:custGeom>
            <a:avLst/>
            <a:gdLst>
              <a:gd name="T0" fmla="*/ 0 w 17"/>
              <a:gd name="T1" fmla="*/ 0 h 17"/>
              <a:gd name="T2" fmla="*/ 0 w 17"/>
              <a:gd name="T3" fmla="*/ 2147483647 h 17"/>
              <a:gd name="T4" fmla="*/ 2147483647 w 17"/>
              <a:gd name="T5" fmla="*/ 2147483647 h 17"/>
              <a:gd name="T6" fmla="*/ 0 w 17"/>
              <a:gd name="T7" fmla="*/ 0 h 17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17"/>
              <a:gd name="T14" fmla="*/ 17 w 17"/>
              <a:gd name="T15" fmla="*/ 17 h 1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17">
                <a:moveTo>
                  <a:pt x="0" y="0"/>
                </a:moveTo>
                <a:lnTo>
                  <a:pt x="0" y="16"/>
                </a:lnTo>
                <a:lnTo>
                  <a:pt x="16" y="16"/>
                </a:lnTo>
                <a:lnTo>
                  <a:pt x="0" y="0"/>
                </a:lnTo>
              </a:path>
            </a:pathLst>
          </a:custGeom>
          <a:solidFill>
            <a:schemeClr val="hlink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839" name="Freeform 313"/>
          <p:cNvSpPr>
            <a:spLocks/>
          </p:cNvSpPr>
          <p:nvPr>
            <p:custDataLst>
              <p:tags r:id="rId250"/>
            </p:custDataLst>
          </p:nvPr>
        </p:nvSpPr>
        <p:spPr bwMode="gray">
          <a:xfrm>
            <a:off x="4829175" y="5722938"/>
            <a:ext cx="52388" cy="50800"/>
          </a:xfrm>
          <a:custGeom>
            <a:avLst/>
            <a:gdLst>
              <a:gd name="T0" fmla="*/ 2147483647 w 33"/>
              <a:gd name="T1" fmla="*/ 2147483647 h 33"/>
              <a:gd name="T2" fmla="*/ 2147483647 w 33"/>
              <a:gd name="T3" fmla="*/ 2147483647 h 33"/>
              <a:gd name="T4" fmla="*/ 2147483647 w 33"/>
              <a:gd name="T5" fmla="*/ 2147483647 h 33"/>
              <a:gd name="T6" fmla="*/ 0 w 33"/>
              <a:gd name="T7" fmla="*/ 2147483647 h 33"/>
              <a:gd name="T8" fmla="*/ 2147483647 w 33"/>
              <a:gd name="T9" fmla="*/ 0 h 33"/>
              <a:gd name="T10" fmla="*/ 2147483647 w 33"/>
              <a:gd name="T11" fmla="*/ 2147483647 h 33"/>
              <a:gd name="T12" fmla="*/ 2147483647 w 33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3"/>
              <a:gd name="T22" fmla="*/ 0 h 33"/>
              <a:gd name="T23" fmla="*/ 33 w 33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3" h="33">
                <a:moveTo>
                  <a:pt x="32" y="15"/>
                </a:moveTo>
                <a:lnTo>
                  <a:pt x="23" y="25"/>
                </a:lnTo>
                <a:lnTo>
                  <a:pt x="8" y="32"/>
                </a:lnTo>
                <a:lnTo>
                  <a:pt x="0" y="25"/>
                </a:lnTo>
                <a:lnTo>
                  <a:pt x="16" y="0"/>
                </a:lnTo>
                <a:lnTo>
                  <a:pt x="23" y="7"/>
                </a:lnTo>
                <a:lnTo>
                  <a:pt x="32" y="15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95840" name="Line 314"/>
          <p:cNvSpPr>
            <a:spLocks noChangeShapeType="1"/>
          </p:cNvSpPr>
          <p:nvPr>
            <p:custDataLst>
              <p:tags r:id="rId251"/>
            </p:custDataLst>
          </p:nvPr>
        </p:nvSpPr>
        <p:spPr bwMode="gray">
          <a:xfrm>
            <a:off x="6575425" y="4678363"/>
            <a:ext cx="127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95841" name="Freeform 325"/>
          <p:cNvSpPr>
            <a:spLocks/>
          </p:cNvSpPr>
          <p:nvPr>
            <p:custDataLst>
              <p:tags r:id="rId252"/>
            </p:custDataLst>
          </p:nvPr>
        </p:nvSpPr>
        <p:spPr bwMode="gray">
          <a:xfrm>
            <a:off x="4559300" y="4652963"/>
            <a:ext cx="204788" cy="331787"/>
          </a:xfrm>
          <a:custGeom>
            <a:avLst/>
            <a:gdLst>
              <a:gd name="T0" fmla="*/ 2147483647 w 130"/>
              <a:gd name="T1" fmla="*/ 2147483647 h 212"/>
              <a:gd name="T2" fmla="*/ 2147483647 w 130"/>
              <a:gd name="T3" fmla="*/ 2147483647 h 212"/>
              <a:gd name="T4" fmla="*/ 2147483647 w 130"/>
              <a:gd name="T5" fmla="*/ 2147483647 h 212"/>
              <a:gd name="T6" fmla="*/ 2147483647 w 130"/>
              <a:gd name="T7" fmla="*/ 2147483647 h 212"/>
              <a:gd name="T8" fmla="*/ 0 w 130"/>
              <a:gd name="T9" fmla="*/ 2147483647 h 212"/>
              <a:gd name="T10" fmla="*/ 0 w 130"/>
              <a:gd name="T11" fmla="*/ 2147483647 h 212"/>
              <a:gd name="T12" fmla="*/ 2147483647 w 130"/>
              <a:gd name="T13" fmla="*/ 2147483647 h 212"/>
              <a:gd name="T14" fmla="*/ 2147483647 w 130"/>
              <a:gd name="T15" fmla="*/ 2147483647 h 212"/>
              <a:gd name="T16" fmla="*/ 2147483647 w 130"/>
              <a:gd name="T17" fmla="*/ 2147483647 h 212"/>
              <a:gd name="T18" fmla="*/ 2147483647 w 130"/>
              <a:gd name="T19" fmla="*/ 2147483647 h 212"/>
              <a:gd name="T20" fmla="*/ 2147483647 w 130"/>
              <a:gd name="T21" fmla="*/ 2147483647 h 212"/>
              <a:gd name="T22" fmla="*/ 2147483647 w 130"/>
              <a:gd name="T23" fmla="*/ 2147483647 h 212"/>
              <a:gd name="T24" fmla="*/ 2147483647 w 130"/>
              <a:gd name="T25" fmla="*/ 2147483647 h 212"/>
              <a:gd name="T26" fmla="*/ 2147483647 w 130"/>
              <a:gd name="T27" fmla="*/ 2147483647 h 212"/>
              <a:gd name="T28" fmla="*/ 2147483647 w 130"/>
              <a:gd name="T29" fmla="*/ 2147483647 h 212"/>
              <a:gd name="T30" fmla="*/ 2147483647 w 130"/>
              <a:gd name="T31" fmla="*/ 2147483647 h 212"/>
              <a:gd name="T32" fmla="*/ 2147483647 w 130"/>
              <a:gd name="T33" fmla="*/ 2147483647 h 212"/>
              <a:gd name="T34" fmla="*/ 2147483647 w 130"/>
              <a:gd name="T35" fmla="*/ 2147483647 h 212"/>
              <a:gd name="T36" fmla="*/ 2147483647 w 130"/>
              <a:gd name="T37" fmla="*/ 2147483647 h 212"/>
              <a:gd name="T38" fmla="*/ 2147483647 w 130"/>
              <a:gd name="T39" fmla="*/ 2147483647 h 212"/>
              <a:gd name="T40" fmla="*/ 2147483647 w 130"/>
              <a:gd name="T41" fmla="*/ 2147483647 h 212"/>
              <a:gd name="T42" fmla="*/ 2147483647 w 130"/>
              <a:gd name="T43" fmla="*/ 2147483647 h 212"/>
              <a:gd name="T44" fmla="*/ 2147483647 w 130"/>
              <a:gd name="T45" fmla="*/ 2147483647 h 212"/>
              <a:gd name="T46" fmla="*/ 2147483647 w 130"/>
              <a:gd name="T47" fmla="*/ 2147483647 h 212"/>
              <a:gd name="T48" fmla="*/ 2147483647 w 130"/>
              <a:gd name="T49" fmla="*/ 2147483647 h 212"/>
              <a:gd name="T50" fmla="*/ 2147483647 w 130"/>
              <a:gd name="T51" fmla="*/ 0 h 212"/>
              <a:gd name="T52" fmla="*/ 2147483647 w 130"/>
              <a:gd name="T53" fmla="*/ 2147483647 h 212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30"/>
              <a:gd name="T82" fmla="*/ 0 h 212"/>
              <a:gd name="T83" fmla="*/ 130 w 130"/>
              <a:gd name="T84" fmla="*/ 212 h 212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30" h="212">
                <a:moveTo>
                  <a:pt x="17" y="8"/>
                </a:moveTo>
                <a:lnTo>
                  <a:pt x="17" y="24"/>
                </a:lnTo>
                <a:lnTo>
                  <a:pt x="32" y="40"/>
                </a:lnTo>
                <a:lnTo>
                  <a:pt x="25" y="89"/>
                </a:lnTo>
                <a:lnTo>
                  <a:pt x="0" y="120"/>
                </a:lnTo>
                <a:lnTo>
                  <a:pt x="0" y="130"/>
                </a:lnTo>
                <a:lnTo>
                  <a:pt x="8" y="137"/>
                </a:lnTo>
                <a:lnTo>
                  <a:pt x="8" y="145"/>
                </a:lnTo>
                <a:lnTo>
                  <a:pt x="25" y="177"/>
                </a:lnTo>
                <a:lnTo>
                  <a:pt x="8" y="177"/>
                </a:lnTo>
                <a:lnTo>
                  <a:pt x="8" y="186"/>
                </a:lnTo>
                <a:lnTo>
                  <a:pt x="17" y="193"/>
                </a:lnTo>
                <a:lnTo>
                  <a:pt x="25" y="211"/>
                </a:lnTo>
                <a:lnTo>
                  <a:pt x="65" y="202"/>
                </a:lnTo>
                <a:lnTo>
                  <a:pt x="73" y="193"/>
                </a:lnTo>
                <a:lnTo>
                  <a:pt x="65" y="193"/>
                </a:lnTo>
                <a:lnTo>
                  <a:pt x="88" y="186"/>
                </a:lnTo>
                <a:lnTo>
                  <a:pt x="106" y="170"/>
                </a:lnTo>
                <a:lnTo>
                  <a:pt x="113" y="162"/>
                </a:lnTo>
                <a:lnTo>
                  <a:pt x="122" y="162"/>
                </a:lnTo>
                <a:lnTo>
                  <a:pt x="106" y="137"/>
                </a:lnTo>
                <a:lnTo>
                  <a:pt x="122" y="105"/>
                </a:lnTo>
                <a:lnTo>
                  <a:pt x="129" y="105"/>
                </a:lnTo>
                <a:lnTo>
                  <a:pt x="129" y="96"/>
                </a:lnTo>
                <a:lnTo>
                  <a:pt x="129" y="55"/>
                </a:lnTo>
                <a:lnTo>
                  <a:pt x="32" y="0"/>
                </a:lnTo>
                <a:lnTo>
                  <a:pt x="17" y="8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42" name="Freeform 326"/>
          <p:cNvSpPr>
            <a:spLocks/>
          </p:cNvSpPr>
          <p:nvPr>
            <p:custDataLst>
              <p:tags r:id="rId253"/>
            </p:custDataLst>
          </p:nvPr>
        </p:nvSpPr>
        <p:spPr bwMode="gray">
          <a:xfrm>
            <a:off x="4178300" y="4824413"/>
            <a:ext cx="153988" cy="119062"/>
          </a:xfrm>
          <a:custGeom>
            <a:avLst/>
            <a:gdLst>
              <a:gd name="T0" fmla="*/ 0 w 98"/>
              <a:gd name="T1" fmla="*/ 2147483647 h 75"/>
              <a:gd name="T2" fmla="*/ 2147483647 w 98"/>
              <a:gd name="T3" fmla="*/ 2147483647 h 75"/>
              <a:gd name="T4" fmla="*/ 2147483647 w 98"/>
              <a:gd name="T5" fmla="*/ 2147483647 h 75"/>
              <a:gd name="T6" fmla="*/ 2147483647 w 98"/>
              <a:gd name="T7" fmla="*/ 2147483647 h 75"/>
              <a:gd name="T8" fmla="*/ 2147483647 w 98"/>
              <a:gd name="T9" fmla="*/ 0 h 75"/>
              <a:gd name="T10" fmla="*/ 2147483647 w 98"/>
              <a:gd name="T11" fmla="*/ 0 h 75"/>
              <a:gd name="T12" fmla="*/ 2147483647 w 98"/>
              <a:gd name="T13" fmla="*/ 2147483647 h 75"/>
              <a:gd name="T14" fmla="*/ 2147483647 w 98"/>
              <a:gd name="T15" fmla="*/ 2147483647 h 75"/>
              <a:gd name="T16" fmla="*/ 2147483647 w 98"/>
              <a:gd name="T17" fmla="*/ 2147483647 h 75"/>
              <a:gd name="T18" fmla="*/ 2147483647 w 98"/>
              <a:gd name="T19" fmla="*/ 2147483647 h 75"/>
              <a:gd name="T20" fmla="*/ 2147483647 w 98"/>
              <a:gd name="T21" fmla="*/ 2147483647 h 75"/>
              <a:gd name="T22" fmla="*/ 2147483647 w 98"/>
              <a:gd name="T23" fmla="*/ 2147483647 h 75"/>
              <a:gd name="T24" fmla="*/ 2147483647 w 98"/>
              <a:gd name="T25" fmla="*/ 2147483647 h 75"/>
              <a:gd name="T26" fmla="*/ 2147483647 w 98"/>
              <a:gd name="T27" fmla="*/ 2147483647 h 75"/>
              <a:gd name="T28" fmla="*/ 2147483647 w 98"/>
              <a:gd name="T29" fmla="*/ 2147483647 h 75"/>
              <a:gd name="T30" fmla="*/ 2147483647 w 98"/>
              <a:gd name="T31" fmla="*/ 2147483647 h 75"/>
              <a:gd name="T32" fmla="*/ 2147483647 w 98"/>
              <a:gd name="T33" fmla="*/ 2147483647 h 75"/>
              <a:gd name="T34" fmla="*/ 0 w 98"/>
              <a:gd name="T35" fmla="*/ 2147483647 h 75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98"/>
              <a:gd name="T55" fmla="*/ 0 h 75"/>
              <a:gd name="T56" fmla="*/ 98 w 98"/>
              <a:gd name="T57" fmla="*/ 75 h 75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98" h="75">
                <a:moveTo>
                  <a:pt x="0" y="58"/>
                </a:moveTo>
                <a:lnTo>
                  <a:pt x="6" y="50"/>
                </a:lnTo>
                <a:lnTo>
                  <a:pt x="23" y="25"/>
                </a:lnTo>
                <a:lnTo>
                  <a:pt x="40" y="18"/>
                </a:lnTo>
                <a:lnTo>
                  <a:pt x="56" y="0"/>
                </a:lnTo>
                <a:lnTo>
                  <a:pt x="72" y="0"/>
                </a:lnTo>
                <a:lnTo>
                  <a:pt x="72" y="18"/>
                </a:lnTo>
                <a:lnTo>
                  <a:pt x="88" y="33"/>
                </a:lnTo>
                <a:lnTo>
                  <a:pt x="97" y="33"/>
                </a:lnTo>
                <a:lnTo>
                  <a:pt x="97" y="40"/>
                </a:lnTo>
                <a:lnTo>
                  <a:pt x="80" y="50"/>
                </a:lnTo>
                <a:lnTo>
                  <a:pt x="63" y="50"/>
                </a:lnTo>
                <a:lnTo>
                  <a:pt x="31" y="50"/>
                </a:lnTo>
                <a:lnTo>
                  <a:pt x="31" y="58"/>
                </a:lnTo>
                <a:lnTo>
                  <a:pt x="31" y="74"/>
                </a:lnTo>
                <a:lnTo>
                  <a:pt x="23" y="65"/>
                </a:lnTo>
                <a:lnTo>
                  <a:pt x="6" y="65"/>
                </a:lnTo>
                <a:lnTo>
                  <a:pt x="0" y="58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43" name="Freeform 327"/>
          <p:cNvSpPr>
            <a:spLocks/>
          </p:cNvSpPr>
          <p:nvPr>
            <p:custDataLst>
              <p:tags r:id="rId254"/>
            </p:custDataLst>
          </p:nvPr>
        </p:nvSpPr>
        <p:spPr bwMode="gray">
          <a:xfrm>
            <a:off x="4305300" y="4876800"/>
            <a:ext cx="50800" cy="128588"/>
          </a:xfrm>
          <a:custGeom>
            <a:avLst/>
            <a:gdLst>
              <a:gd name="T0" fmla="*/ 2147483647 w 33"/>
              <a:gd name="T1" fmla="*/ 2147483647 h 82"/>
              <a:gd name="T2" fmla="*/ 0 w 33"/>
              <a:gd name="T3" fmla="*/ 2147483647 h 82"/>
              <a:gd name="T4" fmla="*/ 0 w 33"/>
              <a:gd name="T5" fmla="*/ 2147483647 h 82"/>
              <a:gd name="T6" fmla="*/ 2147483647 w 33"/>
              <a:gd name="T7" fmla="*/ 2147483647 h 82"/>
              <a:gd name="T8" fmla="*/ 2147483647 w 33"/>
              <a:gd name="T9" fmla="*/ 2147483647 h 82"/>
              <a:gd name="T10" fmla="*/ 2147483647 w 33"/>
              <a:gd name="T11" fmla="*/ 2147483647 h 82"/>
              <a:gd name="T12" fmla="*/ 2147483647 w 33"/>
              <a:gd name="T13" fmla="*/ 2147483647 h 82"/>
              <a:gd name="T14" fmla="*/ 2147483647 w 33"/>
              <a:gd name="T15" fmla="*/ 2147483647 h 82"/>
              <a:gd name="T16" fmla="*/ 2147483647 w 33"/>
              <a:gd name="T17" fmla="*/ 2147483647 h 82"/>
              <a:gd name="T18" fmla="*/ 2147483647 w 33"/>
              <a:gd name="T19" fmla="*/ 2147483647 h 82"/>
              <a:gd name="T20" fmla="*/ 2147483647 w 33"/>
              <a:gd name="T21" fmla="*/ 0 h 82"/>
              <a:gd name="T22" fmla="*/ 2147483647 w 33"/>
              <a:gd name="T23" fmla="*/ 0 h 82"/>
              <a:gd name="T24" fmla="*/ 2147483647 w 33"/>
              <a:gd name="T25" fmla="*/ 2147483647 h 8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3"/>
              <a:gd name="T40" fmla="*/ 0 h 82"/>
              <a:gd name="T41" fmla="*/ 33 w 33"/>
              <a:gd name="T42" fmla="*/ 82 h 8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3" h="82">
                <a:moveTo>
                  <a:pt x="17" y="7"/>
                </a:moveTo>
                <a:lnTo>
                  <a:pt x="0" y="17"/>
                </a:lnTo>
                <a:lnTo>
                  <a:pt x="0" y="25"/>
                </a:lnTo>
                <a:lnTo>
                  <a:pt x="8" y="32"/>
                </a:lnTo>
                <a:lnTo>
                  <a:pt x="8" y="48"/>
                </a:lnTo>
                <a:lnTo>
                  <a:pt x="8" y="81"/>
                </a:lnTo>
                <a:lnTo>
                  <a:pt x="23" y="81"/>
                </a:lnTo>
                <a:lnTo>
                  <a:pt x="23" y="57"/>
                </a:lnTo>
                <a:lnTo>
                  <a:pt x="32" y="25"/>
                </a:lnTo>
                <a:lnTo>
                  <a:pt x="32" y="7"/>
                </a:lnTo>
                <a:lnTo>
                  <a:pt x="23" y="0"/>
                </a:lnTo>
                <a:lnTo>
                  <a:pt x="17" y="0"/>
                </a:lnTo>
                <a:lnTo>
                  <a:pt x="17" y="7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44" name="Freeform 16"/>
          <p:cNvSpPr>
            <a:spLocks/>
          </p:cNvSpPr>
          <p:nvPr>
            <p:custDataLst>
              <p:tags r:id="rId255"/>
            </p:custDataLst>
          </p:nvPr>
        </p:nvSpPr>
        <p:spPr bwMode="gray">
          <a:xfrm>
            <a:off x="4775200" y="4462463"/>
            <a:ext cx="233363" cy="230187"/>
          </a:xfrm>
          <a:custGeom>
            <a:avLst/>
            <a:gdLst>
              <a:gd name="T0" fmla="*/ 2147483647 w 148"/>
              <a:gd name="T1" fmla="*/ 2147483647 h 147"/>
              <a:gd name="T2" fmla="*/ 2147483647 w 148"/>
              <a:gd name="T3" fmla="*/ 2147483647 h 147"/>
              <a:gd name="T4" fmla="*/ 2147483647 w 148"/>
              <a:gd name="T5" fmla="*/ 2147483647 h 147"/>
              <a:gd name="T6" fmla="*/ 2147483647 w 148"/>
              <a:gd name="T7" fmla="*/ 2147483647 h 147"/>
              <a:gd name="T8" fmla="*/ 2147483647 w 148"/>
              <a:gd name="T9" fmla="*/ 2147483647 h 147"/>
              <a:gd name="T10" fmla="*/ 0 w 148"/>
              <a:gd name="T11" fmla="*/ 2147483647 h 147"/>
              <a:gd name="T12" fmla="*/ 2147483647 w 148"/>
              <a:gd name="T13" fmla="*/ 0 h 147"/>
              <a:gd name="T14" fmla="*/ 2147483647 w 148"/>
              <a:gd name="T15" fmla="*/ 2147483647 h 147"/>
              <a:gd name="T16" fmla="*/ 2147483647 w 148"/>
              <a:gd name="T17" fmla="*/ 2147483647 h 147"/>
              <a:gd name="T18" fmla="*/ 2147483647 w 148"/>
              <a:gd name="T19" fmla="*/ 2147483647 h 147"/>
              <a:gd name="T20" fmla="*/ 2147483647 w 148"/>
              <a:gd name="T21" fmla="*/ 2147483647 h 147"/>
              <a:gd name="T22" fmla="*/ 2147483647 w 148"/>
              <a:gd name="T23" fmla="*/ 2147483647 h 147"/>
              <a:gd name="T24" fmla="*/ 2147483647 w 148"/>
              <a:gd name="T25" fmla="*/ 2147483647 h 147"/>
              <a:gd name="T26" fmla="*/ 2147483647 w 148"/>
              <a:gd name="T27" fmla="*/ 2147483647 h 147"/>
              <a:gd name="T28" fmla="*/ 2147483647 w 148"/>
              <a:gd name="T29" fmla="*/ 2147483647 h 147"/>
              <a:gd name="T30" fmla="*/ 2147483647 w 148"/>
              <a:gd name="T31" fmla="*/ 2147483647 h 147"/>
              <a:gd name="T32" fmla="*/ 2147483647 w 148"/>
              <a:gd name="T33" fmla="*/ 2147483647 h 147"/>
              <a:gd name="T34" fmla="*/ 2147483647 w 148"/>
              <a:gd name="T35" fmla="*/ 2147483647 h 147"/>
              <a:gd name="T36" fmla="*/ 2147483647 w 148"/>
              <a:gd name="T37" fmla="*/ 2147483647 h 147"/>
              <a:gd name="T38" fmla="*/ 2147483647 w 148"/>
              <a:gd name="T39" fmla="*/ 2147483647 h 147"/>
              <a:gd name="T40" fmla="*/ 2147483647 w 148"/>
              <a:gd name="T41" fmla="*/ 2147483647 h 147"/>
              <a:gd name="T42" fmla="*/ 2147483647 w 148"/>
              <a:gd name="T43" fmla="*/ 2147483647 h 147"/>
              <a:gd name="T44" fmla="*/ 2147483647 w 148"/>
              <a:gd name="T45" fmla="*/ 2147483647 h 14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48"/>
              <a:gd name="T70" fmla="*/ 0 h 147"/>
              <a:gd name="T71" fmla="*/ 148 w 148"/>
              <a:gd name="T72" fmla="*/ 147 h 147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48" h="147">
                <a:moveTo>
                  <a:pt x="147" y="130"/>
                </a:moveTo>
                <a:lnTo>
                  <a:pt x="122" y="146"/>
                </a:lnTo>
                <a:lnTo>
                  <a:pt x="115" y="137"/>
                </a:lnTo>
                <a:lnTo>
                  <a:pt x="10" y="137"/>
                </a:lnTo>
                <a:lnTo>
                  <a:pt x="10" y="48"/>
                </a:lnTo>
                <a:lnTo>
                  <a:pt x="0" y="32"/>
                </a:lnTo>
                <a:lnTo>
                  <a:pt x="10" y="0"/>
                </a:lnTo>
                <a:lnTo>
                  <a:pt x="10" y="9"/>
                </a:lnTo>
                <a:lnTo>
                  <a:pt x="34" y="9"/>
                </a:lnTo>
                <a:lnTo>
                  <a:pt x="57" y="16"/>
                </a:lnTo>
                <a:lnTo>
                  <a:pt x="91" y="9"/>
                </a:lnTo>
                <a:lnTo>
                  <a:pt x="97" y="9"/>
                </a:lnTo>
                <a:lnTo>
                  <a:pt x="97" y="16"/>
                </a:lnTo>
                <a:lnTo>
                  <a:pt x="107" y="9"/>
                </a:lnTo>
                <a:lnTo>
                  <a:pt x="107" y="16"/>
                </a:lnTo>
                <a:lnTo>
                  <a:pt x="122" y="9"/>
                </a:lnTo>
                <a:lnTo>
                  <a:pt x="131" y="40"/>
                </a:lnTo>
                <a:lnTo>
                  <a:pt x="122" y="65"/>
                </a:lnTo>
                <a:lnTo>
                  <a:pt x="115" y="48"/>
                </a:lnTo>
                <a:lnTo>
                  <a:pt x="107" y="25"/>
                </a:lnTo>
                <a:lnTo>
                  <a:pt x="107" y="32"/>
                </a:lnTo>
                <a:lnTo>
                  <a:pt x="107" y="40"/>
                </a:lnTo>
                <a:lnTo>
                  <a:pt x="147" y="130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45" name="Line 37"/>
          <p:cNvSpPr>
            <a:spLocks noChangeShapeType="1"/>
          </p:cNvSpPr>
          <p:nvPr>
            <p:custDataLst>
              <p:tags r:id="rId256"/>
            </p:custDataLst>
          </p:nvPr>
        </p:nvSpPr>
        <p:spPr bwMode="gray">
          <a:xfrm>
            <a:off x="4814888" y="4298950"/>
            <a:ext cx="0" cy="11113"/>
          </a:xfrm>
          <a:prstGeom prst="line">
            <a:avLst/>
          </a:prstGeom>
          <a:noFill/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95846" name="Freeform 39"/>
          <p:cNvSpPr>
            <a:spLocks/>
          </p:cNvSpPr>
          <p:nvPr>
            <p:custDataLst>
              <p:tags r:id="rId257"/>
            </p:custDataLst>
          </p:nvPr>
        </p:nvSpPr>
        <p:spPr bwMode="gray">
          <a:xfrm>
            <a:off x="4840288" y="4056063"/>
            <a:ext cx="284162" cy="179387"/>
          </a:xfrm>
          <a:custGeom>
            <a:avLst/>
            <a:gdLst>
              <a:gd name="T0" fmla="*/ 2147483647 w 180"/>
              <a:gd name="T1" fmla="*/ 2147483647 h 114"/>
              <a:gd name="T2" fmla="*/ 2147483647 w 180"/>
              <a:gd name="T3" fmla="*/ 2147483647 h 114"/>
              <a:gd name="T4" fmla="*/ 2147483647 w 180"/>
              <a:gd name="T5" fmla="*/ 2147483647 h 114"/>
              <a:gd name="T6" fmla="*/ 2147483647 w 180"/>
              <a:gd name="T7" fmla="*/ 2147483647 h 114"/>
              <a:gd name="T8" fmla="*/ 2147483647 w 180"/>
              <a:gd name="T9" fmla="*/ 0 h 114"/>
              <a:gd name="T10" fmla="*/ 2147483647 w 180"/>
              <a:gd name="T11" fmla="*/ 2147483647 h 114"/>
              <a:gd name="T12" fmla="*/ 2147483647 w 180"/>
              <a:gd name="T13" fmla="*/ 2147483647 h 114"/>
              <a:gd name="T14" fmla="*/ 2147483647 w 180"/>
              <a:gd name="T15" fmla="*/ 2147483647 h 114"/>
              <a:gd name="T16" fmla="*/ 2147483647 w 180"/>
              <a:gd name="T17" fmla="*/ 2147483647 h 114"/>
              <a:gd name="T18" fmla="*/ 2147483647 w 180"/>
              <a:gd name="T19" fmla="*/ 2147483647 h 114"/>
              <a:gd name="T20" fmla="*/ 2147483647 w 180"/>
              <a:gd name="T21" fmla="*/ 2147483647 h 114"/>
              <a:gd name="T22" fmla="*/ 2147483647 w 180"/>
              <a:gd name="T23" fmla="*/ 2147483647 h 114"/>
              <a:gd name="T24" fmla="*/ 2147483647 w 180"/>
              <a:gd name="T25" fmla="*/ 2147483647 h 114"/>
              <a:gd name="T26" fmla="*/ 2147483647 w 180"/>
              <a:gd name="T27" fmla="*/ 2147483647 h 114"/>
              <a:gd name="T28" fmla="*/ 2147483647 w 180"/>
              <a:gd name="T29" fmla="*/ 2147483647 h 114"/>
              <a:gd name="T30" fmla="*/ 2147483647 w 180"/>
              <a:gd name="T31" fmla="*/ 2147483647 h 114"/>
              <a:gd name="T32" fmla="*/ 2147483647 w 180"/>
              <a:gd name="T33" fmla="*/ 2147483647 h 114"/>
              <a:gd name="T34" fmla="*/ 2147483647 w 180"/>
              <a:gd name="T35" fmla="*/ 2147483647 h 114"/>
              <a:gd name="T36" fmla="*/ 2147483647 w 180"/>
              <a:gd name="T37" fmla="*/ 2147483647 h 114"/>
              <a:gd name="T38" fmla="*/ 2147483647 w 180"/>
              <a:gd name="T39" fmla="*/ 2147483647 h 114"/>
              <a:gd name="T40" fmla="*/ 2147483647 w 180"/>
              <a:gd name="T41" fmla="*/ 2147483647 h 114"/>
              <a:gd name="T42" fmla="*/ 2147483647 w 180"/>
              <a:gd name="T43" fmla="*/ 2147483647 h 114"/>
              <a:gd name="T44" fmla="*/ 0 w 180"/>
              <a:gd name="T45" fmla="*/ 2147483647 h 114"/>
              <a:gd name="T46" fmla="*/ 2147483647 w 180"/>
              <a:gd name="T47" fmla="*/ 2147483647 h 114"/>
              <a:gd name="T48" fmla="*/ 2147483647 w 180"/>
              <a:gd name="T49" fmla="*/ 2147483647 h 114"/>
              <a:gd name="T50" fmla="*/ 2147483647 w 180"/>
              <a:gd name="T51" fmla="*/ 2147483647 h 114"/>
              <a:gd name="T52" fmla="*/ 2147483647 w 180"/>
              <a:gd name="T53" fmla="*/ 2147483647 h 114"/>
              <a:gd name="T54" fmla="*/ 2147483647 w 180"/>
              <a:gd name="T55" fmla="*/ 2147483647 h 114"/>
              <a:gd name="T56" fmla="*/ 2147483647 w 180"/>
              <a:gd name="T57" fmla="*/ 2147483647 h 114"/>
              <a:gd name="T58" fmla="*/ 2147483647 w 180"/>
              <a:gd name="T59" fmla="*/ 2147483647 h 114"/>
              <a:gd name="T60" fmla="*/ 2147483647 w 180"/>
              <a:gd name="T61" fmla="*/ 2147483647 h 114"/>
              <a:gd name="T62" fmla="*/ 2147483647 w 180"/>
              <a:gd name="T63" fmla="*/ 2147483647 h 114"/>
              <a:gd name="T64" fmla="*/ 2147483647 w 180"/>
              <a:gd name="T65" fmla="*/ 2147483647 h 114"/>
              <a:gd name="T66" fmla="*/ 2147483647 w 180"/>
              <a:gd name="T67" fmla="*/ 2147483647 h 114"/>
              <a:gd name="T68" fmla="*/ 2147483647 w 180"/>
              <a:gd name="T69" fmla="*/ 2147483647 h 114"/>
              <a:gd name="T70" fmla="*/ 2147483647 w 180"/>
              <a:gd name="T71" fmla="*/ 2147483647 h 114"/>
              <a:gd name="T72" fmla="*/ 2147483647 w 180"/>
              <a:gd name="T73" fmla="*/ 2147483647 h 114"/>
              <a:gd name="T74" fmla="*/ 2147483647 w 180"/>
              <a:gd name="T75" fmla="*/ 2147483647 h 114"/>
              <a:gd name="T76" fmla="*/ 2147483647 w 180"/>
              <a:gd name="T77" fmla="*/ 2147483647 h 114"/>
              <a:gd name="T78" fmla="*/ 2147483647 w 180"/>
              <a:gd name="T79" fmla="*/ 2147483647 h 114"/>
              <a:gd name="T80" fmla="*/ 2147483647 w 180"/>
              <a:gd name="T81" fmla="*/ 2147483647 h 114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80"/>
              <a:gd name="T124" fmla="*/ 0 h 114"/>
              <a:gd name="T125" fmla="*/ 180 w 180"/>
              <a:gd name="T126" fmla="*/ 114 h 114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80" h="114">
                <a:moveTo>
                  <a:pt x="114" y="41"/>
                </a:moveTo>
                <a:lnTo>
                  <a:pt x="105" y="41"/>
                </a:lnTo>
                <a:lnTo>
                  <a:pt x="89" y="32"/>
                </a:lnTo>
                <a:lnTo>
                  <a:pt x="130" y="8"/>
                </a:lnTo>
                <a:lnTo>
                  <a:pt x="145" y="0"/>
                </a:lnTo>
                <a:lnTo>
                  <a:pt x="154" y="8"/>
                </a:lnTo>
                <a:lnTo>
                  <a:pt x="130" y="16"/>
                </a:lnTo>
                <a:lnTo>
                  <a:pt x="139" y="23"/>
                </a:lnTo>
                <a:lnTo>
                  <a:pt x="120" y="41"/>
                </a:lnTo>
                <a:lnTo>
                  <a:pt x="114" y="41"/>
                </a:lnTo>
                <a:lnTo>
                  <a:pt x="120" y="41"/>
                </a:lnTo>
                <a:lnTo>
                  <a:pt x="179" y="88"/>
                </a:lnTo>
                <a:lnTo>
                  <a:pt x="179" y="97"/>
                </a:lnTo>
                <a:lnTo>
                  <a:pt x="179" y="105"/>
                </a:lnTo>
                <a:lnTo>
                  <a:pt x="154" y="113"/>
                </a:lnTo>
                <a:lnTo>
                  <a:pt x="120" y="113"/>
                </a:lnTo>
                <a:lnTo>
                  <a:pt x="97" y="97"/>
                </a:lnTo>
                <a:lnTo>
                  <a:pt x="73" y="97"/>
                </a:lnTo>
                <a:lnTo>
                  <a:pt x="49" y="113"/>
                </a:lnTo>
                <a:lnTo>
                  <a:pt x="33" y="113"/>
                </a:lnTo>
                <a:lnTo>
                  <a:pt x="15" y="113"/>
                </a:lnTo>
                <a:lnTo>
                  <a:pt x="8" y="97"/>
                </a:lnTo>
                <a:lnTo>
                  <a:pt x="0" y="88"/>
                </a:lnTo>
                <a:lnTo>
                  <a:pt x="8" y="73"/>
                </a:lnTo>
                <a:lnTo>
                  <a:pt x="15" y="73"/>
                </a:lnTo>
                <a:lnTo>
                  <a:pt x="15" y="63"/>
                </a:lnTo>
                <a:lnTo>
                  <a:pt x="15" y="57"/>
                </a:lnTo>
                <a:lnTo>
                  <a:pt x="24" y="48"/>
                </a:lnTo>
                <a:lnTo>
                  <a:pt x="24" y="41"/>
                </a:lnTo>
                <a:lnTo>
                  <a:pt x="24" y="32"/>
                </a:lnTo>
                <a:lnTo>
                  <a:pt x="33" y="32"/>
                </a:lnTo>
                <a:lnTo>
                  <a:pt x="40" y="16"/>
                </a:lnTo>
                <a:lnTo>
                  <a:pt x="55" y="16"/>
                </a:lnTo>
                <a:lnTo>
                  <a:pt x="55" y="23"/>
                </a:lnTo>
                <a:lnTo>
                  <a:pt x="80" y="32"/>
                </a:lnTo>
                <a:lnTo>
                  <a:pt x="65" y="41"/>
                </a:lnTo>
                <a:lnTo>
                  <a:pt x="73" y="48"/>
                </a:lnTo>
                <a:lnTo>
                  <a:pt x="73" y="57"/>
                </a:lnTo>
                <a:lnTo>
                  <a:pt x="80" y="57"/>
                </a:lnTo>
                <a:lnTo>
                  <a:pt x="105" y="41"/>
                </a:lnTo>
                <a:lnTo>
                  <a:pt x="114" y="41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47" name="Freeform 40"/>
          <p:cNvSpPr>
            <a:spLocks/>
          </p:cNvSpPr>
          <p:nvPr>
            <p:custDataLst>
              <p:tags r:id="rId258"/>
            </p:custDataLst>
          </p:nvPr>
        </p:nvSpPr>
        <p:spPr bwMode="gray">
          <a:xfrm>
            <a:off x="4840288" y="4056063"/>
            <a:ext cx="280987" cy="177800"/>
          </a:xfrm>
          <a:custGeom>
            <a:avLst/>
            <a:gdLst>
              <a:gd name="T0" fmla="*/ 2147483647 w 179"/>
              <a:gd name="T1" fmla="*/ 2147483647 h 113"/>
              <a:gd name="T2" fmla="*/ 2147483647 w 179"/>
              <a:gd name="T3" fmla="*/ 2147483647 h 113"/>
              <a:gd name="T4" fmla="*/ 2147483647 w 179"/>
              <a:gd name="T5" fmla="*/ 2147483647 h 113"/>
              <a:gd name="T6" fmla="*/ 2147483647 w 179"/>
              <a:gd name="T7" fmla="*/ 0 h 113"/>
              <a:gd name="T8" fmla="*/ 2147483647 w 179"/>
              <a:gd name="T9" fmla="*/ 2147483647 h 113"/>
              <a:gd name="T10" fmla="*/ 2147483647 w 179"/>
              <a:gd name="T11" fmla="*/ 2147483647 h 113"/>
              <a:gd name="T12" fmla="*/ 2147483647 w 179"/>
              <a:gd name="T13" fmla="*/ 2147483647 h 113"/>
              <a:gd name="T14" fmla="*/ 2147483647 w 179"/>
              <a:gd name="T15" fmla="*/ 2147483647 h 113"/>
              <a:gd name="T16" fmla="*/ 2147483647 w 179"/>
              <a:gd name="T17" fmla="*/ 2147483647 h 113"/>
              <a:gd name="T18" fmla="*/ 2147483647 w 179"/>
              <a:gd name="T19" fmla="*/ 2147483647 h 113"/>
              <a:gd name="T20" fmla="*/ 2147483647 w 179"/>
              <a:gd name="T21" fmla="*/ 2147483647 h 113"/>
              <a:gd name="T22" fmla="*/ 2147483647 w 179"/>
              <a:gd name="T23" fmla="*/ 2147483647 h 113"/>
              <a:gd name="T24" fmla="*/ 2147483647 w 179"/>
              <a:gd name="T25" fmla="*/ 2147483647 h 113"/>
              <a:gd name="T26" fmla="*/ 2147483647 w 179"/>
              <a:gd name="T27" fmla="*/ 2147483647 h 113"/>
              <a:gd name="T28" fmla="*/ 2147483647 w 179"/>
              <a:gd name="T29" fmla="*/ 2147483647 h 113"/>
              <a:gd name="T30" fmla="*/ 2147483647 w 179"/>
              <a:gd name="T31" fmla="*/ 2147483647 h 113"/>
              <a:gd name="T32" fmla="*/ 2147483647 w 179"/>
              <a:gd name="T33" fmla="*/ 2147483647 h 113"/>
              <a:gd name="T34" fmla="*/ 2147483647 w 179"/>
              <a:gd name="T35" fmla="*/ 2147483647 h 113"/>
              <a:gd name="T36" fmla="*/ 2147483647 w 179"/>
              <a:gd name="T37" fmla="*/ 2147483647 h 113"/>
              <a:gd name="T38" fmla="*/ 2147483647 w 179"/>
              <a:gd name="T39" fmla="*/ 2147483647 h 113"/>
              <a:gd name="T40" fmla="*/ 0 w 179"/>
              <a:gd name="T41" fmla="*/ 2147483647 h 113"/>
              <a:gd name="T42" fmla="*/ 2147483647 w 179"/>
              <a:gd name="T43" fmla="*/ 2147483647 h 113"/>
              <a:gd name="T44" fmla="*/ 2147483647 w 179"/>
              <a:gd name="T45" fmla="*/ 2147483647 h 113"/>
              <a:gd name="T46" fmla="*/ 2147483647 w 179"/>
              <a:gd name="T47" fmla="*/ 2147483647 h 113"/>
              <a:gd name="T48" fmla="*/ 2147483647 w 179"/>
              <a:gd name="T49" fmla="*/ 2147483647 h 113"/>
              <a:gd name="T50" fmla="*/ 2147483647 w 179"/>
              <a:gd name="T51" fmla="*/ 2147483647 h 113"/>
              <a:gd name="T52" fmla="*/ 2147483647 w 179"/>
              <a:gd name="T53" fmla="*/ 2147483647 h 113"/>
              <a:gd name="T54" fmla="*/ 2147483647 w 179"/>
              <a:gd name="T55" fmla="*/ 2147483647 h 113"/>
              <a:gd name="T56" fmla="*/ 2147483647 w 179"/>
              <a:gd name="T57" fmla="*/ 2147483647 h 113"/>
              <a:gd name="T58" fmla="*/ 2147483647 w 179"/>
              <a:gd name="T59" fmla="*/ 2147483647 h 113"/>
              <a:gd name="T60" fmla="*/ 2147483647 w 179"/>
              <a:gd name="T61" fmla="*/ 2147483647 h 113"/>
              <a:gd name="T62" fmla="*/ 2147483647 w 179"/>
              <a:gd name="T63" fmla="*/ 2147483647 h 113"/>
              <a:gd name="T64" fmla="*/ 2147483647 w 179"/>
              <a:gd name="T65" fmla="*/ 2147483647 h 113"/>
              <a:gd name="T66" fmla="*/ 2147483647 w 179"/>
              <a:gd name="T67" fmla="*/ 2147483647 h 113"/>
              <a:gd name="T68" fmla="*/ 2147483647 w 179"/>
              <a:gd name="T69" fmla="*/ 2147483647 h 113"/>
              <a:gd name="T70" fmla="*/ 2147483647 w 179"/>
              <a:gd name="T71" fmla="*/ 2147483647 h 113"/>
              <a:gd name="T72" fmla="*/ 2147483647 w 179"/>
              <a:gd name="T73" fmla="*/ 2147483647 h 113"/>
              <a:gd name="T74" fmla="*/ 2147483647 w 179"/>
              <a:gd name="T75" fmla="*/ 2147483647 h 11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79"/>
              <a:gd name="T115" fmla="*/ 0 h 113"/>
              <a:gd name="T116" fmla="*/ 179 w 179"/>
              <a:gd name="T117" fmla="*/ 113 h 113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79" h="113">
                <a:moveTo>
                  <a:pt x="105" y="41"/>
                </a:moveTo>
                <a:lnTo>
                  <a:pt x="89" y="32"/>
                </a:lnTo>
                <a:lnTo>
                  <a:pt x="130" y="8"/>
                </a:lnTo>
                <a:lnTo>
                  <a:pt x="145" y="0"/>
                </a:lnTo>
                <a:lnTo>
                  <a:pt x="154" y="8"/>
                </a:lnTo>
                <a:lnTo>
                  <a:pt x="130" y="16"/>
                </a:lnTo>
                <a:lnTo>
                  <a:pt x="139" y="23"/>
                </a:lnTo>
                <a:lnTo>
                  <a:pt x="120" y="41"/>
                </a:lnTo>
                <a:lnTo>
                  <a:pt x="179" y="88"/>
                </a:lnTo>
                <a:lnTo>
                  <a:pt x="179" y="97"/>
                </a:lnTo>
                <a:lnTo>
                  <a:pt x="179" y="105"/>
                </a:lnTo>
                <a:lnTo>
                  <a:pt x="154" y="113"/>
                </a:lnTo>
                <a:lnTo>
                  <a:pt x="120" y="113"/>
                </a:lnTo>
                <a:lnTo>
                  <a:pt x="97" y="97"/>
                </a:lnTo>
                <a:lnTo>
                  <a:pt x="73" y="97"/>
                </a:lnTo>
                <a:lnTo>
                  <a:pt x="49" y="113"/>
                </a:lnTo>
                <a:lnTo>
                  <a:pt x="33" y="113"/>
                </a:lnTo>
                <a:lnTo>
                  <a:pt x="15" y="113"/>
                </a:lnTo>
                <a:lnTo>
                  <a:pt x="8" y="97"/>
                </a:lnTo>
                <a:lnTo>
                  <a:pt x="0" y="88"/>
                </a:lnTo>
                <a:lnTo>
                  <a:pt x="8" y="73"/>
                </a:lnTo>
                <a:lnTo>
                  <a:pt x="15" y="73"/>
                </a:lnTo>
                <a:lnTo>
                  <a:pt x="15" y="63"/>
                </a:lnTo>
                <a:lnTo>
                  <a:pt x="15" y="57"/>
                </a:lnTo>
                <a:lnTo>
                  <a:pt x="24" y="48"/>
                </a:lnTo>
                <a:lnTo>
                  <a:pt x="24" y="41"/>
                </a:lnTo>
                <a:lnTo>
                  <a:pt x="24" y="32"/>
                </a:lnTo>
                <a:lnTo>
                  <a:pt x="33" y="32"/>
                </a:lnTo>
                <a:lnTo>
                  <a:pt x="40" y="16"/>
                </a:lnTo>
                <a:lnTo>
                  <a:pt x="55" y="16"/>
                </a:lnTo>
                <a:lnTo>
                  <a:pt x="55" y="23"/>
                </a:lnTo>
                <a:lnTo>
                  <a:pt x="80" y="32"/>
                </a:lnTo>
                <a:lnTo>
                  <a:pt x="65" y="41"/>
                </a:lnTo>
                <a:lnTo>
                  <a:pt x="73" y="48"/>
                </a:lnTo>
                <a:lnTo>
                  <a:pt x="73" y="57"/>
                </a:lnTo>
                <a:lnTo>
                  <a:pt x="80" y="57"/>
                </a:lnTo>
                <a:lnTo>
                  <a:pt x="105" y="41"/>
                </a:lnTo>
              </a:path>
            </a:pathLst>
          </a:custGeom>
          <a:solidFill>
            <a:srgbClr val="33CCFF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48" name="Freeform 55"/>
          <p:cNvSpPr>
            <a:spLocks/>
          </p:cNvSpPr>
          <p:nvPr>
            <p:custDataLst>
              <p:tags r:id="rId259"/>
            </p:custDataLst>
          </p:nvPr>
        </p:nvSpPr>
        <p:spPr bwMode="gray">
          <a:xfrm>
            <a:off x="4627563" y="3994150"/>
            <a:ext cx="112712" cy="50800"/>
          </a:xfrm>
          <a:custGeom>
            <a:avLst/>
            <a:gdLst>
              <a:gd name="T0" fmla="*/ 2147483647 w 72"/>
              <a:gd name="T1" fmla="*/ 2147483647 h 33"/>
              <a:gd name="T2" fmla="*/ 2147483647 w 72"/>
              <a:gd name="T3" fmla="*/ 0 h 33"/>
              <a:gd name="T4" fmla="*/ 2147483647 w 72"/>
              <a:gd name="T5" fmla="*/ 2147483647 h 33"/>
              <a:gd name="T6" fmla="*/ 2147483647 w 72"/>
              <a:gd name="T7" fmla="*/ 0 h 33"/>
              <a:gd name="T8" fmla="*/ 2147483647 w 72"/>
              <a:gd name="T9" fmla="*/ 0 h 33"/>
              <a:gd name="T10" fmla="*/ 0 w 72"/>
              <a:gd name="T11" fmla="*/ 2147483647 h 33"/>
              <a:gd name="T12" fmla="*/ 0 w 72"/>
              <a:gd name="T13" fmla="*/ 2147483647 h 33"/>
              <a:gd name="T14" fmla="*/ 2147483647 w 72"/>
              <a:gd name="T15" fmla="*/ 2147483647 h 33"/>
              <a:gd name="T16" fmla="*/ 2147483647 w 72"/>
              <a:gd name="T17" fmla="*/ 2147483647 h 33"/>
              <a:gd name="T18" fmla="*/ 2147483647 w 72"/>
              <a:gd name="T19" fmla="*/ 2147483647 h 33"/>
              <a:gd name="T20" fmla="*/ 2147483647 w 72"/>
              <a:gd name="T21" fmla="*/ 2147483647 h 3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72"/>
              <a:gd name="T34" fmla="*/ 0 h 33"/>
              <a:gd name="T35" fmla="*/ 72 w 72"/>
              <a:gd name="T36" fmla="*/ 33 h 33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72" h="33">
                <a:moveTo>
                  <a:pt x="71" y="8"/>
                </a:moveTo>
                <a:lnTo>
                  <a:pt x="55" y="0"/>
                </a:lnTo>
                <a:lnTo>
                  <a:pt x="40" y="8"/>
                </a:lnTo>
                <a:lnTo>
                  <a:pt x="31" y="0"/>
                </a:lnTo>
                <a:lnTo>
                  <a:pt x="23" y="0"/>
                </a:lnTo>
                <a:lnTo>
                  <a:pt x="0" y="16"/>
                </a:lnTo>
                <a:lnTo>
                  <a:pt x="0" y="32"/>
                </a:lnTo>
                <a:lnTo>
                  <a:pt x="15" y="32"/>
                </a:lnTo>
                <a:lnTo>
                  <a:pt x="46" y="16"/>
                </a:lnTo>
                <a:lnTo>
                  <a:pt x="64" y="23"/>
                </a:lnTo>
                <a:lnTo>
                  <a:pt x="71" y="8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49" name="Freeform 56"/>
          <p:cNvSpPr>
            <a:spLocks/>
          </p:cNvSpPr>
          <p:nvPr>
            <p:custDataLst>
              <p:tags r:id="rId260"/>
            </p:custDataLst>
          </p:nvPr>
        </p:nvSpPr>
        <p:spPr bwMode="gray">
          <a:xfrm>
            <a:off x="4627563" y="3994150"/>
            <a:ext cx="112712" cy="50800"/>
          </a:xfrm>
          <a:custGeom>
            <a:avLst/>
            <a:gdLst>
              <a:gd name="T0" fmla="*/ 2147483647 w 72"/>
              <a:gd name="T1" fmla="*/ 2147483647 h 33"/>
              <a:gd name="T2" fmla="*/ 2147483647 w 72"/>
              <a:gd name="T3" fmla="*/ 0 h 33"/>
              <a:gd name="T4" fmla="*/ 2147483647 w 72"/>
              <a:gd name="T5" fmla="*/ 2147483647 h 33"/>
              <a:gd name="T6" fmla="*/ 2147483647 w 72"/>
              <a:gd name="T7" fmla="*/ 0 h 33"/>
              <a:gd name="T8" fmla="*/ 2147483647 w 72"/>
              <a:gd name="T9" fmla="*/ 0 h 33"/>
              <a:gd name="T10" fmla="*/ 0 w 72"/>
              <a:gd name="T11" fmla="*/ 2147483647 h 33"/>
              <a:gd name="T12" fmla="*/ 0 w 72"/>
              <a:gd name="T13" fmla="*/ 2147483647 h 33"/>
              <a:gd name="T14" fmla="*/ 2147483647 w 72"/>
              <a:gd name="T15" fmla="*/ 2147483647 h 33"/>
              <a:gd name="T16" fmla="*/ 2147483647 w 72"/>
              <a:gd name="T17" fmla="*/ 2147483647 h 33"/>
              <a:gd name="T18" fmla="*/ 2147483647 w 72"/>
              <a:gd name="T19" fmla="*/ 2147483647 h 33"/>
              <a:gd name="T20" fmla="*/ 2147483647 w 72"/>
              <a:gd name="T21" fmla="*/ 2147483647 h 3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72"/>
              <a:gd name="T34" fmla="*/ 0 h 33"/>
              <a:gd name="T35" fmla="*/ 72 w 72"/>
              <a:gd name="T36" fmla="*/ 33 h 33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72" h="33">
                <a:moveTo>
                  <a:pt x="71" y="8"/>
                </a:moveTo>
                <a:lnTo>
                  <a:pt x="55" y="0"/>
                </a:lnTo>
                <a:lnTo>
                  <a:pt x="40" y="8"/>
                </a:lnTo>
                <a:lnTo>
                  <a:pt x="31" y="0"/>
                </a:lnTo>
                <a:lnTo>
                  <a:pt x="23" y="0"/>
                </a:lnTo>
                <a:lnTo>
                  <a:pt x="0" y="16"/>
                </a:lnTo>
                <a:lnTo>
                  <a:pt x="0" y="32"/>
                </a:lnTo>
                <a:lnTo>
                  <a:pt x="15" y="32"/>
                </a:lnTo>
                <a:lnTo>
                  <a:pt x="46" y="16"/>
                </a:lnTo>
                <a:lnTo>
                  <a:pt x="64" y="23"/>
                </a:lnTo>
                <a:lnTo>
                  <a:pt x="71" y="8"/>
                </a:lnTo>
              </a:path>
            </a:pathLst>
          </a:custGeom>
          <a:solidFill>
            <a:srgbClr val="FF00FF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50" name="Freeform 59"/>
          <p:cNvSpPr>
            <a:spLocks/>
          </p:cNvSpPr>
          <p:nvPr>
            <p:custDataLst>
              <p:tags r:id="rId261"/>
            </p:custDataLst>
          </p:nvPr>
        </p:nvSpPr>
        <p:spPr bwMode="gray">
          <a:xfrm>
            <a:off x="4803775" y="4208463"/>
            <a:ext cx="382588" cy="153987"/>
          </a:xfrm>
          <a:custGeom>
            <a:avLst/>
            <a:gdLst>
              <a:gd name="T0" fmla="*/ 2147483647 w 245"/>
              <a:gd name="T1" fmla="*/ 2147483647 h 98"/>
              <a:gd name="T2" fmla="*/ 2147483647 w 245"/>
              <a:gd name="T3" fmla="*/ 2147483647 h 98"/>
              <a:gd name="T4" fmla="*/ 2147483647 w 245"/>
              <a:gd name="T5" fmla="*/ 2147483647 h 98"/>
              <a:gd name="T6" fmla="*/ 2147483647 w 245"/>
              <a:gd name="T7" fmla="*/ 2147483647 h 98"/>
              <a:gd name="T8" fmla="*/ 2147483647 w 245"/>
              <a:gd name="T9" fmla="*/ 2147483647 h 98"/>
              <a:gd name="T10" fmla="*/ 2147483647 w 245"/>
              <a:gd name="T11" fmla="*/ 2147483647 h 98"/>
              <a:gd name="T12" fmla="*/ 2147483647 w 245"/>
              <a:gd name="T13" fmla="*/ 0 h 98"/>
              <a:gd name="T14" fmla="*/ 2147483647 w 245"/>
              <a:gd name="T15" fmla="*/ 0 h 98"/>
              <a:gd name="T16" fmla="*/ 2147483647 w 245"/>
              <a:gd name="T17" fmla="*/ 2147483647 h 98"/>
              <a:gd name="T18" fmla="*/ 2147483647 w 245"/>
              <a:gd name="T19" fmla="*/ 2147483647 h 98"/>
              <a:gd name="T20" fmla="*/ 2147483647 w 245"/>
              <a:gd name="T21" fmla="*/ 2147483647 h 98"/>
              <a:gd name="T22" fmla="*/ 2147483647 w 245"/>
              <a:gd name="T23" fmla="*/ 0 h 98"/>
              <a:gd name="T24" fmla="*/ 2147483647 w 245"/>
              <a:gd name="T25" fmla="*/ 0 h 98"/>
              <a:gd name="T26" fmla="*/ 2147483647 w 245"/>
              <a:gd name="T27" fmla="*/ 2147483647 h 98"/>
              <a:gd name="T28" fmla="*/ 0 w 245"/>
              <a:gd name="T29" fmla="*/ 2147483647 h 98"/>
              <a:gd name="T30" fmla="*/ 2147483647 w 245"/>
              <a:gd name="T31" fmla="*/ 2147483647 h 98"/>
              <a:gd name="T32" fmla="*/ 2147483647 w 245"/>
              <a:gd name="T33" fmla="*/ 2147483647 h 98"/>
              <a:gd name="T34" fmla="*/ 2147483647 w 245"/>
              <a:gd name="T35" fmla="*/ 2147483647 h 98"/>
              <a:gd name="T36" fmla="*/ 2147483647 w 245"/>
              <a:gd name="T37" fmla="*/ 2147483647 h 98"/>
              <a:gd name="T38" fmla="*/ 2147483647 w 245"/>
              <a:gd name="T39" fmla="*/ 2147483647 h 98"/>
              <a:gd name="T40" fmla="*/ 2147483647 w 245"/>
              <a:gd name="T41" fmla="*/ 2147483647 h 98"/>
              <a:gd name="T42" fmla="*/ 2147483647 w 245"/>
              <a:gd name="T43" fmla="*/ 2147483647 h 98"/>
              <a:gd name="T44" fmla="*/ 2147483647 w 245"/>
              <a:gd name="T45" fmla="*/ 2147483647 h 98"/>
              <a:gd name="T46" fmla="*/ 2147483647 w 245"/>
              <a:gd name="T47" fmla="*/ 2147483647 h 98"/>
              <a:gd name="T48" fmla="*/ 2147483647 w 245"/>
              <a:gd name="T49" fmla="*/ 2147483647 h 98"/>
              <a:gd name="T50" fmla="*/ 2147483647 w 245"/>
              <a:gd name="T51" fmla="*/ 2147483647 h 98"/>
              <a:gd name="T52" fmla="*/ 2147483647 w 245"/>
              <a:gd name="T53" fmla="*/ 2147483647 h 98"/>
              <a:gd name="T54" fmla="*/ 2147483647 w 245"/>
              <a:gd name="T55" fmla="*/ 2147483647 h 98"/>
              <a:gd name="T56" fmla="*/ 2147483647 w 245"/>
              <a:gd name="T57" fmla="*/ 2147483647 h 98"/>
              <a:gd name="T58" fmla="*/ 2147483647 w 245"/>
              <a:gd name="T59" fmla="*/ 2147483647 h 98"/>
              <a:gd name="T60" fmla="*/ 2147483647 w 245"/>
              <a:gd name="T61" fmla="*/ 2147483647 h 98"/>
              <a:gd name="T62" fmla="*/ 2147483647 w 245"/>
              <a:gd name="T63" fmla="*/ 2147483647 h 98"/>
              <a:gd name="T64" fmla="*/ 2147483647 w 245"/>
              <a:gd name="T65" fmla="*/ 2147483647 h 98"/>
              <a:gd name="T66" fmla="*/ 2147483647 w 245"/>
              <a:gd name="T67" fmla="*/ 2147483647 h 98"/>
              <a:gd name="T68" fmla="*/ 2147483647 w 245"/>
              <a:gd name="T69" fmla="*/ 2147483647 h 98"/>
              <a:gd name="T70" fmla="*/ 2147483647 w 245"/>
              <a:gd name="T71" fmla="*/ 2147483647 h 98"/>
              <a:gd name="T72" fmla="*/ 2147483647 w 245"/>
              <a:gd name="T73" fmla="*/ 2147483647 h 98"/>
              <a:gd name="T74" fmla="*/ 2147483647 w 245"/>
              <a:gd name="T75" fmla="*/ 2147483647 h 98"/>
              <a:gd name="T76" fmla="*/ 2147483647 w 245"/>
              <a:gd name="T77" fmla="*/ 2147483647 h 98"/>
              <a:gd name="T78" fmla="*/ 2147483647 w 245"/>
              <a:gd name="T79" fmla="*/ 2147483647 h 98"/>
              <a:gd name="T80" fmla="*/ 2147483647 w 245"/>
              <a:gd name="T81" fmla="*/ 2147483647 h 98"/>
              <a:gd name="T82" fmla="*/ 2147483647 w 245"/>
              <a:gd name="T83" fmla="*/ 2147483647 h 98"/>
              <a:gd name="T84" fmla="*/ 2147483647 w 245"/>
              <a:gd name="T85" fmla="*/ 2147483647 h 98"/>
              <a:gd name="T86" fmla="*/ 2147483647 w 245"/>
              <a:gd name="T87" fmla="*/ 2147483647 h 98"/>
              <a:gd name="T88" fmla="*/ 2147483647 w 245"/>
              <a:gd name="T89" fmla="*/ 2147483647 h 98"/>
              <a:gd name="T90" fmla="*/ 2147483647 w 245"/>
              <a:gd name="T91" fmla="*/ 2147483647 h 98"/>
              <a:gd name="T92" fmla="*/ 2147483647 w 245"/>
              <a:gd name="T93" fmla="*/ 2147483647 h 98"/>
              <a:gd name="T94" fmla="*/ 2147483647 w 245"/>
              <a:gd name="T95" fmla="*/ 2147483647 h 98"/>
              <a:gd name="T96" fmla="*/ 2147483647 w 245"/>
              <a:gd name="T97" fmla="*/ 2147483647 h 98"/>
              <a:gd name="T98" fmla="*/ 2147483647 w 245"/>
              <a:gd name="T99" fmla="*/ 2147483647 h 98"/>
              <a:gd name="T100" fmla="*/ 2147483647 w 245"/>
              <a:gd name="T101" fmla="*/ 2147483647 h 98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245"/>
              <a:gd name="T154" fmla="*/ 0 h 98"/>
              <a:gd name="T155" fmla="*/ 245 w 245"/>
              <a:gd name="T156" fmla="*/ 98 h 98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245" h="98">
                <a:moveTo>
                  <a:pt x="244" y="32"/>
                </a:moveTo>
                <a:lnTo>
                  <a:pt x="236" y="32"/>
                </a:lnTo>
                <a:lnTo>
                  <a:pt x="227" y="8"/>
                </a:lnTo>
                <a:lnTo>
                  <a:pt x="204" y="8"/>
                </a:lnTo>
                <a:lnTo>
                  <a:pt x="179" y="16"/>
                </a:lnTo>
                <a:lnTo>
                  <a:pt x="145" y="16"/>
                </a:lnTo>
                <a:lnTo>
                  <a:pt x="122" y="0"/>
                </a:lnTo>
                <a:lnTo>
                  <a:pt x="98" y="0"/>
                </a:lnTo>
                <a:lnTo>
                  <a:pt x="74" y="16"/>
                </a:lnTo>
                <a:lnTo>
                  <a:pt x="58" y="16"/>
                </a:lnTo>
                <a:lnTo>
                  <a:pt x="40" y="16"/>
                </a:lnTo>
                <a:lnTo>
                  <a:pt x="33" y="0"/>
                </a:lnTo>
                <a:lnTo>
                  <a:pt x="17" y="0"/>
                </a:lnTo>
                <a:lnTo>
                  <a:pt x="8" y="8"/>
                </a:lnTo>
                <a:lnTo>
                  <a:pt x="0" y="25"/>
                </a:lnTo>
                <a:lnTo>
                  <a:pt x="8" y="25"/>
                </a:lnTo>
                <a:lnTo>
                  <a:pt x="8" y="32"/>
                </a:lnTo>
                <a:lnTo>
                  <a:pt x="25" y="16"/>
                </a:lnTo>
                <a:lnTo>
                  <a:pt x="40" y="16"/>
                </a:lnTo>
                <a:lnTo>
                  <a:pt x="49" y="25"/>
                </a:lnTo>
                <a:lnTo>
                  <a:pt x="40" y="25"/>
                </a:lnTo>
                <a:lnTo>
                  <a:pt x="40" y="32"/>
                </a:lnTo>
                <a:lnTo>
                  <a:pt x="17" y="32"/>
                </a:lnTo>
                <a:lnTo>
                  <a:pt x="8" y="41"/>
                </a:lnTo>
                <a:lnTo>
                  <a:pt x="8" y="48"/>
                </a:lnTo>
                <a:lnTo>
                  <a:pt x="17" y="41"/>
                </a:lnTo>
                <a:lnTo>
                  <a:pt x="17" y="48"/>
                </a:lnTo>
                <a:lnTo>
                  <a:pt x="8" y="57"/>
                </a:lnTo>
                <a:lnTo>
                  <a:pt x="8" y="65"/>
                </a:lnTo>
                <a:lnTo>
                  <a:pt x="17" y="73"/>
                </a:lnTo>
                <a:lnTo>
                  <a:pt x="25" y="81"/>
                </a:lnTo>
                <a:lnTo>
                  <a:pt x="33" y="81"/>
                </a:lnTo>
                <a:lnTo>
                  <a:pt x="33" y="90"/>
                </a:lnTo>
                <a:lnTo>
                  <a:pt x="49" y="97"/>
                </a:lnTo>
                <a:lnTo>
                  <a:pt x="65" y="90"/>
                </a:lnTo>
                <a:lnTo>
                  <a:pt x="74" y="90"/>
                </a:lnTo>
                <a:lnTo>
                  <a:pt x="90" y="97"/>
                </a:lnTo>
                <a:lnTo>
                  <a:pt x="98" y="97"/>
                </a:lnTo>
                <a:lnTo>
                  <a:pt x="114" y="90"/>
                </a:lnTo>
                <a:lnTo>
                  <a:pt x="130" y="90"/>
                </a:lnTo>
                <a:lnTo>
                  <a:pt x="130" y="97"/>
                </a:lnTo>
                <a:lnTo>
                  <a:pt x="139" y="97"/>
                </a:lnTo>
                <a:lnTo>
                  <a:pt x="139" y="90"/>
                </a:lnTo>
                <a:lnTo>
                  <a:pt x="164" y="81"/>
                </a:lnTo>
                <a:lnTo>
                  <a:pt x="170" y="90"/>
                </a:lnTo>
                <a:lnTo>
                  <a:pt x="195" y="81"/>
                </a:lnTo>
                <a:lnTo>
                  <a:pt x="219" y="81"/>
                </a:lnTo>
                <a:lnTo>
                  <a:pt x="219" y="73"/>
                </a:lnTo>
                <a:lnTo>
                  <a:pt x="244" y="81"/>
                </a:lnTo>
                <a:lnTo>
                  <a:pt x="236" y="41"/>
                </a:lnTo>
                <a:lnTo>
                  <a:pt x="244" y="32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51" name="Freeform 104"/>
          <p:cNvSpPr>
            <a:spLocks/>
          </p:cNvSpPr>
          <p:nvPr>
            <p:custDataLst>
              <p:tags r:id="rId262"/>
            </p:custDataLst>
          </p:nvPr>
        </p:nvSpPr>
        <p:spPr bwMode="gray">
          <a:xfrm>
            <a:off x="4727575" y="3903663"/>
            <a:ext cx="368300" cy="242887"/>
          </a:xfrm>
          <a:custGeom>
            <a:avLst/>
            <a:gdLst>
              <a:gd name="T0" fmla="*/ 2147483647 w 235"/>
              <a:gd name="T1" fmla="*/ 2147483647 h 155"/>
              <a:gd name="T2" fmla="*/ 2147483647 w 235"/>
              <a:gd name="T3" fmla="*/ 2147483647 h 155"/>
              <a:gd name="T4" fmla="*/ 2147483647 w 235"/>
              <a:gd name="T5" fmla="*/ 2147483647 h 155"/>
              <a:gd name="T6" fmla="*/ 2147483647 w 235"/>
              <a:gd name="T7" fmla="*/ 2147483647 h 155"/>
              <a:gd name="T8" fmla="*/ 2147483647 w 235"/>
              <a:gd name="T9" fmla="*/ 2147483647 h 155"/>
              <a:gd name="T10" fmla="*/ 2147483647 w 235"/>
              <a:gd name="T11" fmla="*/ 2147483647 h 155"/>
              <a:gd name="T12" fmla="*/ 2147483647 w 235"/>
              <a:gd name="T13" fmla="*/ 2147483647 h 155"/>
              <a:gd name="T14" fmla="*/ 2147483647 w 235"/>
              <a:gd name="T15" fmla="*/ 2147483647 h 155"/>
              <a:gd name="T16" fmla="*/ 2147483647 w 235"/>
              <a:gd name="T17" fmla="*/ 2147483647 h 155"/>
              <a:gd name="T18" fmla="*/ 2147483647 w 235"/>
              <a:gd name="T19" fmla="*/ 2147483647 h 155"/>
              <a:gd name="T20" fmla="*/ 2147483647 w 235"/>
              <a:gd name="T21" fmla="*/ 2147483647 h 155"/>
              <a:gd name="T22" fmla="*/ 2147483647 w 235"/>
              <a:gd name="T23" fmla="*/ 2147483647 h 155"/>
              <a:gd name="T24" fmla="*/ 2147483647 w 235"/>
              <a:gd name="T25" fmla="*/ 2147483647 h 155"/>
              <a:gd name="T26" fmla="*/ 0 w 235"/>
              <a:gd name="T27" fmla="*/ 2147483647 h 155"/>
              <a:gd name="T28" fmla="*/ 2147483647 w 235"/>
              <a:gd name="T29" fmla="*/ 2147483647 h 155"/>
              <a:gd name="T30" fmla="*/ 2147483647 w 235"/>
              <a:gd name="T31" fmla="*/ 2147483647 h 155"/>
              <a:gd name="T32" fmla="*/ 2147483647 w 235"/>
              <a:gd name="T33" fmla="*/ 2147483647 h 155"/>
              <a:gd name="T34" fmla="*/ 2147483647 w 235"/>
              <a:gd name="T35" fmla="*/ 2147483647 h 155"/>
              <a:gd name="T36" fmla="*/ 2147483647 w 235"/>
              <a:gd name="T37" fmla="*/ 2147483647 h 155"/>
              <a:gd name="T38" fmla="*/ 2147483647 w 235"/>
              <a:gd name="T39" fmla="*/ 2147483647 h 155"/>
              <a:gd name="T40" fmla="*/ 2147483647 w 235"/>
              <a:gd name="T41" fmla="*/ 2147483647 h 155"/>
              <a:gd name="T42" fmla="*/ 2147483647 w 235"/>
              <a:gd name="T43" fmla="*/ 2147483647 h 155"/>
              <a:gd name="T44" fmla="*/ 2147483647 w 235"/>
              <a:gd name="T45" fmla="*/ 2147483647 h 155"/>
              <a:gd name="T46" fmla="*/ 2147483647 w 235"/>
              <a:gd name="T47" fmla="*/ 2147483647 h 155"/>
              <a:gd name="T48" fmla="*/ 2147483647 w 235"/>
              <a:gd name="T49" fmla="*/ 2147483647 h 155"/>
              <a:gd name="T50" fmla="*/ 2147483647 w 235"/>
              <a:gd name="T51" fmla="*/ 0 h 155"/>
              <a:gd name="T52" fmla="*/ 2147483647 w 235"/>
              <a:gd name="T53" fmla="*/ 0 h 155"/>
              <a:gd name="T54" fmla="*/ 2147483647 w 235"/>
              <a:gd name="T55" fmla="*/ 0 h 155"/>
              <a:gd name="T56" fmla="*/ 2147483647 w 235"/>
              <a:gd name="T57" fmla="*/ 2147483647 h 155"/>
              <a:gd name="T58" fmla="*/ 2147483647 w 235"/>
              <a:gd name="T59" fmla="*/ 2147483647 h 155"/>
              <a:gd name="T60" fmla="*/ 2147483647 w 235"/>
              <a:gd name="T61" fmla="*/ 2147483647 h 155"/>
              <a:gd name="T62" fmla="*/ 2147483647 w 235"/>
              <a:gd name="T63" fmla="*/ 2147483647 h 155"/>
              <a:gd name="T64" fmla="*/ 2147483647 w 235"/>
              <a:gd name="T65" fmla="*/ 2147483647 h 155"/>
              <a:gd name="T66" fmla="*/ 2147483647 w 235"/>
              <a:gd name="T67" fmla="*/ 2147483647 h 155"/>
              <a:gd name="T68" fmla="*/ 2147483647 w 235"/>
              <a:gd name="T69" fmla="*/ 2147483647 h 155"/>
              <a:gd name="T70" fmla="*/ 2147483647 w 235"/>
              <a:gd name="T71" fmla="*/ 2147483647 h 155"/>
              <a:gd name="T72" fmla="*/ 2147483647 w 235"/>
              <a:gd name="T73" fmla="*/ 2147483647 h 155"/>
              <a:gd name="T74" fmla="*/ 2147483647 w 235"/>
              <a:gd name="T75" fmla="*/ 2147483647 h 155"/>
              <a:gd name="T76" fmla="*/ 2147483647 w 235"/>
              <a:gd name="T77" fmla="*/ 2147483647 h 155"/>
              <a:gd name="T78" fmla="*/ 2147483647 w 235"/>
              <a:gd name="T79" fmla="*/ 2147483647 h 155"/>
              <a:gd name="T80" fmla="*/ 2147483647 w 235"/>
              <a:gd name="T81" fmla="*/ 2147483647 h 155"/>
              <a:gd name="T82" fmla="*/ 2147483647 w 235"/>
              <a:gd name="T83" fmla="*/ 2147483647 h 155"/>
              <a:gd name="T84" fmla="*/ 2147483647 w 235"/>
              <a:gd name="T85" fmla="*/ 2147483647 h 155"/>
              <a:gd name="T86" fmla="*/ 2147483647 w 235"/>
              <a:gd name="T87" fmla="*/ 2147483647 h 155"/>
              <a:gd name="T88" fmla="*/ 2147483647 w 235"/>
              <a:gd name="T89" fmla="*/ 2147483647 h 155"/>
              <a:gd name="T90" fmla="*/ 2147483647 w 235"/>
              <a:gd name="T91" fmla="*/ 2147483647 h 155"/>
              <a:gd name="T92" fmla="*/ 2147483647 w 235"/>
              <a:gd name="T93" fmla="*/ 2147483647 h 155"/>
              <a:gd name="T94" fmla="*/ 2147483647 w 235"/>
              <a:gd name="T95" fmla="*/ 2147483647 h 155"/>
              <a:gd name="T96" fmla="*/ 2147483647 w 235"/>
              <a:gd name="T97" fmla="*/ 2147483647 h 155"/>
              <a:gd name="T98" fmla="*/ 2147483647 w 235"/>
              <a:gd name="T99" fmla="*/ 2147483647 h 155"/>
              <a:gd name="T100" fmla="*/ 2147483647 w 235"/>
              <a:gd name="T101" fmla="*/ 2147483647 h 155"/>
              <a:gd name="T102" fmla="*/ 2147483647 w 235"/>
              <a:gd name="T103" fmla="*/ 2147483647 h 155"/>
              <a:gd name="T104" fmla="*/ 2147483647 w 235"/>
              <a:gd name="T105" fmla="*/ 2147483647 h 155"/>
              <a:gd name="T106" fmla="*/ 2147483647 w 235"/>
              <a:gd name="T107" fmla="*/ 2147483647 h 155"/>
              <a:gd name="T108" fmla="*/ 2147483647 w 235"/>
              <a:gd name="T109" fmla="*/ 2147483647 h 155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235"/>
              <a:gd name="T166" fmla="*/ 0 h 155"/>
              <a:gd name="T167" fmla="*/ 235 w 235"/>
              <a:gd name="T168" fmla="*/ 155 h 155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235" h="155">
                <a:moveTo>
                  <a:pt x="97" y="139"/>
                </a:moveTo>
                <a:lnTo>
                  <a:pt x="81" y="139"/>
                </a:lnTo>
                <a:lnTo>
                  <a:pt x="81" y="130"/>
                </a:lnTo>
                <a:lnTo>
                  <a:pt x="88" y="114"/>
                </a:lnTo>
                <a:lnTo>
                  <a:pt x="106" y="114"/>
                </a:lnTo>
                <a:lnTo>
                  <a:pt x="106" y="106"/>
                </a:lnTo>
                <a:lnTo>
                  <a:pt x="97" y="90"/>
                </a:lnTo>
                <a:lnTo>
                  <a:pt x="97" y="81"/>
                </a:lnTo>
                <a:lnTo>
                  <a:pt x="73" y="74"/>
                </a:lnTo>
                <a:lnTo>
                  <a:pt x="56" y="81"/>
                </a:lnTo>
                <a:lnTo>
                  <a:pt x="41" y="90"/>
                </a:lnTo>
                <a:lnTo>
                  <a:pt x="31" y="90"/>
                </a:lnTo>
                <a:lnTo>
                  <a:pt x="7" y="90"/>
                </a:lnTo>
                <a:lnTo>
                  <a:pt x="0" y="81"/>
                </a:lnTo>
                <a:lnTo>
                  <a:pt x="7" y="66"/>
                </a:lnTo>
                <a:lnTo>
                  <a:pt x="16" y="49"/>
                </a:lnTo>
                <a:lnTo>
                  <a:pt x="23" y="41"/>
                </a:lnTo>
                <a:lnTo>
                  <a:pt x="16" y="18"/>
                </a:lnTo>
                <a:lnTo>
                  <a:pt x="31" y="9"/>
                </a:lnTo>
                <a:lnTo>
                  <a:pt x="48" y="9"/>
                </a:lnTo>
                <a:lnTo>
                  <a:pt x="73" y="18"/>
                </a:lnTo>
                <a:lnTo>
                  <a:pt x="81" y="18"/>
                </a:lnTo>
                <a:lnTo>
                  <a:pt x="88" y="18"/>
                </a:lnTo>
                <a:lnTo>
                  <a:pt x="97" y="18"/>
                </a:lnTo>
                <a:lnTo>
                  <a:pt x="113" y="18"/>
                </a:lnTo>
                <a:lnTo>
                  <a:pt x="122" y="0"/>
                </a:lnTo>
                <a:lnTo>
                  <a:pt x="128" y="0"/>
                </a:lnTo>
                <a:lnTo>
                  <a:pt x="153" y="0"/>
                </a:lnTo>
                <a:lnTo>
                  <a:pt x="162" y="9"/>
                </a:lnTo>
                <a:lnTo>
                  <a:pt x="153" y="9"/>
                </a:lnTo>
                <a:lnTo>
                  <a:pt x="162" y="18"/>
                </a:lnTo>
                <a:lnTo>
                  <a:pt x="170" y="18"/>
                </a:lnTo>
                <a:lnTo>
                  <a:pt x="178" y="33"/>
                </a:lnTo>
                <a:lnTo>
                  <a:pt x="187" y="41"/>
                </a:lnTo>
                <a:lnTo>
                  <a:pt x="193" y="33"/>
                </a:lnTo>
                <a:lnTo>
                  <a:pt x="235" y="58"/>
                </a:lnTo>
                <a:lnTo>
                  <a:pt x="227" y="90"/>
                </a:lnTo>
                <a:lnTo>
                  <a:pt x="218" y="81"/>
                </a:lnTo>
                <a:lnTo>
                  <a:pt x="212" y="90"/>
                </a:lnTo>
                <a:lnTo>
                  <a:pt x="212" y="106"/>
                </a:lnTo>
                <a:lnTo>
                  <a:pt x="203" y="106"/>
                </a:lnTo>
                <a:lnTo>
                  <a:pt x="162" y="130"/>
                </a:lnTo>
                <a:lnTo>
                  <a:pt x="178" y="139"/>
                </a:lnTo>
                <a:lnTo>
                  <a:pt x="153" y="155"/>
                </a:lnTo>
                <a:lnTo>
                  <a:pt x="146" y="155"/>
                </a:lnTo>
                <a:lnTo>
                  <a:pt x="146" y="146"/>
                </a:lnTo>
                <a:lnTo>
                  <a:pt x="138" y="139"/>
                </a:lnTo>
                <a:lnTo>
                  <a:pt x="153" y="130"/>
                </a:lnTo>
                <a:lnTo>
                  <a:pt x="128" y="121"/>
                </a:lnTo>
                <a:lnTo>
                  <a:pt x="128" y="114"/>
                </a:lnTo>
                <a:lnTo>
                  <a:pt x="113" y="114"/>
                </a:lnTo>
                <a:lnTo>
                  <a:pt x="106" y="130"/>
                </a:lnTo>
                <a:lnTo>
                  <a:pt x="97" y="130"/>
                </a:lnTo>
                <a:lnTo>
                  <a:pt x="97" y="139"/>
                </a:lnTo>
              </a:path>
            </a:pathLst>
          </a:custGeom>
          <a:solidFill>
            <a:srgbClr val="33CCFF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52" name="Freeform 109"/>
          <p:cNvSpPr>
            <a:spLocks/>
          </p:cNvSpPr>
          <p:nvPr>
            <p:custDataLst>
              <p:tags r:id="rId263"/>
            </p:custDataLst>
          </p:nvPr>
        </p:nvSpPr>
        <p:spPr bwMode="gray">
          <a:xfrm>
            <a:off x="5084763" y="4171950"/>
            <a:ext cx="139700" cy="50800"/>
          </a:xfrm>
          <a:custGeom>
            <a:avLst/>
            <a:gdLst>
              <a:gd name="T0" fmla="*/ 2147483647 w 89"/>
              <a:gd name="T1" fmla="*/ 2147483647 h 33"/>
              <a:gd name="T2" fmla="*/ 2147483647 w 89"/>
              <a:gd name="T3" fmla="*/ 2147483647 h 33"/>
              <a:gd name="T4" fmla="*/ 2147483647 w 89"/>
              <a:gd name="T5" fmla="*/ 2147483647 h 33"/>
              <a:gd name="T6" fmla="*/ 0 w 89"/>
              <a:gd name="T7" fmla="*/ 0 h 33"/>
              <a:gd name="T8" fmla="*/ 2147483647 w 89"/>
              <a:gd name="T9" fmla="*/ 0 h 33"/>
              <a:gd name="T10" fmla="*/ 2147483647 w 89"/>
              <a:gd name="T11" fmla="*/ 2147483647 h 33"/>
              <a:gd name="T12" fmla="*/ 2147483647 w 89"/>
              <a:gd name="T13" fmla="*/ 2147483647 h 33"/>
              <a:gd name="T14" fmla="*/ 2147483647 w 89"/>
              <a:gd name="T15" fmla="*/ 2147483647 h 33"/>
              <a:gd name="T16" fmla="*/ 2147483647 w 89"/>
              <a:gd name="T17" fmla="*/ 2147483647 h 33"/>
              <a:gd name="T18" fmla="*/ 2147483647 w 89"/>
              <a:gd name="T19" fmla="*/ 2147483647 h 33"/>
              <a:gd name="T20" fmla="*/ 2147483647 w 89"/>
              <a:gd name="T21" fmla="*/ 2147483647 h 33"/>
              <a:gd name="T22" fmla="*/ 2147483647 w 89"/>
              <a:gd name="T23" fmla="*/ 2147483647 h 33"/>
              <a:gd name="T24" fmla="*/ 2147483647 w 89"/>
              <a:gd name="T25" fmla="*/ 2147483647 h 33"/>
              <a:gd name="T26" fmla="*/ 2147483647 w 89"/>
              <a:gd name="T27" fmla="*/ 2147483647 h 33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89"/>
              <a:gd name="T43" fmla="*/ 0 h 33"/>
              <a:gd name="T44" fmla="*/ 89 w 89"/>
              <a:gd name="T45" fmla="*/ 33 h 33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89" h="33">
                <a:moveTo>
                  <a:pt x="25" y="32"/>
                </a:moveTo>
                <a:lnTo>
                  <a:pt x="25" y="24"/>
                </a:lnTo>
                <a:lnTo>
                  <a:pt x="25" y="15"/>
                </a:lnTo>
                <a:lnTo>
                  <a:pt x="0" y="0"/>
                </a:lnTo>
                <a:lnTo>
                  <a:pt x="40" y="0"/>
                </a:lnTo>
                <a:lnTo>
                  <a:pt x="57" y="9"/>
                </a:lnTo>
                <a:lnTo>
                  <a:pt x="72" y="9"/>
                </a:lnTo>
                <a:lnTo>
                  <a:pt x="88" y="24"/>
                </a:lnTo>
                <a:lnTo>
                  <a:pt x="81" y="24"/>
                </a:lnTo>
                <a:lnTo>
                  <a:pt x="88" y="32"/>
                </a:lnTo>
                <a:lnTo>
                  <a:pt x="72" y="32"/>
                </a:lnTo>
                <a:lnTo>
                  <a:pt x="65" y="32"/>
                </a:lnTo>
                <a:lnTo>
                  <a:pt x="48" y="32"/>
                </a:lnTo>
                <a:lnTo>
                  <a:pt x="25" y="32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53" name="Freeform 110"/>
          <p:cNvSpPr>
            <a:spLocks/>
          </p:cNvSpPr>
          <p:nvPr>
            <p:custDataLst>
              <p:tags r:id="rId264"/>
            </p:custDataLst>
          </p:nvPr>
        </p:nvSpPr>
        <p:spPr bwMode="gray">
          <a:xfrm>
            <a:off x="5159375" y="4221163"/>
            <a:ext cx="65088" cy="63500"/>
          </a:xfrm>
          <a:custGeom>
            <a:avLst/>
            <a:gdLst>
              <a:gd name="T0" fmla="*/ 2147483647 w 41"/>
              <a:gd name="T1" fmla="*/ 2147483647 h 41"/>
              <a:gd name="T2" fmla="*/ 2147483647 w 41"/>
              <a:gd name="T3" fmla="*/ 2147483647 h 41"/>
              <a:gd name="T4" fmla="*/ 2147483647 w 41"/>
              <a:gd name="T5" fmla="*/ 2147483647 h 41"/>
              <a:gd name="T6" fmla="*/ 2147483647 w 41"/>
              <a:gd name="T7" fmla="*/ 2147483647 h 41"/>
              <a:gd name="T8" fmla="*/ 2147483647 w 41"/>
              <a:gd name="T9" fmla="*/ 0 h 41"/>
              <a:gd name="T10" fmla="*/ 0 w 41"/>
              <a:gd name="T11" fmla="*/ 0 h 41"/>
              <a:gd name="T12" fmla="*/ 2147483647 w 41"/>
              <a:gd name="T13" fmla="*/ 2147483647 h 41"/>
              <a:gd name="T14" fmla="*/ 2147483647 w 41"/>
              <a:gd name="T15" fmla="*/ 2147483647 h 41"/>
              <a:gd name="T16" fmla="*/ 2147483647 w 41"/>
              <a:gd name="T17" fmla="*/ 2147483647 h 41"/>
              <a:gd name="T18" fmla="*/ 2147483647 w 41"/>
              <a:gd name="T19" fmla="*/ 2147483647 h 41"/>
              <a:gd name="T20" fmla="*/ 2147483647 w 41"/>
              <a:gd name="T21" fmla="*/ 2147483647 h 4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41"/>
              <a:gd name="T34" fmla="*/ 0 h 41"/>
              <a:gd name="T35" fmla="*/ 41 w 41"/>
              <a:gd name="T36" fmla="*/ 41 h 4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41" h="41">
                <a:moveTo>
                  <a:pt x="40" y="40"/>
                </a:moveTo>
                <a:lnTo>
                  <a:pt x="40" y="33"/>
                </a:lnTo>
                <a:lnTo>
                  <a:pt x="33" y="24"/>
                </a:lnTo>
                <a:lnTo>
                  <a:pt x="33" y="17"/>
                </a:lnTo>
                <a:lnTo>
                  <a:pt x="17" y="0"/>
                </a:lnTo>
                <a:lnTo>
                  <a:pt x="0" y="0"/>
                </a:lnTo>
                <a:lnTo>
                  <a:pt x="9" y="24"/>
                </a:lnTo>
                <a:lnTo>
                  <a:pt x="17" y="24"/>
                </a:lnTo>
                <a:lnTo>
                  <a:pt x="33" y="33"/>
                </a:lnTo>
                <a:lnTo>
                  <a:pt x="33" y="40"/>
                </a:lnTo>
                <a:lnTo>
                  <a:pt x="40" y="40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54" name="Freeform 111"/>
          <p:cNvSpPr>
            <a:spLocks/>
          </p:cNvSpPr>
          <p:nvPr>
            <p:custDataLst>
              <p:tags r:id="rId265"/>
            </p:custDataLst>
          </p:nvPr>
        </p:nvSpPr>
        <p:spPr bwMode="gray">
          <a:xfrm>
            <a:off x="5186363" y="4259263"/>
            <a:ext cx="26987" cy="25400"/>
          </a:xfrm>
          <a:custGeom>
            <a:avLst/>
            <a:gdLst>
              <a:gd name="T0" fmla="*/ 2147483647 w 17"/>
              <a:gd name="T1" fmla="*/ 2147483647 h 17"/>
              <a:gd name="T2" fmla="*/ 2147483647 w 17"/>
              <a:gd name="T3" fmla="*/ 2147483647 h 17"/>
              <a:gd name="T4" fmla="*/ 0 w 17"/>
              <a:gd name="T5" fmla="*/ 0 h 17"/>
              <a:gd name="T6" fmla="*/ 2147483647 w 17"/>
              <a:gd name="T7" fmla="*/ 2147483647 h 17"/>
              <a:gd name="T8" fmla="*/ 2147483647 w 17"/>
              <a:gd name="T9" fmla="*/ 2147483647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17"/>
              <a:gd name="T17" fmla="*/ 17 w 17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17">
                <a:moveTo>
                  <a:pt x="16" y="16"/>
                </a:moveTo>
                <a:lnTo>
                  <a:pt x="7" y="16"/>
                </a:lnTo>
                <a:lnTo>
                  <a:pt x="0" y="0"/>
                </a:lnTo>
                <a:lnTo>
                  <a:pt x="16" y="9"/>
                </a:lnTo>
                <a:lnTo>
                  <a:pt x="16" y="16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55" name="Freeform 112"/>
          <p:cNvSpPr>
            <a:spLocks/>
          </p:cNvSpPr>
          <p:nvPr>
            <p:custDataLst>
              <p:tags r:id="rId266"/>
            </p:custDataLst>
          </p:nvPr>
        </p:nvSpPr>
        <p:spPr bwMode="gray">
          <a:xfrm>
            <a:off x="5186363" y="4208463"/>
            <a:ext cx="114300" cy="92075"/>
          </a:xfrm>
          <a:custGeom>
            <a:avLst/>
            <a:gdLst>
              <a:gd name="T0" fmla="*/ 2147483647 w 73"/>
              <a:gd name="T1" fmla="*/ 2147483647 h 58"/>
              <a:gd name="T2" fmla="*/ 2147483647 w 73"/>
              <a:gd name="T3" fmla="*/ 2147483647 h 58"/>
              <a:gd name="T4" fmla="*/ 2147483647 w 73"/>
              <a:gd name="T5" fmla="*/ 2147483647 h 58"/>
              <a:gd name="T6" fmla="*/ 2147483647 w 73"/>
              <a:gd name="T7" fmla="*/ 2147483647 h 58"/>
              <a:gd name="T8" fmla="*/ 2147483647 w 73"/>
              <a:gd name="T9" fmla="*/ 2147483647 h 58"/>
              <a:gd name="T10" fmla="*/ 2147483647 w 73"/>
              <a:gd name="T11" fmla="*/ 2147483647 h 58"/>
              <a:gd name="T12" fmla="*/ 2147483647 w 73"/>
              <a:gd name="T13" fmla="*/ 2147483647 h 58"/>
              <a:gd name="T14" fmla="*/ 2147483647 w 73"/>
              <a:gd name="T15" fmla="*/ 2147483647 h 58"/>
              <a:gd name="T16" fmla="*/ 2147483647 w 73"/>
              <a:gd name="T17" fmla="*/ 2147483647 h 58"/>
              <a:gd name="T18" fmla="*/ 2147483647 w 73"/>
              <a:gd name="T19" fmla="*/ 2147483647 h 58"/>
              <a:gd name="T20" fmla="*/ 2147483647 w 73"/>
              <a:gd name="T21" fmla="*/ 0 h 58"/>
              <a:gd name="T22" fmla="*/ 2147483647 w 73"/>
              <a:gd name="T23" fmla="*/ 2147483647 h 58"/>
              <a:gd name="T24" fmla="*/ 2147483647 w 73"/>
              <a:gd name="T25" fmla="*/ 2147483647 h 58"/>
              <a:gd name="T26" fmla="*/ 2147483647 w 73"/>
              <a:gd name="T27" fmla="*/ 0 h 58"/>
              <a:gd name="T28" fmla="*/ 2147483647 w 73"/>
              <a:gd name="T29" fmla="*/ 0 h 58"/>
              <a:gd name="T30" fmla="*/ 2147483647 w 73"/>
              <a:gd name="T31" fmla="*/ 2147483647 h 58"/>
              <a:gd name="T32" fmla="*/ 2147483647 w 73"/>
              <a:gd name="T33" fmla="*/ 2147483647 h 58"/>
              <a:gd name="T34" fmla="*/ 0 w 73"/>
              <a:gd name="T35" fmla="*/ 2147483647 h 58"/>
              <a:gd name="T36" fmla="*/ 2147483647 w 73"/>
              <a:gd name="T37" fmla="*/ 2147483647 h 58"/>
              <a:gd name="T38" fmla="*/ 2147483647 w 73"/>
              <a:gd name="T39" fmla="*/ 2147483647 h 58"/>
              <a:gd name="T40" fmla="*/ 2147483647 w 73"/>
              <a:gd name="T41" fmla="*/ 2147483647 h 58"/>
              <a:gd name="T42" fmla="*/ 2147483647 w 73"/>
              <a:gd name="T43" fmla="*/ 2147483647 h 58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73"/>
              <a:gd name="T67" fmla="*/ 0 h 58"/>
              <a:gd name="T68" fmla="*/ 73 w 73"/>
              <a:gd name="T69" fmla="*/ 58 h 58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73" h="58">
                <a:moveTo>
                  <a:pt x="23" y="48"/>
                </a:moveTo>
                <a:lnTo>
                  <a:pt x="40" y="41"/>
                </a:lnTo>
                <a:lnTo>
                  <a:pt x="48" y="41"/>
                </a:lnTo>
                <a:lnTo>
                  <a:pt x="40" y="48"/>
                </a:lnTo>
                <a:lnTo>
                  <a:pt x="57" y="57"/>
                </a:lnTo>
                <a:lnTo>
                  <a:pt x="48" y="48"/>
                </a:lnTo>
                <a:lnTo>
                  <a:pt x="57" y="48"/>
                </a:lnTo>
                <a:lnTo>
                  <a:pt x="57" y="32"/>
                </a:lnTo>
                <a:lnTo>
                  <a:pt x="72" y="25"/>
                </a:lnTo>
                <a:lnTo>
                  <a:pt x="57" y="16"/>
                </a:lnTo>
                <a:lnTo>
                  <a:pt x="48" y="0"/>
                </a:lnTo>
                <a:lnTo>
                  <a:pt x="40" y="8"/>
                </a:lnTo>
                <a:lnTo>
                  <a:pt x="32" y="8"/>
                </a:lnTo>
                <a:lnTo>
                  <a:pt x="23" y="0"/>
                </a:lnTo>
                <a:lnTo>
                  <a:pt x="16" y="0"/>
                </a:lnTo>
                <a:lnTo>
                  <a:pt x="23" y="8"/>
                </a:lnTo>
                <a:lnTo>
                  <a:pt x="7" y="8"/>
                </a:lnTo>
                <a:lnTo>
                  <a:pt x="0" y="8"/>
                </a:lnTo>
                <a:lnTo>
                  <a:pt x="16" y="25"/>
                </a:lnTo>
                <a:lnTo>
                  <a:pt x="16" y="32"/>
                </a:lnTo>
                <a:lnTo>
                  <a:pt x="23" y="41"/>
                </a:lnTo>
                <a:lnTo>
                  <a:pt x="23" y="48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56" name="Freeform 118"/>
          <p:cNvSpPr>
            <a:spLocks/>
          </p:cNvSpPr>
          <p:nvPr>
            <p:custDataLst>
              <p:tags r:id="rId267"/>
            </p:custDataLst>
          </p:nvPr>
        </p:nvSpPr>
        <p:spPr bwMode="gray">
          <a:xfrm>
            <a:off x="4341813" y="3940175"/>
            <a:ext cx="68262" cy="55563"/>
          </a:xfrm>
          <a:custGeom>
            <a:avLst/>
            <a:gdLst>
              <a:gd name="T0" fmla="*/ 2147483647 w 43"/>
              <a:gd name="T1" fmla="*/ 2147483647 h 35"/>
              <a:gd name="T2" fmla="*/ 2147483647 w 43"/>
              <a:gd name="T3" fmla="*/ 2147483647 h 35"/>
              <a:gd name="T4" fmla="*/ 2147483647 w 43"/>
              <a:gd name="T5" fmla="*/ 2147483647 h 35"/>
              <a:gd name="T6" fmla="*/ 2147483647 w 43"/>
              <a:gd name="T7" fmla="*/ 2147483647 h 35"/>
              <a:gd name="T8" fmla="*/ 2147483647 w 43"/>
              <a:gd name="T9" fmla="*/ 2147483647 h 35"/>
              <a:gd name="T10" fmla="*/ 0 w 43"/>
              <a:gd name="T11" fmla="*/ 2147483647 h 35"/>
              <a:gd name="T12" fmla="*/ 0 w 43"/>
              <a:gd name="T13" fmla="*/ 0 h 35"/>
              <a:gd name="T14" fmla="*/ 2147483647 w 43"/>
              <a:gd name="T15" fmla="*/ 0 h 35"/>
              <a:gd name="T16" fmla="*/ 2147483647 w 43"/>
              <a:gd name="T17" fmla="*/ 0 h 35"/>
              <a:gd name="T18" fmla="*/ 2147483647 w 43"/>
              <a:gd name="T19" fmla="*/ 2147483647 h 35"/>
              <a:gd name="T20" fmla="*/ 2147483647 w 43"/>
              <a:gd name="T21" fmla="*/ 2147483647 h 35"/>
              <a:gd name="T22" fmla="*/ 2147483647 w 43"/>
              <a:gd name="T23" fmla="*/ 2147483647 h 35"/>
              <a:gd name="T24" fmla="*/ 2147483647 w 43"/>
              <a:gd name="T25" fmla="*/ 2147483647 h 3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43"/>
              <a:gd name="T40" fmla="*/ 0 h 35"/>
              <a:gd name="T41" fmla="*/ 43 w 43"/>
              <a:gd name="T42" fmla="*/ 35 h 35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43" h="35">
                <a:moveTo>
                  <a:pt x="34" y="34"/>
                </a:moveTo>
                <a:lnTo>
                  <a:pt x="25" y="34"/>
                </a:lnTo>
                <a:lnTo>
                  <a:pt x="25" y="25"/>
                </a:lnTo>
                <a:lnTo>
                  <a:pt x="18" y="25"/>
                </a:lnTo>
                <a:lnTo>
                  <a:pt x="18" y="17"/>
                </a:lnTo>
                <a:lnTo>
                  <a:pt x="0" y="9"/>
                </a:lnTo>
                <a:lnTo>
                  <a:pt x="0" y="0"/>
                </a:lnTo>
                <a:lnTo>
                  <a:pt x="9" y="0"/>
                </a:lnTo>
                <a:lnTo>
                  <a:pt x="34" y="0"/>
                </a:lnTo>
                <a:lnTo>
                  <a:pt x="42" y="9"/>
                </a:lnTo>
                <a:lnTo>
                  <a:pt x="42" y="25"/>
                </a:lnTo>
                <a:lnTo>
                  <a:pt x="34" y="25"/>
                </a:lnTo>
                <a:lnTo>
                  <a:pt x="34" y="34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57" name="Freeform 119"/>
          <p:cNvSpPr>
            <a:spLocks/>
          </p:cNvSpPr>
          <p:nvPr>
            <p:custDataLst>
              <p:tags r:id="rId268"/>
            </p:custDataLst>
          </p:nvPr>
        </p:nvSpPr>
        <p:spPr bwMode="gray">
          <a:xfrm>
            <a:off x="4395788" y="3978275"/>
            <a:ext cx="26987" cy="26988"/>
          </a:xfrm>
          <a:custGeom>
            <a:avLst/>
            <a:gdLst>
              <a:gd name="T0" fmla="*/ 0 w 17"/>
              <a:gd name="T1" fmla="*/ 2147483647 h 17"/>
              <a:gd name="T2" fmla="*/ 0 w 17"/>
              <a:gd name="T3" fmla="*/ 0 h 17"/>
              <a:gd name="T4" fmla="*/ 2147483647 w 17"/>
              <a:gd name="T5" fmla="*/ 0 h 17"/>
              <a:gd name="T6" fmla="*/ 2147483647 w 17"/>
              <a:gd name="T7" fmla="*/ 2147483647 h 17"/>
              <a:gd name="T8" fmla="*/ 0 w 17"/>
              <a:gd name="T9" fmla="*/ 2147483647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17"/>
              <a:gd name="T17" fmla="*/ 17 w 17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17">
                <a:moveTo>
                  <a:pt x="0" y="16"/>
                </a:moveTo>
                <a:lnTo>
                  <a:pt x="0" y="0"/>
                </a:lnTo>
                <a:lnTo>
                  <a:pt x="16" y="0"/>
                </a:lnTo>
                <a:lnTo>
                  <a:pt x="16" y="16"/>
                </a:lnTo>
                <a:lnTo>
                  <a:pt x="0" y="16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58" name="Freeform 120"/>
          <p:cNvSpPr>
            <a:spLocks/>
          </p:cNvSpPr>
          <p:nvPr>
            <p:custDataLst>
              <p:tags r:id="rId269"/>
            </p:custDataLst>
          </p:nvPr>
        </p:nvSpPr>
        <p:spPr bwMode="gray">
          <a:xfrm>
            <a:off x="4395788" y="3978275"/>
            <a:ext cx="26987" cy="26988"/>
          </a:xfrm>
          <a:custGeom>
            <a:avLst/>
            <a:gdLst>
              <a:gd name="T0" fmla="*/ 0 w 17"/>
              <a:gd name="T1" fmla="*/ 2147483647 h 17"/>
              <a:gd name="T2" fmla="*/ 0 w 17"/>
              <a:gd name="T3" fmla="*/ 0 h 17"/>
              <a:gd name="T4" fmla="*/ 2147483647 w 17"/>
              <a:gd name="T5" fmla="*/ 0 h 17"/>
              <a:gd name="T6" fmla="*/ 2147483647 w 17"/>
              <a:gd name="T7" fmla="*/ 2147483647 h 17"/>
              <a:gd name="T8" fmla="*/ 0 w 17"/>
              <a:gd name="T9" fmla="*/ 2147483647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17"/>
              <a:gd name="T17" fmla="*/ 17 w 17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17">
                <a:moveTo>
                  <a:pt x="0" y="16"/>
                </a:moveTo>
                <a:lnTo>
                  <a:pt x="0" y="0"/>
                </a:lnTo>
                <a:lnTo>
                  <a:pt x="16" y="0"/>
                </a:lnTo>
                <a:lnTo>
                  <a:pt x="16" y="16"/>
                </a:lnTo>
                <a:lnTo>
                  <a:pt x="0" y="16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59" name="Freeform 123"/>
          <p:cNvSpPr>
            <a:spLocks/>
          </p:cNvSpPr>
          <p:nvPr>
            <p:custDataLst>
              <p:tags r:id="rId270"/>
            </p:custDataLst>
          </p:nvPr>
        </p:nvSpPr>
        <p:spPr bwMode="gray">
          <a:xfrm>
            <a:off x="4475163" y="4005263"/>
            <a:ext cx="153987" cy="77787"/>
          </a:xfrm>
          <a:custGeom>
            <a:avLst/>
            <a:gdLst>
              <a:gd name="T0" fmla="*/ 0 w 98"/>
              <a:gd name="T1" fmla="*/ 2147483647 h 49"/>
              <a:gd name="T2" fmla="*/ 2147483647 w 98"/>
              <a:gd name="T3" fmla="*/ 2147483647 h 49"/>
              <a:gd name="T4" fmla="*/ 2147483647 w 98"/>
              <a:gd name="T5" fmla="*/ 2147483647 h 49"/>
              <a:gd name="T6" fmla="*/ 2147483647 w 98"/>
              <a:gd name="T7" fmla="*/ 2147483647 h 49"/>
              <a:gd name="T8" fmla="*/ 2147483647 w 98"/>
              <a:gd name="T9" fmla="*/ 2147483647 h 49"/>
              <a:gd name="T10" fmla="*/ 2147483647 w 98"/>
              <a:gd name="T11" fmla="*/ 2147483647 h 49"/>
              <a:gd name="T12" fmla="*/ 2147483647 w 98"/>
              <a:gd name="T13" fmla="*/ 0 h 49"/>
              <a:gd name="T14" fmla="*/ 2147483647 w 98"/>
              <a:gd name="T15" fmla="*/ 2147483647 h 49"/>
              <a:gd name="T16" fmla="*/ 2147483647 w 98"/>
              <a:gd name="T17" fmla="*/ 2147483647 h 49"/>
              <a:gd name="T18" fmla="*/ 2147483647 w 98"/>
              <a:gd name="T19" fmla="*/ 2147483647 h 49"/>
              <a:gd name="T20" fmla="*/ 2147483647 w 98"/>
              <a:gd name="T21" fmla="*/ 2147483647 h 49"/>
              <a:gd name="T22" fmla="*/ 2147483647 w 98"/>
              <a:gd name="T23" fmla="*/ 2147483647 h 49"/>
              <a:gd name="T24" fmla="*/ 2147483647 w 98"/>
              <a:gd name="T25" fmla="*/ 2147483647 h 49"/>
              <a:gd name="T26" fmla="*/ 2147483647 w 98"/>
              <a:gd name="T27" fmla="*/ 2147483647 h 49"/>
              <a:gd name="T28" fmla="*/ 0 w 98"/>
              <a:gd name="T29" fmla="*/ 2147483647 h 49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98"/>
              <a:gd name="T46" fmla="*/ 0 h 49"/>
              <a:gd name="T47" fmla="*/ 98 w 98"/>
              <a:gd name="T48" fmla="*/ 49 h 49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98" h="49">
                <a:moveTo>
                  <a:pt x="0" y="32"/>
                </a:moveTo>
                <a:lnTo>
                  <a:pt x="15" y="32"/>
                </a:lnTo>
                <a:lnTo>
                  <a:pt x="47" y="24"/>
                </a:lnTo>
                <a:lnTo>
                  <a:pt x="47" y="15"/>
                </a:lnTo>
                <a:lnTo>
                  <a:pt x="55" y="8"/>
                </a:lnTo>
                <a:lnTo>
                  <a:pt x="72" y="8"/>
                </a:lnTo>
                <a:lnTo>
                  <a:pt x="72" y="0"/>
                </a:lnTo>
                <a:lnTo>
                  <a:pt x="97" y="8"/>
                </a:lnTo>
                <a:lnTo>
                  <a:pt x="97" y="24"/>
                </a:lnTo>
                <a:lnTo>
                  <a:pt x="87" y="40"/>
                </a:lnTo>
                <a:lnTo>
                  <a:pt x="55" y="48"/>
                </a:lnTo>
                <a:lnTo>
                  <a:pt x="40" y="40"/>
                </a:lnTo>
                <a:lnTo>
                  <a:pt x="15" y="40"/>
                </a:lnTo>
                <a:lnTo>
                  <a:pt x="6" y="40"/>
                </a:lnTo>
                <a:lnTo>
                  <a:pt x="0" y="32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60" name="Line 124"/>
          <p:cNvSpPr>
            <a:spLocks noChangeShapeType="1"/>
          </p:cNvSpPr>
          <p:nvPr>
            <p:custDataLst>
              <p:tags r:id="rId271"/>
            </p:custDataLst>
          </p:nvPr>
        </p:nvSpPr>
        <p:spPr bwMode="gray">
          <a:xfrm flipH="1" flipV="1">
            <a:off x="4475163" y="4056063"/>
            <a:ext cx="7937" cy="12700"/>
          </a:xfrm>
          <a:prstGeom prst="line">
            <a:avLst/>
          </a:prstGeom>
          <a:noFill/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95861" name="Freeform 125"/>
          <p:cNvSpPr>
            <a:spLocks/>
          </p:cNvSpPr>
          <p:nvPr>
            <p:custDataLst>
              <p:tags r:id="rId272"/>
            </p:custDataLst>
          </p:nvPr>
        </p:nvSpPr>
        <p:spPr bwMode="gray">
          <a:xfrm>
            <a:off x="4475163" y="4056063"/>
            <a:ext cx="26987" cy="26987"/>
          </a:xfrm>
          <a:custGeom>
            <a:avLst/>
            <a:gdLst>
              <a:gd name="T0" fmla="*/ 2147483647 w 17"/>
              <a:gd name="T1" fmla="*/ 2147483647 h 17"/>
              <a:gd name="T2" fmla="*/ 0 w 17"/>
              <a:gd name="T3" fmla="*/ 0 h 17"/>
              <a:gd name="T4" fmla="*/ 2147483647 w 17"/>
              <a:gd name="T5" fmla="*/ 2147483647 h 17"/>
              <a:gd name="T6" fmla="*/ 0 60000 65536"/>
              <a:gd name="T7" fmla="*/ 0 60000 65536"/>
              <a:gd name="T8" fmla="*/ 0 60000 65536"/>
              <a:gd name="T9" fmla="*/ 0 w 17"/>
              <a:gd name="T10" fmla="*/ 0 h 17"/>
              <a:gd name="T11" fmla="*/ 17 w 17"/>
              <a:gd name="T12" fmla="*/ 17 h 1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" h="17">
                <a:moveTo>
                  <a:pt x="16" y="16"/>
                </a:moveTo>
                <a:lnTo>
                  <a:pt x="0" y="0"/>
                </a:lnTo>
                <a:lnTo>
                  <a:pt x="16" y="16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62" name="Line 126"/>
          <p:cNvSpPr>
            <a:spLocks noChangeShapeType="1"/>
          </p:cNvSpPr>
          <p:nvPr>
            <p:custDataLst>
              <p:tags r:id="rId273"/>
            </p:custDataLst>
          </p:nvPr>
        </p:nvSpPr>
        <p:spPr bwMode="gray">
          <a:xfrm flipH="1" flipV="1">
            <a:off x="4475163" y="4056063"/>
            <a:ext cx="7937" cy="12700"/>
          </a:xfrm>
          <a:prstGeom prst="line">
            <a:avLst/>
          </a:prstGeom>
          <a:noFill/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95863" name="Freeform 127"/>
          <p:cNvSpPr>
            <a:spLocks/>
          </p:cNvSpPr>
          <p:nvPr>
            <p:custDataLst>
              <p:tags r:id="rId274"/>
            </p:custDataLst>
          </p:nvPr>
        </p:nvSpPr>
        <p:spPr bwMode="gray">
          <a:xfrm>
            <a:off x="4475163" y="4056063"/>
            <a:ext cx="26987" cy="26987"/>
          </a:xfrm>
          <a:custGeom>
            <a:avLst/>
            <a:gdLst>
              <a:gd name="T0" fmla="*/ 2147483647 w 17"/>
              <a:gd name="T1" fmla="*/ 2147483647 h 17"/>
              <a:gd name="T2" fmla="*/ 0 w 17"/>
              <a:gd name="T3" fmla="*/ 0 h 17"/>
              <a:gd name="T4" fmla="*/ 2147483647 w 17"/>
              <a:gd name="T5" fmla="*/ 2147483647 h 17"/>
              <a:gd name="T6" fmla="*/ 0 60000 65536"/>
              <a:gd name="T7" fmla="*/ 0 60000 65536"/>
              <a:gd name="T8" fmla="*/ 0 60000 65536"/>
              <a:gd name="T9" fmla="*/ 0 w 17"/>
              <a:gd name="T10" fmla="*/ 0 h 17"/>
              <a:gd name="T11" fmla="*/ 17 w 17"/>
              <a:gd name="T12" fmla="*/ 17 h 1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" h="17">
                <a:moveTo>
                  <a:pt x="16" y="16"/>
                </a:moveTo>
                <a:lnTo>
                  <a:pt x="0" y="0"/>
                </a:lnTo>
                <a:lnTo>
                  <a:pt x="16" y="16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64" name="Freeform 128"/>
          <p:cNvSpPr>
            <a:spLocks/>
          </p:cNvSpPr>
          <p:nvPr>
            <p:custDataLst>
              <p:tags r:id="rId275"/>
            </p:custDataLst>
          </p:nvPr>
        </p:nvSpPr>
        <p:spPr bwMode="gray">
          <a:xfrm>
            <a:off x="4408488" y="4056063"/>
            <a:ext cx="92075" cy="52387"/>
          </a:xfrm>
          <a:custGeom>
            <a:avLst/>
            <a:gdLst>
              <a:gd name="T0" fmla="*/ 2147483647 w 58"/>
              <a:gd name="T1" fmla="*/ 2147483647 h 33"/>
              <a:gd name="T2" fmla="*/ 2147483647 w 58"/>
              <a:gd name="T3" fmla="*/ 2147483647 h 33"/>
              <a:gd name="T4" fmla="*/ 2147483647 w 58"/>
              <a:gd name="T5" fmla="*/ 2147483647 h 33"/>
              <a:gd name="T6" fmla="*/ 2147483647 w 58"/>
              <a:gd name="T7" fmla="*/ 2147483647 h 33"/>
              <a:gd name="T8" fmla="*/ 2147483647 w 58"/>
              <a:gd name="T9" fmla="*/ 2147483647 h 33"/>
              <a:gd name="T10" fmla="*/ 2147483647 w 58"/>
              <a:gd name="T11" fmla="*/ 2147483647 h 33"/>
              <a:gd name="T12" fmla="*/ 2147483647 w 58"/>
              <a:gd name="T13" fmla="*/ 2147483647 h 33"/>
              <a:gd name="T14" fmla="*/ 2147483647 w 58"/>
              <a:gd name="T15" fmla="*/ 0 h 33"/>
              <a:gd name="T16" fmla="*/ 2147483647 w 58"/>
              <a:gd name="T17" fmla="*/ 0 h 33"/>
              <a:gd name="T18" fmla="*/ 2147483647 w 58"/>
              <a:gd name="T19" fmla="*/ 0 h 33"/>
              <a:gd name="T20" fmla="*/ 0 w 58"/>
              <a:gd name="T21" fmla="*/ 2147483647 h 33"/>
              <a:gd name="T22" fmla="*/ 0 w 58"/>
              <a:gd name="T23" fmla="*/ 2147483647 h 33"/>
              <a:gd name="T24" fmla="*/ 2147483647 w 58"/>
              <a:gd name="T25" fmla="*/ 2147483647 h 33"/>
              <a:gd name="T26" fmla="*/ 2147483647 w 58"/>
              <a:gd name="T27" fmla="*/ 2147483647 h 33"/>
              <a:gd name="T28" fmla="*/ 2147483647 w 58"/>
              <a:gd name="T29" fmla="*/ 2147483647 h 33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58"/>
              <a:gd name="T46" fmla="*/ 0 h 33"/>
              <a:gd name="T47" fmla="*/ 58 w 58"/>
              <a:gd name="T48" fmla="*/ 33 h 33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58" h="33">
                <a:moveTo>
                  <a:pt x="17" y="32"/>
                </a:moveTo>
                <a:lnTo>
                  <a:pt x="32" y="23"/>
                </a:lnTo>
                <a:lnTo>
                  <a:pt x="42" y="23"/>
                </a:lnTo>
                <a:lnTo>
                  <a:pt x="42" y="16"/>
                </a:lnTo>
                <a:lnTo>
                  <a:pt x="48" y="23"/>
                </a:lnTo>
                <a:lnTo>
                  <a:pt x="57" y="8"/>
                </a:lnTo>
                <a:lnTo>
                  <a:pt x="48" y="8"/>
                </a:lnTo>
                <a:lnTo>
                  <a:pt x="42" y="0"/>
                </a:lnTo>
                <a:lnTo>
                  <a:pt x="17" y="0"/>
                </a:lnTo>
                <a:lnTo>
                  <a:pt x="8" y="0"/>
                </a:lnTo>
                <a:lnTo>
                  <a:pt x="0" y="16"/>
                </a:lnTo>
                <a:lnTo>
                  <a:pt x="0" y="23"/>
                </a:lnTo>
                <a:lnTo>
                  <a:pt x="8" y="16"/>
                </a:lnTo>
                <a:lnTo>
                  <a:pt x="8" y="32"/>
                </a:lnTo>
                <a:lnTo>
                  <a:pt x="17" y="32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65" name="Freeform 129"/>
          <p:cNvSpPr>
            <a:spLocks/>
          </p:cNvSpPr>
          <p:nvPr>
            <p:custDataLst>
              <p:tags r:id="rId276"/>
            </p:custDataLst>
          </p:nvPr>
        </p:nvSpPr>
        <p:spPr bwMode="gray">
          <a:xfrm>
            <a:off x="4189413" y="3940175"/>
            <a:ext cx="257175" cy="255588"/>
          </a:xfrm>
          <a:custGeom>
            <a:avLst/>
            <a:gdLst>
              <a:gd name="T0" fmla="*/ 2147483647 w 163"/>
              <a:gd name="T1" fmla="*/ 0 h 163"/>
              <a:gd name="T2" fmla="*/ 2147483647 w 163"/>
              <a:gd name="T3" fmla="*/ 2147483647 h 163"/>
              <a:gd name="T4" fmla="*/ 2147483647 w 163"/>
              <a:gd name="T5" fmla="*/ 2147483647 h 163"/>
              <a:gd name="T6" fmla="*/ 2147483647 w 163"/>
              <a:gd name="T7" fmla="*/ 2147483647 h 163"/>
              <a:gd name="T8" fmla="*/ 2147483647 w 163"/>
              <a:gd name="T9" fmla="*/ 2147483647 h 163"/>
              <a:gd name="T10" fmla="*/ 2147483647 w 163"/>
              <a:gd name="T11" fmla="*/ 2147483647 h 163"/>
              <a:gd name="T12" fmla="*/ 2147483647 w 163"/>
              <a:gd name="T13" fmla="*/ 2147483647 h 163"/>
              <a:gd name="T14" fmla="*/ 2147483647 w 163"/>
              <a:gd name="T15" fmla="*/ 2147483647 h 163"/>
              <a:gd name="T16" fmla="*/ 2147483647 w 163"/>
              <a:gd name="T17" fmla="*/ 2147483647 h 163"/>
              <a:gd name="T18" fmla="*/ 2147483647 w 163"/>
              <a:gd name="T19" fmla="*/ 2147483647 h 163"/>
              <a:gd name="T20" fmla="*/ 2147483647 w 163"/>
              <a:gd name="T21" fmla="*/ 2147483647 h 163"/>
              <a:gd name="T22" fmla="*/ 0 w 163"/>
              <a:gd name="T23" fmla="*/ 2147483647 h 163"/>
              <a:gd name="T24" fmla="*/ 0 w 163"/>
              <a:gd name="T25" fmla="*/ 2147483647 h 163"/>
              <a:gd name="T26" fmla="*/ 2147483647 w 163"/>
              <a:gd name="T27" fmla="*/ 2147483647 h 163"/>
              <a:gd name="T28" fmla="*/ 2147483647 w 163"/>
              <a:gd name="T29" fmla="*/ 2147483647 h 163"/>
              <a:gd name="T30" fmla="*/ 2147483647 w 163"/>
              <a:gd name="T31" fmla="*/ 2147483647 h 163"/>
              <a:gd name="T32" fmla="*/ 2147483647 w 163"/>
              <a:gd name="T33" fmla="*/ 2147483647 h 163"/>
              <a:gd name="T34" fmla="*/ 2147483647 w 163"/>
              <a:gd name="T35" fmla="*/ 2147483647 h 163"/>
              <a:gd name="T36" fmla="*/ 2147483647 w 163"/>
              <a:gd name="T37" fmla="*/ 2147483647 h 163"/>
              <a:gd name="T38" fmla="*/ 2147483647 w 163"/>
              <a:gd name="T39" fmla="*/ 2147483647 h 163"/>
              <a:gd name="T40" fmla="*/ 2147483647 w 163"/>
              <a:gd name="T41" fmla="*/ 2147483647 h 163"/>
              <a:gd name="T42" fmla="*/ 2147483647 w 163"/>
              <a:gd name="T43" fmla="*/ 2147483647 h 163"/>
              <a:gd name="T44" fmla="*/ 2147483647 w 163"/>
              <a:gd name="T45" fmla="*/ 2147483647 h 163"/>
              <a:gd name="T46" fmla="*/ 2147483647 w 163"/>
              <a:gd name="T47" fmla="*/ 2147483647 h 163"/>
              <a:gd name="T48" fmla="*/ 2147483647 w 163"/>
              <a:gd name="T49" fmla="*/ 2147483647 h 163"/>
              <a:gd name="T50" fmla="*/ 2147483647 w 163"/>
              <a:gd name="T51" fmla="*/ 2147483647 h 163"/>
              <a:gd name="T52" fmla="*/ 2147483647 w 163"/>
              <a:gd name="T53" fmla="*/ 2147483647 h 163"/>
              <a:gd name="T54" fmla="*/ 2147483647 w 163"/>
              <a:gd name="T55" fmla="*/ 2147483647 h 163"/>
              <a:gd name="T56" fmla="*/ 2147483647 w 163"/>
              <a:gd name="T57" fmla="*/ 2147483647 h 163"/>
              <a:gd name="T58" fmla="*/ 2147483647 w 163"/>
              <a:gd name="T59" fmla="*/ 2147483647 h 163"/>
              <a:gd name="T60" fmla="*/ 2147483647 w 163"/>
              <a:gd name="T61" fmla="*/ 2147483647 h 163"/>
              <a:gd name="T62" fmla="*/ 2147483647 w 163"/>
              <a:gd name="T63" fmla="*/ 2147483647 h 163"/>
              <a:gd name="T64" fmla="*/ 2147483647 w 163"/>
              <a:gd name="T65" fmla="*/ 2147483647 h 163"/>
              <a:gd name="T66" fmla="*/ 2147483647 w 163"/>
              <a:gd name="T67" fmla="*/ 2147483647 h 163"/>
              <a:gd name="T68" fmla="*/ 2147483647 w 163"/>
              <a:gd name="T69" fmla="*/ 2147483647 h 163"/>
              <a:gd name="T70" fmla="*/ 2147483647 w 163"/>
              <a:gd name="T71" fmla="*/ 2147483647 h 163"/>
              <a:gd name="T72" fmla="*/ 2147483647 w 163"/>
              <a:gd name="T73" fmla="*/ 2147483647 h 163"/>
              <a:gd name="T74" fmla="*/ 2147483647 w 163"/>
              <a:gd name="T75" fmla="*/ 2147483647 h 163"/>
              <a:gd name="T76" fmla="*/ 2147483647 w 163"/>
              <a:gd name="T77" fmla="*/ 2147483647 h 163"/>
              <a:gd name="T78" fmla="*/ 2147483647 w 163"/>
              <a:gd name="T79" fmla="*/ 0 h 163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63"/>
              <a:gd name="T121" fmla="*/ 0 h 163"/>
              <a:gd name="T122" fmla="*/ 163 w 163"/>
              <a:gd name="T123" fmla="*/ 163 h 163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63" h="163">
                <a:moveTo>
                  <a:pt x="97" y="0"/>
                </a:moveTo>
                <a:lnTo>
                  <a:pt x="82" y="9"/>
                </a:lnTo>
                <a:lnTo>
                  <a:pt x="82" y="25"/>
                </a:lnTo>
                <a:lnTo>
                  <a:pt x="66" y="34"/>
                </a:lnTo>
                <a:lnTo>
                  <a:pt x="57" y="42"/>
                </a:lnTo>
                <a:lnTo>
                  <a:pt x="50" y="42"/>
                </a:lnTo>
                <a:lnTo>
                  <a:pt x="42" y="34"/>
                </a:lnTo>
                <a:lnTo>
                  <a:pt x="34" y="34"/>
                </a:lnTo>
                <a:lnTo>
                  <a:pt x="42" y="50"/>
                </a:lnTo>
                <a:lnTo>
                  <a:pt x="25" y="57"/>
                </a:lnTo>
                <a:lnTo>
                  <a:pt x="25" y="50"/>
                </a:lnTo>
                <a:lnTo>
                  <a:pt x="0" y="57"/>
                </a:lnTo>
                <a:lnTo>
                  <a:pt x="0" y="66"/>
                </a:lnTo>
                <a:lnTo>
                  <a:pt x="34" y="74"/>
                </a:lnTo>
                <a:lnTo>
                  <a:pt x="50" y="97"/>
                </a:lnTo>
                <a:lnTo>
                  <a:pt x="50" y="106"/>
                </a:lnTo>
                <a:lnTo>
                  <a:pt x="42" y="147"/>
                </a:lnTo>
                <a:lnTo>
                  <a:pt x="57" y="156"/>
                </a:lnTo>
                <a:lnTo>
                  <a:pt x="97" y="162"/>
                </a:lnTo>
                <a:lnTo>
                  <a:pt x="97" y="156"/>
                </a:lnTo>
                <a:lnTo>
                  <a:pt x="115" y="147"/>
                </a:lnTo>
                <a:lnTo>
                  <a:pt x="139" y="156"/>
                </a:lnTo>
                <a:lnTo>
                  <a:pt x="147" y="156"/>
                </a:lnTo>
                <a:lnTo>
                  <a:pt x="156" y="137"/>
                </a:lnTo>
                <a:lnTo>
                  <a:pt x="147" y="122"/>
                </a:lnTo>
                <a:lnTo>
                  <a:pt x="147" y="106"/>
                </a:lnTo>
                <a:lnTo>
                  <a:pt x="147" y="90"/>
                </a:lnTo>
                <a:lnTo>
                  <a:pt x="139" y="97"/>
                </a:lnTo>
                <a:lnTo>
                  <a:pt x="139" y="90"/>
                </a:lnTo>
                <a:lnTo>
                  <a:pt x="147" y="74"/>
                </a:lnTo>
                <a:lnTo>
                  <a:pt x="156" y="74"/>
                </a:lnTo>
                <a:lnTo>
                  <a:pt x="162" y="50"/>
                </a:lnTo>
                <a:lnTo>
                  <a:pt x="139" y="34"/>
                </a:lnTo>
                <a:lnTo>
                  <a:pt x="131" y="34"/>
                </a:lnTo>
                <a:lnTo>
                  <a:pt x="122" y="34"/>
                </a:lnTo>
                <a:lnTo>
                  <a:pt x="122" y="25"/>
                </a:lnTo>
                <a:lnTo>
                  <a:pt x="115" y="25"/>
                </a:lnTo>
                <a:lnTo>
                  <a:pt x="115" y="17"/>
                </a:lnTo>
                <a:lnTo>
                  <a:pt x="97" y="9"/>
                </a:lnTo>
                <a:lnTo>
                  <a:pt x="97" y="0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66" name="Freeform 130"/>
          <p:cNvSpPr>
            <a:spLocks/>
          </p:cNvSpPr>
          <p:nvPr>
            <p:custDataLst>
              <p:tags r:id="rId277"/>
            </p:custDataLst>
          </p:nvPr>
        </p:nvSpPr>
        <p:spPr bwMode="gray">
          <a:xfrm>
            <a:off x="4103688" y="4154488"/>
            <a:ext cx="241300" cy="207962"/>
          </a:xfrm>
          <a:custGeom>
            <a:avLst/>
            <a:gdLst>
              <a:gd name="T0" fmla="*/ 2147483647 w 153"/>
              <a:gd name="T1" fmla="*/ 2147483647 h 132"/>
              <a:gd name="T2" fmla="*/ 2147483647 w 153"/>
              <a:gd name="T3" fmla="*/ 2147483647 h 132"/>
              <a:gd name="T4" fmla="*/ 2147483647 w 153"/>
              <a:gd name="T5" fmla="*/ 2147483647 h 132"/>
              <a:gd name="T6" fmla="*/ 2147483647 w 153"/>
              <a:gd name="T7" fmla="*/ 2147483647 h 132"/>
              <a:gd name="T8" fmla="*/ 2147483647 w 153"/>
              <a:gd name="T9" fmla="*/ 2147483647 h 132"/>
              <a:gd name="T10" fmla="*/ 2147483647 w 153"/>
              <a:gd name="T11" fmla="*/ 2147483647 h 132"/>
              <a:gd name="T12" fmla="*/ 2147483647 w 153"/>
              <a:gd name="T13" fmla="*/ 2147483647 h 132"/>
              <a:gd name="T14" fmla="*/ 2147483647 w 153"/>
              <a:gd name="T15" fmla="*/ 2147483647 h 132"/>
              <a:gd name="T16" fmla="*/ 2147483647 w 153"/>
              <a:gd name="T17" fmla="*/ 2147483647 h 132"/>
              <a:gd name="T18" fmla="*/ 2147483647 w 153"/>
              <a:gd name="T19" fmla="*/ 2147483647 h 132"/>
              <a:gd name="T20" fmla="*/ 2147483647 w 153"/>
              <a:gd name="T21" fmla="*/ 2147483647 h 132"/>
              <a:gd name="T22" fmla="*/ 2147483647 w 153"/>
              <a:gd name="T23" fmla="*/ 2147483647 h 132"/>
              <a:gd name="T24" fmla="*/ 2147483647 w 153"/>
              <a:gd name="T25" fmla="*/ 2147483647 h 132"/>
              <a:gd name="T26" fmla="*/ 2147483647 w 153"/>
              <a:gd name="T27" fmla="*/ 2147483647 h 132"/>
              <a:gd name="T28" fmla="*/ 2147483647 w 153"/>
              <a:gd name="T29" fmla="*/ 2147483647 h 132"/>
              <a:gd name="T30" fmla="*/ 2147483647 w 153"/>
              <a:gd name="T31" fmla="*/ 2147483647 h 132"/>
              <a:gd name="T32" fmla="*/ 2147483647 w 153"/>
              <a:gd name="T33" fmla="*/ 2147483647 h 132"/>
              <a:gd name="T34" fmla="*/ 2147483647 w 153"/>
              <a:gd name="T35" fmla="*/ 2147483647 h 132"/>
              <a:gd name="T36" fmla="*/ 2147483647 w 153"/>
              <a:gd name="T37" fmla="*/ 2147483647 h 132"/>
              <a:gd name="T38" fmla="*/ 2147483647 w 153"/>
              <a:gd name="T39" fmla="*/ 2147483647 h 132"/>
              <a:gd name="T40" fmla="*/ 2147483647 w 153"/>
              <a:gd name="T41" fmla="*/ 2147483647 h 132"/>
              <a:gd name="T42" fmla="*/ 2147483647 w 153"/>
              <a:gd name="T43" fmla="*/ 0 h 132"/>
              <a:gd name="T44" fmla="*/ 2147483647 w 153"/>
              <a:gd name="T45" fmla="*/ 2147483647 h 132"/>
              <a:gd name="T46" fmla="*/ 0 w 153"/>
              <a:gd name="T47" fmla="*/ 2147483647 h 132"/>
              <a:gd name="T48" fmla="*/ 0 w 153"/>
              <a:gd name="T49" fmla="*/ 2147483647 h 132"/>
              <a:gd name="T50" fmla="*/ 2147483647 w 153"/>
              <a:gd name="T51" fmla="*/ 2147483647 h 13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53"/>
              <a:gd name="T79" fmla="*/ 0 h 132"/>
              <a:gd name="T80" fmla="*/ 153 w 153"/>
              <a:gd name="T81" fmla="*/ 132 h 132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53" h="132">
                <a:moveTo>
                  <a:pt x="7" y="34"/>
                </a:moveTo>
                <a:lnTo>
                  <a:pt x="40" y="34"/>
                </a:lnTo>
                <a:lnTo>
                  <a:pt x="40" y="42"/>
                </a:lnTo>
                <a:lnTo>
                  <a:pt x="31" y="50"/>
                </a:lnTo>
                <a:lnTo>
                  <a:pt x="31" y="66"/>
                </a:lnTo>
                <a:lnTo>
                  <a:pt x="24" y="75"/>
                </a:lnTo>
                <a:lnTo>
                  <a:pt x="31" y="99"/>
                </a:lnTo>
                <a:lnTo>
                  <a:pt x="24" y="115"/>
                </a:lnTo>
                <a:lnTo>
                  <a:pt x="49" y="131"/>
                </a:lnTo>
                <a:lnTo>
                  <a:pt x="55" y="124"/>
                </a:lnTo>
                <a:lnTo>
                  <a:pt x="89" y="124"/>
                </a:lnTo>
                <a:lnTo>
                  <a:pt x="121" y="91"/>
                </a:lnTo>
                <a:lnTo>
                  <a:pt x="112" y="75"/>
                </a:lnTo>
                <a:lnTo>
                  <a:pt x="129" y="50"/>
                </a:lnTo>
                <a:lnTo>
                  <a:pt x="152" y="34"/>
                </a:lnTo>
                <a:lnTo>
                  <a:pt x="152" y="25"/>
                </a:lnTo>
                <a:lnTo>
                  <a:pt x="112" y="19"/>
                </a:lnTo>
                <a:lnTo>
                  <a:pt x="97" y="10"/>
                </a:lnTo>
                <a:lnTo>
                  <a:pt x="89" y="10"/>
                </a:lnTo>
                <a:lnTo>
                  <a:pt x="72" y="10"/>
                </a:lnTo>
                <a:lnTo>
                  <a:pt x="64" y="10"/>
                </a:lnTo>
                <a:lnTo>
                  <a:pt x="15" y="0"/>
                </a:lnTo>
                <a:lnTo>
                  <a:pt x="7" y="10"/>
                </a:lnTo>
                <a:lnTo>
                  <a:pt x="0" y="10"/>
                </a:lnTo>
                <a:lnTo>
                  <a:pt x="0" y="19"/>
                </a:lnTo>
                <a:lnTo>
                  <a:pt x="7" y="34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67" name="Freeform 131"/>
          <p:cNvSpPr>
            <a:spLocks/>
          </p:cNvSpPr>
          <p:nvPr>
            <p:custDataLst>
              <p:tags r:id="rId278"/>
            </p:custDataLst>
          </p:nvPr>
        </p:nvSpPr>
        <p:spPr bwMode="gray">
          <a:xfrm>
            <a:off x="4103688" y="4208463"/>
            <a:ext cx="65087" cy="128587"/>
          </a:xfrm>
          <a:custGeom>
            <a:avLst/>
            <a:gdLst>
              <a:gd name="T0" fmla="*/ 2147483647 w 41"/>
              <a:gd name="T1" fmla="*/ 2147483647 h 82"/>
              <a:gd name="T2" fmla="*/ 2147483647 w 41"/>
              <a:gd name="T3" fmla="*/ 2147483647 h 82"/>
              <a:gd name="T4" fmla="*/ 2147483647 w 41"/>
              <a:gd name="T5" fmla="*/ 2147483647 h 82"/>
              <a:gd name="T6" fmla="*/ 2147483647 w 41"/>
              <a:gd name="T7" fmla="*/ 2147483647 h 82"/>
              <a:gd name="T8" fmla="*/ 2147483647 w 41"/>
              <a:gd name="T9" fmla="*/ 2147483647 h 82"/>
              <a:gd name="T10" fmla="*/ 2147483647 w 41"/>
              <a:gd name="T11" fmla="*/ 2147483647 h 82"/>
              <a:gd name="T12" fmla="*/ 2147483647 w 41"/>
              <a:gd name="T13" fmla="*/ 0 h 82"/>
              <a:gd name="T14" fmla="*/ 2147483647 w 41"/>
              <a:gd name="T15" fmla="*/ 0 h 82"/>
              <a:gd name="T16" fmla="*/ 2147483647 w 41"/>
              <a:gd name="T17" fmla="*/ 2147483647 h 82"/>
              <a:gd name="T18" fmla="*/ 0 w 41"/>
              <a:gd name="T19" fmla="*/ 2147483647 h 82"/>
              <a:gd name="T20" fmla="*/ 2147483647 w 41"/>
              <a:gd name="T21" fmla="*/ 2147483647 h 82"/>
              <a:gd name="T22" fmla="*/ 0 w 41"/>
              <a:gd name="T23" fmla="*/ 2147483647 h 82"/>
              <a:gd name="T24" fmla="*/ 2147483647 w 41"/>
              <a:gd name="T25" fmla="*/ 2147483647 h 8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41"/>
              <a:gd name="T40" fmla="*/ 0 h 82"/>
              <a:gd name="T41" fmla="*/ 41 w 41"/>
              <a:gd name="T42" fmla="*/ 82 h 8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41" h="82">
                <a:moveTo>
                  <a:pt x="24" y="81"/>
                </a:moveTo>
                <a:lnTo>
                  <a:pt x="31" y="65"/>
                </a:lnTo>
                <a:lnTo>
                  <a:pt x="24" y="41"/>
                </a:lnTo>
                <a:lnTo>
                  <a:pt x="31" y="32"/>
                </a:lnTo>
                <a:lnTo>
                  <a:pt x="31" y="16"/>
                </a:lnTo>
                <a:lnTo>
                  <a:pt x="40" y="8"/>
                </a:lnTo>
                <a:lnTo>
                  <a:pt x="40" y="0"/>
                </a:lnTo>
                <a:lnTo>
                  <a:pt x="7" y="0"/>
                </a:lnTo>
                <a:lnTo>
                  <a:pt x="7" y="16"/>
                </a:lnTo>
                <a:lnTo>
                  <a:pt x="0" y="57"/>
                </a:lnTo>
                <a:lnTo>
                  <a:pt x="7" y="57"/>
                </a:lnTo>
                <a:lnTo>
                  <a:pt x="0" y="81"/>
                </a:lnTo>
                <a:lnTo>
                  <a:pt x="24" y="81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68" name="Freeform 132"/>
          <p:cNvSpPr>
            <a:spLocks/>
          </p:cNvSpPr>
          <p:nvPr>
            <p:custDataLst>
              <p:tags r:id="rId279"/>
            </p:custDataLst>
          </p:nvPr>
        </p:nvSpPr>
        <p:spPr bwMode="gray">
          <a:xfrm>
            <a:off x="4421188" y="4068763"/>
            <a:ext cx="242887" cy="244475"/>
          </a:xfrm>
          <a:custGeom>
            <a:avLst/>
            <a:gdLst>
              <a:gd name="T0" fmla="*/ 2147483647 w 155"/>
              <a:gd name="T1" fmla="*/ 2147483647 h 155"/>
              <a:gd name="T2" fmla="*/ 2147483647 w 155"/>
              <a:gd name="T3" fmla="*/ 2147483647 h 155"/>
              <a:gd name="T4" fmla="*/ 2147483647 w 155"/>
              <a:gd name="T5" fmla="*/ 2147483647 h 155"/>
              <a:gd name="T6" fmla="*/ 2147483647 w 155"/>
              <a:gd name="T7" fmla="*/ 2147483647 h 155"/>
              <a:gd name="T8" fmla="*/ 2147483647 w 155"/>
              <a:gd name="T9" fmla="*/ 2147483647 h 155"/>
              <a:gd name="T10" fmla="*/ 2147483647 w 155"/>
              <a:gd name="T11" fmla="*/ 2147483647 h 155"/>
              <a:gd name="T12" fmla="*/ 2147483647 w 155"/>
              <a:gd name="T13" fmla="*/ 2147483647 h 155"/>
              <a:gd name="T14" fmla="*/ 2147483647 w 155"/>
              <a:gd name="T15" fmla="*/ 2147483647 h 155"/>
              <a:gd name="T16" fmla="*/ 2147483647 w 155"/>
              <a:gd name="T17" fmla="*/ 2147483647 h 155"/>
              <a:gd name="T18" fmla="*/ 2147483647 w 155"/>
              <a:gd name="T19" fmla="*/ 2147483647 h 155"/>
              <a:gd name="T20" fmla="*/ 2147483647 w 155"/>
              <a:gd name="T21" fmla="*/ 2147483647 h 155"/>
              <a:gd name="T22" fmla="*/ 2147483647 w 155"/>
              <a:gd name="T23" fmla="*/ 2147483647 h 155"/>
              <a:gd name="T24" fmla="*/ 2147483647 w 155"/>
              <a:gd name="T25" fmla="*/ 2147483647 h 155"/>
              <a:gd name="T26" fmla="*/ 2147483647 w 155"/>
              <a:gd name="T27" fmla="*/ 2147483647 h 155"/>
              <a:gd name="T28" fmla="*/ 2147483647 w 155"/>
              <a:gd name="T29" fmla="*/ 2147483647 h 155"/>
              <a:gd name="T30" fmla="*/ 2147483647 w 155"/>
              <a:gd name="T31" fmla="*/ 2147483647 h 155"/>
              <a:gd name="T32" fmla="*/ 2147483647 w 155"/>
              <a:gd name="T33" fmla="*/ 2147483647 h 155"/>
              <a:gd name="T34" fmla="*/ 2147483647 w 155"/>
              <a:gd name="T35" fmla="*/ 2147483647 h 155"/>
              <a:gd name="T36" fmla="*/ 2147483647 w 155"/>
              <a:gd name="T37" fmla="*/ 2147483647 h 155"/>
              <a:gd name="T38" fmla="*/ 2147483647 w 155"/>
              <a:gd name="T39" fmla="*/ 2147483647 h 155"/>
              <a:gd name="T40" fmla="*/ 2147483647 w 155"/>
              <a:gd name="T41" fmla="*/ 2147483647 h 155"/>
              <a:gd name="T42" fmla="*/ 2147483647 w 155"/>
              <a:gd name="T43" fmla="*/ 2147483647 h 155"/>
              <a:gd name="T44" fmla="*/ 2147483647 w 155"/>
              <a:gd name="T45" fmla="*/ 2147483647 h 155"/>
              <a:gd name="T46" fmla="*/ 2147483647 w 155"/>
              <a:gd name="T47" fmla="*/ 2147483647 h 155"/>
              <a:gd name="T48" fmla="*/ 2147483647 w 155"/>
              <a:gd name="T49" fmla="*/ 2147483647 h 155"/>
              <a:gd name="T50" fmla="*/ 2147483647 w 155"/>
              <a:gd name="T51" fmla="*/ 2147483647 h 155"/>
              <a:gd name="T52" fmla="*/ 2147483647 w 155"/>
              <a:gd name="T53" fmla="*/ 2147483647 h 155"/>
              <a:gd name="T54" fmla="*/ 2147483647 w 155"/>
              <a:gd name="T55" fmla="*/ 2147483647 h 155"/>
              <a:gd name="T56" fmla="*/ 2147483647 w 155"/>
              <a:gd name="T57" fmla="*/ 0 h 155"/>
              <a:gd name="T58" fmla="*/ 2147483647 w 155"/>
              <a:gd name="T59" fmla="*/ 0 h 155"/>
              <a:gd name="T60" fmla="*/ 2147483647 w 155"/>
              <a:gd name="T61" fmla="*/ 2147483647 h 155"/>
              <a:gd name="T62" fmla="*/ 2147483647 w 155"/>
              <a:gd name="T63" fmla="*/ 2147483647 h 155"/>
              <a:gd name="T64" fmla="*/ 2147483647 w 155"/>
              <a:gd name="T65" fmla="*/ 2147483647 h 155"/>
              <a:gd name="T66" fmla="*/ 2147483647 w 155"/>
              <a:gd name="T67" fmla="*/ 2147483647 h 155"/>
              <a:gd name="T68" fmla="*/ 2147483647 w 155"/>
              <a:gd name="T69" fmla="*/ 2147483647 h 155"/>
              <a:gd name="T70" fmla="*/ 0 w 155"/>
              <a:gd name="T71" fmla="*/ 2147483647 h 155"/>
              <a:gd name="T72" fmla="*/ 0 w 155"/>
              <a:gd name="T73" fmla="*/ 2147483647 h 155"/>
              <a:gd name="T74" fmla="*/ 2147483647 w 155"/>
              <a:gd name="T75" fmla="*/ 2147483647 h 155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55"/>
              <a:gd name="T115" fmla="*/ 0 h 155"/>
              <a:gd name="T116" fmla="*/ 155 w 155"/>
              <a:gd name="T117" fmla="*/ 155 h 155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55" h="155">
                <a:moveTo>
                  <a:pt x="9" y="55"/>
                </a:moveTo>
                <a:lnTo>
                  <a:pt x="24" y="49"/>
                </a:lnTo>
                <a:lnTo>
                  <a:pt x="40" y="55"/>
                </a:lnTo>
                <a:lnTo>
                  <a:pt x="56" y="80"/>
                </a:lnTo>
                <a:lnTo>
                  <a:pt x="65" y="80"/>
                </a:lnTo>
                <a:lnTo>
                  <a:pt x="74" y="97"/>
                </a:lnTo>
                <a:lnTo>
                  <a:pt x="89" y="105"/>
                </a:lnTo>
                <a:lnTo>
                  <a:pt x="106" y="121"/>
                </a:lnTo>
                <a:lnTo>
                  <a:pt x="114" y="121"/>
                </a:lnTo>
                <a:lnTo>
                  <a:pt x="121" y="146"/>
                </a:lnTo>
                <a:lnTo>
                  <a:pt x="114" y="154"/>
                </a:lnTo>
                <a:lnTo>
                  <a:pt x="121" y="154"/>
                </a:lnTo>
                <a:lnTo>
                  <a:pt x="131" y="146"/>
                </a:lnTo>
                <a:lnTo>
                  <a:pt x="131" y="137"/>
                </a:lnTo>
                <a:lnTo>
                  <a:pt x="131" y="130"/>
                </a:lnTo>
                <a:lnTo>
                  <a:pt x="131" y="114"/>
                </a:lnTo>
                <a:lnTo>
                  <a:pt x="146" y="130"/>
                </a:lnTo>
                <a:lnTo>
                  <a:pt x="154" y="121"/>
                </a:lnTo>
                <a:lnTo>
                  <a:pt x="114" y="97"/>
                </a:lnTo>
                <a:lnTo>
                  <a:pt x="121" y="89"/>
                </a:lnTo>
                <a:lnTo>
                  <a:pt x="114" y="89"/>
                </a:lnTo>
                <a:lnTo>
                  <a:pt x="97" y="80"/>
                </a:lnTo>
                <a:lnTo>
                  <a:pt x="89" y="65"/>
                </a:lnTo>
                <a:lnTo>
                  <a:pt x="74" y="49"/>
                </a:lnTo>
                <a:lnTo>
                  <a:pt x="74" y="24"/>
                </a:lnTo>
                <a:lnTo>
                  <a:pt x="89" y="24"/>
                </a:lnTo>
                <a:lnTo>
                  <a:pt x="89" y="15"/>
                </a:lnTo>
                <a:lnTo>
                  <a:pt x="89" y="8"/>
                </a:lnTo>
                <a:lnTo>
                  <a:pt x="74" y="0"/>
                </a:lnTo>
                <a:lnTo>
                  <a:pt x="49" y="0"/>
                </a:lnTo>
                <a:lnTo>
                  <a:pt x="40" y="15"/>
                </a:lnTo>
                <a:lnTo>
                  <a:pt x="34" y="8"/>
                </a:lnTo>
                <a:lnTo>
                  <a:pt x="34" y="15"/>
                </a:lnTo>
                <a:lnTo>
                  <a:pt x="24" y="15"/>
                </a:lnTo>
                <a:lnTo>
                  <a:pt x="9" y="24"/>
                </a:lnTo>
                <a:lnTo>
                  <a:pt x="0" y="24"/>
                </a:lnTo>
                <a:lnTo>
                  <a:pt x="0" y="40"/>
                </a:lnTo>
                <a:lnTo>
                  <a:pt x="9" y="55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69" name="Freeform 133"/>
          <p:cNvSpPr>
            <a:spLocks/>
          </p:cNvSpPr>
          <p:nvPr>
            <p:custDataLst>
              <p:tags r:id="rId280"/>
            </p:custDataLst>
          </p:nvPr>
        </p:nvSpPr>
        <p:spPr bwMode="gray">
          <a:xfrm>
            <a:off x="4687888" y="4029075"/>
            <a:ext cx="193675" cy="144463"/>
          </a:xfrm>
          <a:custGeom>
            <a:avLst/>
            <a:gdLst>
              <a:gd name="T0" fmla="*/ 2147483647 w 122"/>
              <a:gd name="T1" fmla="*/ 2147483647 h 91"/>
              <a:gd name="T2" fmla="*/ 2147483647 w 122"/>
              <a:gd name="T3" fmla="*/ 2147483647 h 91"/>
              <a:gd name="T4" fmla="*/ 2147483647 w 122"/>
              <a:gd name="T5" fmla="*/ 2147483647 h 91"/>
              <a:gd name="T6" fmla="*/ 2147483647 w 122"/>
              <a:gd name="T7" fmla="*/ 2147483647 h 91"/>
              <a:gd name="T8" fmla="*/ 2147483647 w 122"/>
              <a:gd name="T9" fmla="*/ 2147483647 h 91"/>
              <a:gd name="T10" fmla="*/ 2147483647 w 122"/>
              <a:gd name="T11" fmla="*/ 2147483647 h 91"/>
              <a:gd name="T12" fmla="*/ 2147483647 w 122"/>
              <a:gd name="T13" fmla="*/ 2147483647 h 91"/>
              <a:gd name="T14" fmla="*/ 2147483647 w 122"/>
              <a:gd name="T15" fmla="*/ 2147483647 h 91"/>
              <a:gd name="T16" fmla="*/ 2147483647 w 122"/>
              <a:gd name="T17" fmla="*/ 2147483647 h 91"/>
              <a:gd name="T18" fmla="*/ 2147483647 w 122"/>
              <a:gd name="T19" fmla="*/ 2147483647 h 91"/>
              <a:gd name="T20" fmla="*/ 2147483647 w 122"/>
              <a:gd name="T21" fmla="*/ 2147483647 h 91"/>
              <a:gd name="T22" fmla="*/ 2147483647 w 122"/>
              <a:gd name="T23" fmla="*/ 2147483647 h 91"/>
              <a:gd name="T24" fmla="*/ 2147483647 w 122"/>
              <a:gd name="T25" fmla="*/ 2147483647 h 91"/>
              <a:gd name="T26" fmla="*/ 2147483647 w 122"/>
              <a:gd name="T27" fmla="*/ 2147483647 h 91"/>
              <a:gd name="T28" fmla="*/ 2147483647 w 122"/>
              <a:gd name="T29" fmla="*/ 0 h 91"/>
              <a:gd name="T30" fmla="*/ 2147483647 w 122"/>
              <a:gd name="T31" fmla="*/ 0 h 91"/>
              <a:gd name="T32" fmla="*/ 2147483647 w 122"/>
              <a:gd name="T33" fmla="*/ 2147483647 h 91"/>
              <a:gd name="T34" fmla="*/ 2147483647 w 122"/>
              <a:gd name="T35" fmla="*/ 2147483647 h 91"/>
              <a:gd name="T36" fmla="*/ 2147483647 w 122"/>
              <a:gd name="T37" fmla="*/ 2147483647 h 91"/>
              <a:gd name="T38" fmla="*/ 2147483647 w 122"/>
              <a:gd name="T39" fmla="*/ 2147483647 h 91"/>
              <a:gd name="T40" fmla="*/ 2147483647 w 122"/>
              <a:gd name="T41" fmla="*/ 2147483647 h 91"/>
              <a:gd name="T42" fmla="*/ 0 w 122"/>
              <a:gd name="T43" fmla="*/ 2147483647 h 91"/>
              <a:gd name="T44" fmla="*/ 2147483647 w 122"/>
              <a:gd name="T45" fmla="*/ 2147483647 h 9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22"/>
              <a:gd name="T70" fmla="*/ 0 h 91"/>
              <a:gd name="T71" fmla="*/ 122 w 122"/>
              <a:gd name="T72" fmla="*/ 91 h 91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22" h="91">
                <a:moveTo>
                  <a:pt x="15" y="65"/>
                </a:moveTo>
                <a:lnTo>
                  <a:pt x="31" y="65"/>
                </a:lnTo>
                <a:lnTo>
                  <a:pt x="31" y="74"/>
                </a:lnTo>
                <a:lnTo>
                  <a:pt x="40" y="80"/>
                </a:lnTo>
                <a:lnTo>
                  <a:pt x="47" y="80"/>
                </a:lnTo>
                <a:lnTo>
                  <a:pt x="72" y="90"/>
                </a:lnTo>
                <a:lnTo>
                  <a:pt x="89" y="74"/>
                </a:lnTo>
                <a:lnTo>
                  <a:pt x="112" y="80"/>
                </a:lnTo>
                <a:lnTo>
                  <a:pt x="112" y="74"/>
                </a:lnTo>
                <a:lnTo>
                  <a:pt x="121" y="65"/>
                </a:lnTo>
                <a:lnTo>
                  <a:pt x="121" y="58"/>
                </a:lnTo>
                <a:lnTo>
                  <a:pt x="105" y="58"/>
                </a:lnTo>
                <a:lnTo>
                  <a:pt x="105" y="49"/>
                </a:lnTo>
                <a:lnTo>
                  <a:pt x="105" y="25"/>
                </a:lnTo>
                <a:lnTo>
                  <a:pt x="89" y="0"/>
                </a:lnTo>
                <a:lnTo>
                  <a:pt x="80" y="0"/>
                </a:lnTo>
                <a:lnTo>
                  <a:pt x="65" y="9"/>
                </a:lnTo>
                <a:lnTo>
                  <a:pt x="55" y="9"/>
                </a:lnTo>
                <a:lnTo>
                  <a:pt x="31" y="9"/>
                </a:lnTo>
                <a:lnTo>
                  <a:pt x="24" y="9"/>
                </a:lnTo>
                <a:lnTo>
                  <a:pt x="15" y="40"/>
                </a:lnTo>
                <a:lnTo>
                  <a:pt x="0" y="40"/>
                </a:lnTo>
                <a:lnTo>
                  <a:pt x="15" y="65"/>
                </a:lnTo>
              </a:path>
            </a:pathLst>
          </a:custGeom>
          <a:solidFill>
            <a:srgbClr val="FF00FF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70" name="Freeform 134"/>
          <p:cNvSpPr>
            <a:spLocks/>
          </p:cNvSpPr>
          <p:nvPr>
            <p:custDataLst>
              <p:tags r:id="rId281"/>
            </p:custDataLst>
          </p:nvPr>
        </p:nvSpPr>
        <p:spPr bwMode="gray">
          <a:xfrm>
            <a:off x="4687888" y="4221163"/>
            <a:ext cx="128587" cy="103187"/>
          </a:xfrm>
          <a:custGeom>
            <a:avLst/>
            <a:gdLst>
              <a:gd name="T0" fmla="*/ 2147483647 w 81"/>
              <a:gd name="T1" fmla="*/ 2147483647 h 66"/>
              <a:gd name="T2" fmla="*/ 2147483647 w 81"/>
              <a:gd name="T3" fmla="*/ 0 h 66"/>
              <a:gd name="T4" fmla="*/ 2147483647 w 81"/>
              <a:gd name="T5" fmla="*/ 0 h 66"/>
              <a:gd name="T6" fmla="*/ 2147483647 w 81"/>
              <a:gd name="T7" fmla="*/ 2147483647 h 66"/>
              <a:gd name="T8" fmla="*/ 2147483647 w 81"/>
              <a:gd name="T9" fmla="*/ 0 h 66"/>
              <a:gd name="T10" fmla="*/ 2147483647 w 81"/>
              <a:gd name="T11" fmla="*/ 2147483647 h 66"/>
              <a:gd name="T12" fmla="*/ 2147483647 w 81"/>
              <a:gd name="T13" fmla="*/ 2147483647 h 66"/>
              <a:gd name="T14" fmla="*/ 2147483647 w 81"/>
              <a:gd name="T15" fmla="*/ 2147483647 h 66"/>
              <a:gd name="T16" fmla="*/ 2147483647 w 81"/>
              <a:gd name="T17" fmla="*/ 2147483647 h 66"/>
              <a:gd name="T18" fmla="*/ 2147483647 w 81"/>
              <a:gd name="T19" fmla="*/ 2147483647 h 66"/>
              <a:gd name="T20" fmla="*/ 2147483647 w 81"/>
              <a:gd name="T21" fmla="*/ 2147483647 h 66"/>
              <a:gd name="T22" fmla="*/ 2147483647 w 81"/>
              <a:gd name="T23" fmla="*/ 2147483647 h 66"/>
              <a:gd name="T24" fmla="*/ 2147483647 w 81"/>
              <a:gd name="T25" fmla="*/ 2147483647 h 66"/>
              <a:gd name="T26" fmla="*/ 2147483647 w 81"/>
              <a:gd name="T27" fmla="*/ 2147483647 h 66"/>
              <a:gd name="T28" fmla="*/ 2147483647 w 81"/>
              <a:gd name="T29" fmla="*/ 2147483647 h 66"/>
              <a:gd name="T30" fmla="*/ 2147483647 w 81"/>
              <a:gd name="T31" fmla="*/ 2147483647 h 66"/>
              <a:gd name="T32" fmla="*/ 2147483647 w 81"/>
              <a:gd name="T33" fmla="*/ 2147483647 h 66"/>
              <a:gd name="T34" fmla="*/ 2147483647 w 81"/>
              <a:gd name="T35" fmla="*/ 2147483647 h 66"/>
              <a:gd name="T36" fmla="*/ 0 w 81"/>
              <a:gd name="T37" fmla="*/ 2147483647 h 66"/>
              <a:gd name="T38" fmla="*/ 2147483647 w 81"/>
              <a:gd name="T39" fmla="*/ 2147483647 h 66"/>
              <a:gd name="T40" fmla="*/ 2147483647 w 81"/>
              <a:gd name="T41" fmla="*/ 2147483647 h 6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81"/>
              <a:gd name="T64" fmla="*/ 0 h 66"/>
              <a:gd name="T65" fmla="*/ 81 w 81"/>
              <a:gd name="T66" fmla="*/ 66 h 6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81" h="66">
                <a:moveTo>
                  <a:pt x="15" y="8"/>
                </a:moveTo>
                <a:lnTo>
                  <a:pt x="40" y="0"/>
                </a:lnTo>
                <a:lnTo>
                  <a:pt x="55" y="0"/>
                </a:lnTo>
                <a:lnTo>
                  <a:pt x="72" y="8"/>
                </a:lnTo>
                <a:lnTo>
                  <a:pt x="80" y="0"/>
                </a:lnTo>
                <a:lnTo>
                  <a:pt x="72" y="17"/>
                </a:lnTo>
                <a:lnTo>
                  <a:pt x="55" y="8"/>
                </a:lnTo>
                <a:lnTo>
                  <a:pt x="47" y="17"/>
                </a:lnTo>
                <a:lnTo>
                  <a:pt x="47" y="24"/>
                </a:lnTo>
                <a:lnTo>
                  <a:pt x="40" y="24"/>
                </a:lnTo>
                <a:lnTo>
                  <a:pt x="31" y="17"/>
                </a:lnTo>
                <a:lnTo>
                  <a:pt x="31" y="24"/>
                </a:lnTo>
                <a:lnTo>
                  <a:pt x="40" y="40"/>
                </a:lnTo>
                <a:lnTo>
                  <a:pt x="55" y="57"/>
                </a:lnTo>
                <a:lnTo>
                  <a:pt x="47" y="57"/>
                </a:lnTo>
                <a:lnTo>
                  <a:pt x="47" y="65"/>
                </a:lnTo>
                <a:lnTo>
                  <a:pt x="31" y="57"/>
                </a:lnTo>
                <a:lnTo>
                  <a:pt x="15" y="57"/>
                </a:lnTo>
                <a:lnTo>
                  <a:pt x="0" y="33"/>
                </a:lnTo>
                <a:lnTo>
                  <a:pt x="15" y="17"/>
                </a:lnTo>
                <a:lnTo>
                  <a:pt x="15" y="8"/>
                </a:lnTo>
              </a:path>
            </a:pathLst>
          </a:custGeom>
          <a:solidFill>
            <a:srgbClr val="FF00FF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71" name="Freeform 135"/>
          <p:cNvSpPr>
            <a:spLocks/>
          </p:cNvSpPr>
          <p:nvPr>
            <p:custDataLst>
              <p:tags r:id="rId282"/>
            </p:custDataLst>
          </p:nvPr>
        </p:nvSpPr>
        <p:spPr bwMode="gray">
          <a:xfrm>
            <a:off x="4992688" y="4333875"/>
            <a:ext cx="155575" cy="117475"/>
          </a:xfrm>
          <a:custGeom>
            <a:avLst/>
            <a:gdLst>
              <a:gd name="T0" fmla="*/ 0 w 98"/>
              <a:gd name="T1" fmla="*/ 2147483647 h 73"/>
              <a:gd name="T2" fmla="*/ 2147483647 w 98"/>
              <a:gd name="T3" fmla="*/ 2147483647 h 73"/>
              <a:gd name="T4" fmla="*/ 2147483647 w 98"/>
              <a:gd name="T5" fmla="*/ 2147483647 h 73"/>
              <a:gd name="T6" fmla="*/ 2147483647 w 98"/>
              <a:gd name="T7" fmla="*/ 2147483647 h 73"/>
              <a:gd name="T8" fmla="*/ 2147483647 w 98"/>
              <a:gd name="T9" fmla="*/ 2147483647 h 73"/>
              <a:gd name="T10" fmla="*/ 2147483647 w 98"/>
              <a:gd name="T11" fmla="*/ 2147483647 h 73"/>
              <a:gd name="T12" fmla="*/ 2147483647 w 98"/>
              <a:gd name="T13" fmla="*/ 2147483647 h 73"/>
              <a:gd name="T14" fmla="*/ 2147483647 w 98"/>
              <a:gd name="T15" fmla="*/ 0 h 73"/>
              <a:gd name="T16" fmla="*/ 2147483647 w 98"/>
              <a:gd name="T17" fmla="*/ 2147483647 h 73"/>
              <a:gd name="T18" fmla="*/ 2147483647 w 98"/>
              <a:gd name="T19" fmla="*/ 0 h 73"/>
              <a:gd name="T20" fmla="*/ 2147483647 w 98"/>
              <a:gd name="T21" fmla="*/ 0 h 73"/>
              <a:gd name="T22" fmla="*/ 2147483647 w 98"/>
              <a:gd name="T23" fmla="*/ 2147483647 h 73"/>
              <a:gd name="T24" fmla="*/ 2147483647 w 98"/>
              <a:gd name="T25" fmla="*/ 2147483647 h 73"/>
              <a:gd name="T26" fmla="*/ 2147483647 w 98"/>
              <a:gd name="T27" fmla="*/ 2147483647 h 73"/>
              <a:gd name="T28" fmla="*/ 2147483647 w 98"/>
              <a:gd name="T29" fmla="*/ 2147483647 h 73"/>
              <a:gd name="T30" fmla="*/ 2147483647 w 98"/>
              <a:gd name="T31" fmla="*/ 2147483647 h 73"/>
              <a:gd name="T32" fmla="*/ 0 w 98"/>
              <a:gd name="T33" fmla="*/ 2147483647 h 7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98"/>
              <a:gd name="T52" fmla="*/ 0 h 73"/>
              <a:gd name="T53" fmla="*/ 98 w 98"/>
              <a:gd name="T54" fmla="*/ 73 h 73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98" h="73">
                <a:moveTo>
                  <a:pt x="0" y="72"/>
                </a:moveTo>
                <a:lnTo>
                  <a:pt x="8" y="66"/>
                </a:lnTo>
                <a:lnTo>
                  <a:pt x="17" y="49"/>
                </a:lnTo>
                <a:lnTo>
                  <a:pt x="8" y="41"/>
                </a:lnTo>
                <a:lnTo>
                  <a:pt x="8" y="16"/>
                </a:lnTo>
                <a:lnTo>
                  <a:pt x="17" y="16"/>
                </a:lnTo>
                <a:lnTo>
                  <a:pt x="17" y="9"/>
                </a:lnTo>
                <a:lnTo>
                  <a:pt x="42" y="0"/>
                </a:lnTo>
                <a:lnTo>
                  <a:pt x="48" y="9"/>
                </a:lnTo>
                <a:lnTo>
                  <a:pt x="73" y="0"/>
                </a:lnTo>
                <a:lnTo>
                  <a:pt x="97" y="0"/>
                </a:lnTo>
                <a:lnTo>
                  <a:pt x="82" y="9"/>
                </a:lnTo>
                <a:lnTo>
                  <a:pt x="73" y="41"/>
                </a:lnTo>
                <a:lnTo>
                  <a:pt x="48" y="56"/>
                </a:lnTo>
                <a:lnTo>
                  <a:pt x="42" y="56"/>
                </a:lnTo>
                <a:lnTo>
                  <a:pt x="17" y="72"/>
                </a:lnTo>
                <a:lnTo>
                  <a:pt x="0" y="72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72" name="Freeform 136"/>
          <p:cNvSpPr>
            <a:spLocks/>
          </p:cNvSpPr>
          <p:nvPr>
            <p:custDataLst>
              <p:tags r:id="rId283"/>
            </p:custDataLst>
          </p:nvPr>
        </p:nvSpPr>
        <p:spPr bwMode="gray">
          <a:xfrm>
            <a:off x="4981575" y="4422775"/>
            <a:ext cx="88900" cy="104775"/>
          </a:xfrm>
          <a:custGeom>
            <a:avLst/>
            <a:gdLst>
              <a:gd name="T0" fmla="*/ 2147483647 w 57"/>
              <a:gd name="T1" fmla="*/ 2147483647 h 66"/>
              <a:gd name="T2" fmla="*/ 2147483647 w 57"/>
              <a:gd name="T3" fmla="*/ 0 h 66"/>
              <a:gd name="T4" fmla="*/ 2147483647 w 57"/>
              <a:gd name="T5" fmla="*/ 0 h 66"/>
              <a:gd name="T6" fmla="*/ 2147483647 w 57"/>
              <a:gd name="T7" fmla="*/ 2147483647 h 66"/>
              <a:gd name="T8" fmla="*/ 2147483647 w 57"/>
              <a:gd name="T9" fmla="*/ 2147483647 h 66"/>
              <a:gd name="T10" fmla="*/ 2147483647 w 57"/>
              <a:gd name="T11" fmla="*/ 2147483647 h 66"/>
              <a:gd name="T12" fmla="*/ 2147483647 w 57"/>
              <a:gd name="T13" fmla="*/ 2147483647 h 66"/>
              <a:gd name="T14" fmla="*/ 0 w 57"/>
              <a:gd name="T15" fmla="*/ 2147483647 h 66"/>
              <a:gd name="T16" fmla="*/ 2147483647 w 57"/>
              <a:gd name="T17" fmla="*/ 2147483647 h 66"/>
              <a:gd name="T18" fmla="*/ 2147483647 w 57"/>
              <a:gd name="T19" fmla="*/ 2147483647 h 66"/>
              <a:gd name="T20" fmla="*/ 2147483647 w 57"/>
              <a:gd name="T21" fmla="*/ 2147483647 h 66"/>
              <a:gd name="T22" fmla="*/ 2147483647 w 57"/>
              <a:gd name="T23" fmla="*/ 2147483647 h 66"/>
              <a:gd name="T24" fmla="*/ 2147483647 w 57"/>
              <a:gd name="T25" fmla="*/ 2147483647 h 66"/>
              <a:gd name="T26" fmla="*/ 2147483647 w 57"/>
              <a:gd name="T27" fmla="*/ 2147483647 h 6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57"/>
              <a:gd name="T43" fmla="*/ 0 h 66"/>
              <a:gd name="T44" fmla="*/ 57 w 57"/>
              <a:gd name="T45" fmla="*/ 66 h 6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57" h="66">
                <a:moveTo>
                  <a:pt x="56" y="16"/>
                </a:moveTo>
                <a:lnTo>
                  <a:pt x="56" y="0"/>
                </a:lnTo>
                <a:lnTo>
                  <a:pt x="50" y="0"/>
                </a:lnTo>
                <a:lnTo>
                  <a:pt x="25" y="16"/>
                </a:lnTo>
                <a:lnTo>
                  <a:pt x="8" y="16"/>
                </a:lnTo>
                <a:lnTo>
                  <a:pt x="8" y="25"/>
                </a:lnTo>
                <a:lnTo>
                  <a:pt x="8" y="41"/>
                </a:lnTo>
                <a:lnTo>
                  <a:pt x="0" y="65"/>
                </a:lnTo>
                <a:lnTo>
                  <a:pt x="16" y="65"/>
                </a:lnTo>
                <a:lnTo>
                  <a:pt x="25" y="57"/>
                </a:lnTo>
                <a:lnTo>
                  <a:pt x="31" y="57"/>
                </a:lnTo>
                <a:lnTo>
                  <a:pt x="41" y="41"/>
                </a:lnTo>
                <a:lnTo>
                  <a:pt x="31" y="34"/>
                </a:lnTo>
                <a:lnTo>
                  <a:pt x="56" y="16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73" name="Freeform 137"/>
          <p:cNvSpPr>
            <a:spLocks/>
          </p:cNvSpPr>
          <p:nvPr>
            <p:custDataLst>
              <p:tags r:id="rId284"/>
            </p:custDataLst>
          </p:nvPr>
        </p:nvSpPr>
        <p:spPr bwMode="gray">
          <a:xfrm>
            <a:off x="4992688" y="4398963"/>
            <a:ext cx="30162" cy="42862"/>
          </a:xfrm>
          <a:custGeom>
            <a:avLst/>
            <a:gdLst>
              <a:gd name="T0" fmla="*/ 2147483647 w 18"/>
              <a:gd name="T1" fmla="*/ 2147483647 h 26"/>
              <a:gd name="T2" fmla="*/ 0 w 18"/>
              <a:gd name="T3" fmla="*/ 2147483647 h 26"/>
              <a:gd name="T4" fmla="*/ 2147483647 w 18"/>
              <a:gd name="T5" fmla="*/ 0 h 26"/>
              <a:gd name="T6" fmla="*/ 2147483647 w 18"/>
              <a:gd name="T7" fmla="*/ 2147483647 h 26"/>
              <a:gd name="T8" fmla="*/ 2147483647 w 18"/>
              <a:gd name="T9" fmla="*/ 2147483647 h 2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8"/>
              <a:gd name="T16" fmla="*/ 0 h 26"/>
              <a:gd name="T17" fmla="*/ 18 w 18"/>
              <a:gd name="T18" fmla="*/ 26 h 2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8" h="26">
                <a:moveTo>
                  <a:pt x="8" y="25"/>
                </a:moveTo>
                <a:lnTo>
                  <a:pt x="0" y="25"/>
                </a:lnTo>
                <a:lnTo>
                  <a:pt x="8" y="0"/>
                </a:lnTo>
                <a:lnTo>
                  <a:pt x="17" y="8"/>
                </a:lnTo>
                <a:lnTo>
                  <a:pt x="8" y="25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74" name="Freeform 138"/>
          <p:cNvSpPr>
            <a:spLocks/>
          </p:cNvSpPr>
          <p:nvPr>
            <p:custDataLst>
              <p:tags r:id="rId285"/>
            </p:custDataLst>
          </p:nvPr>
        </p:nvSpPr>
        <p:spPr bwMode="gray">
          <a:xfrm>
            <a:off x="4992688" y="4398963"/>
            <a:ext cx="30162" cy="42862"/>
          </a:xfrm>
          <a:custGeom>
            <a:avLst/>
            <a:gdLst>
              <a:gd name="T0" fmla="*/ 2147483647 w 18"/>
              <a:gd name="T1" fmla="*/ 2147483647 h 26"/>
              <a:gd name="T2" fmla="*/ 0 w 18"/>
              <a:gd name="T3" fmla="*/ 2147483647 h 26"/>
              <a:gd name="T4" fmla="*/ 2147483647 w 18"/>
              <a:gd name="T5" fmla="*/ 0 h 26"/>
              <a:gd name="T6" fmla="*/ 2147483647 w 18"/>
              <a:gd name="T7" fmla="*/ 2147483647 h 26"/>
              <a:gd name="T8" fmla="*/ 2147483647 w 18"/>
              <a:gd name="T9" fmla="*/ 2147483647 h 2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8"/>
              <a:gd name="T16" fmla="*/ 0 h 26"/>
              <a:gd name="T17" fmla="*/ 18 w 18"/>
              <a:gd name="T18" fmla="*/ 26 h 2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8" h="26">
                <a:moveTo>
                  <a:pt x="8" y="25"/>
                </a:moveTo>
                <a:lnTo>
                  <a:pt x="0" y="25"/>
                </a:lnTo>
                <a:lnTo>
                  <a:pt x="8" y="0"/>
                </a:lnTo>
                <a:lnTo>
                  <a:pt x="17" y="8"/>
                </a:lnTo>
                <a:lnTo>
                  <a:pt x="8" y="25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75" name="Freeform 139"/>
          <p:cNvSpPr>
            <a:spLocks/>
          </p:cNvSpPr>
          <p:nvPr>
            <p:custDataLst>
              <p:tags r:id="rId286"/>
            </p:custDataLst>
          </p:nvPr>
        </p:nvSpPr>
        <p:spPr bwMode="gray">
          <a:xfrm>
            <a:off x="4967288" y="4438650"/>
            <a:ext cx="41275" cy="88900"/>
          </a:xfrm>
          <a:custGeom>
            <a:avLst/>
            <a:gdLst>
              <a:gd name="T0" fmla="*/ 2147483647 w 26"/>
              <a:gd name="T1" fmla="*/ 2147483647 h 56"/>
              <a:gd name="T2" fmla="*/ 2147483647 w 26"/>
              <a:gd name="T3" fmla="*/ 2147483647 h 56"/>
              <a:gd name="T4" fmla="*/ 2147483647 w 26"/>
              <a:gd name="T5" fmla="*/ 2147483647 h 56"/>
              <a:gd name="T6" fmla="*/ 2147483647 w 26"/>
              <a:gd name="T7" fmla="*/ 2147483647 h 56"/>
              <a:gd name="T8" fmla="*/ 0 w 26"/>
              <a:gd name="T9" fmla="*/ 2147483647 h 56"/>
              <a:gd name="T10" fmla="*/ 2147483647 w 26"/>
              <a:gd name="T11" fmla="*/ 2147483647 h 56"/>
              <a:gd name="T12" fmla="*/ 2147483647 w 26"/>
              <a:gd name="T13" fmla="*/ 0 h 56"/>
              <a:gd name="T14" fmla="*/ 2147483647 w 26"/>
              <a:gd name="T15" fmla="*/ 0 h 56"/>
              <a:gd name="T16" fmla="*/ 2147483647 w 26"/>
              <a:gd name="T17" fmla="*/ 2147483647 h 5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6"/>
              <a:gd name="T28" fmla="*/ 0 h 56"/>
              <a:gd name="T29" fmla="*/ 26 w 26"/>
              <a:gd name="T30" fmla="*/ 56 h 5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6" h="56">
                <a:moveTo>
                  <a:pt x="17" y="6"/>
                </a:moveTo>
                <a:lnTo>
                  <a:pt x="17" y="15"/>
                </a:lnTo>
                <a:lnTo>
                  <a:pt x="17" y="31"/>
                </a:lnTo>
                <a:lnTo>
                  <a:pt x="9" y="55"/>
                </a:lnTo>
                <a:lnTo>
                  <a:pt x="0" y="24"/>
                </a:lnTo>
                <a:lnTo>
                  <a:pt x="9" y="15"/>
                </a:lnTo>
                <a:lnTo>
                  <a:pt x="17" y="0"/>
                </a:lnTo>
                <a:lnTo>
                  <a:pt x="25" y="0"/>
                </a:lnTo>
                <a:lnTo>
                  <a:pt x="17" y="6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76" name="Freeform 140"/>
          <p:cNvSpPr>
            <a:spLocks/>
          </p:cNvSpPr>
          <p:nvPr>
            <p:custDataLst>
              <p:tags r:id="rId287"/>
            </p:custDataLst>
          </p:nvPr>
        </p:nvSpPr>
        <p:spPr bwMode="gray">
          <a:xfrm>
            <a:off x="4967288" y="4438650"/>
            <a:ext cx="41275" cy="88900"/>
          </a:xfrm>
          <a:custGeom>
            <a:avLst/>
            <a:gdLst>
              <a:gd name="T0" fmla="*/ 2147483647 w 26"/>
              <a:gd name="T1" fmla="*/ 2147483647 h 56"/>
              <a:gd name="T2" fmla="*/ 2147483647 w 26"/>
              <a:gd name="T3" fmla="*/ 2147483647 h 56"/>
              <a:gd name="T4" fmla="*/ 2147483647 w 26"/>
              <a:gd name="T5" fmla="*/ 2147483647 h 56"/>
              <a:gd name="T6" fmla="*/ 2147483647 w 26"/>
              <a:gd name="T7" fmla="*/ 2147483647 h 56"/>
              <a:gd name="T8" fmla="*/ 0 w 26"/>
              <a:gd name="T9" fmla="*/ 2147483647 h 56"/>
              <a:gd name="T10" fmla="*/ 2147483647 w 26"/>
              <a:gd name="T11" fmla="*/ 2147483647 h 56"/>
              <a:gd name="T12" fmla="*/ 2147483647 w 26"/>
              <a:gd name="T13" fmla="*/ 0 h 56"/>
              <a:gd name="T14" fmla="*/ 2147483647 w 26"/>
              <a:gd name="T15" fmla="*/ 0 h 56"/>
              <a:gd name="T16" fmla="*/ 2147483647 w 26"/>
              <a:gd name="T17" fmla="*/ 2147483647 h 5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6"/>
              <a:gd name="T28" fmla="*/ 0 h 56"/>
              <a:gd name="T29" fmla="*/ 26 w 26"/>
              <a:gd name="T30" fmla="*/ 56 h 5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6" h="56">
                <a:moveTo>
                  <a:pt x="17" y="6"/>
                </a:moveTo>
                <a:lnTo>
                  <a:pt x="17" y="15"/>
                </a:lnTo>
                <a:lnTo>
                  <a:pt x="17" y="31"/>
                </a:lnTo>
                <a:lnTo>
                  <a:pt x="9" y="55"/>
                </a:lnTo>
                <a:lnTo>
                  <a:pt x="0" y="24"/>
                </a:lnTo>
                <a:lnTo>
                  <a:pt x="9" y="15"/>
                </a:lnTo>
                <a:lnTo>
                  <a:pt x="17" y="0"/>
                </a:lnTo>
                <a:lnTo>
                  <a:pt x="25" y="0"/>
                </a:lnTo>
                <a:lnTo>
                  <a:pt x="17" y="6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77" name="Freeform 141"/>
          <p:cNvSpPr>
            <a:spLocks/>
          </p:cNvSpPr>
          <p:nvPr>
            <p:custDataLst>
              <p:tags r:id="rId288"/>
            </p:custDataLst>
          </p:nvPr>
        </p:nvSpPr>
        <p:spPr bwMode="gray">
          <a:xfrm>
            <a:off x="5068888" y="4324350"/>
            <a:ext cx="193675" cy="203200"/>
          </a:xfrm>
          <a:custGeom>
            <a:avLst/>
            <a:gdLst>
              <a:gd name="T0" fmla="*/ 2147483647 w 123"/>
              <a:gd name="T1" fmla="*/ 2147483647 h 130"/>
              <a:gd name="T2" fmla="*/ 2147483647 w 123"/>
              <a:gd name="T3" fmla="*/ 2147483647 h 130"/>
              <a:gd name="T4" fmla="*/ 2147483647 w 123"/>
              <a:gd name="T5" fmla="*/ 2147483647 h 130"/>
              <a:gd name="T6" fmla="*/ 2147483647 w 123"/>
              <a:gd name="T7" fmla="*/ 2147483647 h 130"/>
              <a:gd name="T8" fmla="*/ 2147483647 w 123"/>
              <a:gd name="T9" fmla="*/ 2147483647 h 130"/>
              <a:gd name="T10" fmla="*/ 2147483647 w 123"/>
              <a:gd name="T11" fmla="*/ 2147483647 h 130"/>
              <a:gd name="T12" fmla="*/ 2147483647 w 123"/>
              <a:gd name="T13" fmla="*/ 2147483647 h 130"/>
              <a:gd name="T14" fmla="*/ 2147483647 w 123"/>
              <a:gd name="T15" fmla="*/ 2147483647 h 130"/>
              <a:gd name="T16" fmla="*/ 2147483647 w 123"/>
              <a:gd name="T17" fmla="*/ 2147483647 h 130"/>
              <a:gd name="T18" fmla="*/ 2147483647 w 123"/>
              <a:gd name="T19" fmla="*/ 2147483647 h 130"/>
              <a:gd name="T20" fmla="*/ 2147483647 w 123"/>
              <a:gd name="T21" fmla="*/ 2147483647 h 130"/>
              <a:gd name="T22" fmla="*/ 2147483647 w 123"/>
              <a:gd name="T23" fmla="*/ 2147483647 h 130"/>
              <a:gd name="T24" fmla="*/ 2147483647 w 123"/>
              <a:gd name="T25" fmla="*/ 2147483647 h 130"/>
              <a:gd name="T26" fmla="*/ 2147483647 w 123"/>
              <a:gd name="T27" fmla="*/ 2147483647 h 130"/>
              <a:gd name="T28" fmla="*/ 2147483647 w 123"/>
              <a:gd name="T29" fmla="*/ 2147483647 h 130"/>
              <a:gd name="T30" fmla="*/ 2147483647 w 123"/>
              <a:gd name="T31" fmla="*/ 2147483647 h 130"/>
              <a:gd name="T32" fmla="*/ 2147483647 w 123"/>
              <a:gd name="T33" fmla="*/ 2147483647 h 130"/>
              <a:gd name="T34" fmla="*/ 2147483647 w 123"/>
              <a:gd name="T35" fmla="*/ 2147483647 h 130"/>
              <a:gd name="T36" fmla="*/ 0 w 123"/>
              <a:gd name="T37" fmla="*/ 2147483647 h 130"/>
              <a:gd name="T38" fmla="*/ 0 w 123"/>
              <a:gd name="T39" fmla="*/ 2147483647 h 130"/>
              <a:gd name="T40" fmla="*/ 2147483647 w 123"/>
              <a:gd name="T41" fmla="*/ 2147483647 h 130"/>
              <a:gd name="T42" fmla="*/ 2147483647 w 123"/>
              <a:gd name="T43" fmla="*/ 2147483647 h 130"/>
              <a:gd name="T44" fmla="*/ 2147483647 w 123"/>
              <a:gd name="T45" fmla="*/ 2147483647 h 130"/>
              <a:gd name="T46" fmla="*/ 2147483647 w 123"/>
              <a:gd name="T47" fmla="*/ 0 h 130"/>
              <a:gd name="T48" fmla="*/ 2147483647 w 123"/>
              <a:gd name="T49" fmla="*/ 2147483647 h 130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23"/>
              <a:gd name="T76" fmla="*/ 0 h 130"/>
              <a:gd name="T77" fmla="*/ 123 w 123"/>
              <a:gd name="T78" fmla="*/ 130 h 130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23" h="130">
                <a:moveTo>
                  <a:pt x="74" y="8"/>
                </a:moveTo>
                <a:lnTo>
                  <a:pt x="81" y="24"/>
                </a:lnTo>
                <a:lnTo>
                  <a:pt x="90" y="24"/>
                </a:lnTo>
                <a:lnTo>
                  <a:pt x="90" y="40"/>
                </a:lnTo>
                <a:lnTo>
                  <a:pt x="81" y="57"/>
                </a:lnTo>
                <a:lnTo>
                  <a:pt x="90" y="74"/>
                </a:lnTo>
                <a:lnTo>
                  <a:pt x="106" y="80"/>
                </a:lnTo>
                <a:lnTo>
                  <a:pt x="114" y="105"/>
                </a:lnTo>
                <a:lnTo>
                  <a:pt x="122" y="114"/>
                </a:lnTo>
                <a:lnTo>
                  <a:pt x="122" y="121"/>
                </a:lnTo>
                <a:lnTo>
                  <a:pt x="106" y="121"/>
                </a:lnTo>
                <a:lnTo>
                  <a:pt x="97" y="129"/>
                </a:lnTo>
                <a:lnTo>
                  <a:pt x="81" y="121"/>
                </a:lnTo>
                <a:lnTo>
                  <a:pt x="74" y="129"/>
                </a:lnTo>
                <a:lnTo>
                  <a:pt x="57" y="121"/>
                </a:lnTo>
                <a:lnTo>
                  <a:pt x="57" y="114"/>
                </a:lnTo>
                <a:lnTo>
                  <a:pt x="49" y="105"/>
                </a:lnTo>
                <a:lnTo>
                  <a:pt x="25" y="89"/>
                </a:lnTo>
                <a:lnTo>
                  <a:pt x="0" y="80"/>
                </a:lnTo>
                <a:lnTo>
                  <a:pt x="0" y="64"/>
                </a:lnTo>
                <a:lnTo>
                  <a:pt x="25" y="49"/>
                </a:lnTo>
                <a:lnTo>
                  <a:pt x="34" y="17"/>
                </a:lnTo>
                <a:lnTo>
                  <a:pt x="49" y="8"/>
                </a:lnTo>
                <a:lnTo>
                  <a:pt x="49" y="0"/>
                </a:lnTo>
                <a:lnTo>
                  <a:pt x="74" y="8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78" name="Freeform 142"/>
          <p:cNvSpPr>
            <a:spLocks/>
          </p:cNvSpPr>
          <p:nvPr>
            <p:custDataLst>
              <p:tags r:id="rId289"/>
            </p:custDataLst>
          </p:nvPr>
        </p:nvSpPr>
        <p:spPr bwMode="gray">
          <a:xfrm>
            <a:off x="5186363" y="4513263"/>
            <a:ext cx="38100" cy="25400"/>
          </a:xfrm>
          <a:custGeom>
            <a:avLst/>
            <a:gdLst>
              <a:gd name="T0" fmla="*/ 0 w 24"/>
              <a:gd name="T1" fmla="*/ 2147483647 h 17"/>
              <a:gd name="T2" fmla="*/ 2147483647 w 24"/>
              <a:gd name="T3" fmla="*/ 0 h 17"/>
              <a:gd name="T4" fmla="*/ 2147483647 w 24"/>
              <a:gd name="T5" fmla="*/ 2147483647 h 17"/>
              <a:gd name="T6" fmla="*/ 2147483647 w 24"/>
              <a:gd name="T7" fmla="*/ 2147483647 h 17"/>
              <a:gd name="T8" fmla="*/ 0 w 24"/>
              <a:gd name="T9" fmla="*/ 2147483647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4"/>
              <a:gd name="T16" fmla="*/ 0 h 17"/>
              <a:gd name="T17" fmla="*/ 24 w 24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4" h="17">
                <a:moveTo>
                  <a:pt x="0" y="8"/>
                </a:moveTo>
                <a:lnTo>
                  <a:pt x="7" y="0"/>
                </a:lnTo>
                <a:lnTo>
                  <a:pt x="23" y="8"/>
                </a:lnTo>
                <a:lnTo>
                  <a:pt x="7" y="16"/>
                </a:lnTo>
                <a:lnTo>
                  <a:pt x="0" y="8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79" name="Freeform 143"/>
          <p:cNvSpPr>
            <a:spLocks/>
          </p:cNvSpPr>
          <p:nvPr>
            <p:custDataLst>
              <p:tags r:id="rId290"/>
            </p:custDataLst>
          </p:nvPr>
        </p:nvSpPr>
        <p:spPr bwMode="gray">
          <a:xfrm>
            <a:off x="5186363" y="4513263"/>
            <a:ext cx="38100" cy="25400"/>
          </a:xfrm>
          <a:custGeom>
            <a:avLst/>
            <a:gdLst>
              <a:gd name="T0" fmla="*/ 0 w 24"/>
              <a:gd name="T1" fmla="*/ 2147483647 h 17"/>
              <a:gd name="T2" fmla="*/ 2147483647 w 24"/>
              <a:gd name="T3" fmla="*/ 0 h 17"/>
              <a:gd name="T4" fmla="*/ 2147483647 w 24"/>
              <a:gd name="T5" fmla="*/ 2147483647 h 17"/>
              <a:gd name="T6" fmla="*/ 2147483647 w 24"/>
              <a:gd name="T7" fmla="*/ 2147483647 h 17"/>
              <a:gd name="T8" fmla="*/ 0 w 24"/>
              <a:gd name="T9" fmla="*/ 2147483647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4"/>
              <a:gd name="T16" fmla="*/ 0 h 17"/>
              <a:gd name="T17" fmla="*/ 24 w 24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4" h="17">
                <a:moveTo>
                  <a:pt x="0" y="8"/>
                </a:moveTo>
                <a:lnTo>
                  <a:pt x="7" y="0"/>
                </a:lnTo>
                <a:lnTo>
                  <a:pt x="23" y="8"/>
                </a:lnTo>
                <a:lnTo>
                  <a:pt x="7" y="16"/>
                </a:lnTo>
                <a:lnTo>
                  <a:pt x="0" y="8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80" name="Freeform 144"/>
          <p:cNvSpPr>
            <a:spLocks/>
          </p:cNvSpPr>
          <p:nvPr>
            <p:custDataLst>
              <p:tags r:id="rId291"/>
            </p:custDataLst>
          </p:nvPr>
        </p:nvSpPr>
        <p:spPr bwMode="gray">
          <a:xfrm>
            <a:off x="5222875" y="4513263"/>
            <a:ext cx="39688" cy="25400"/>
          </a:xfrm>
          <a:custGeom>
            <a:avLst/>
            <a:gdLst>
              <a:gd name="T0" fmla="*/ 0 w 26"/>
              <a:gd name="T1" fmla="*/ 2147483647 h 17"/>
              <a:gd name="T2" fmla="*/ 2147483647 w 26"/>
              <a:gd name="T3" fmla="*/ 0 h 17"/>
              <a:gd name="T4" fmla="*/ 2147483647 w 26"/>
              <a:gd name="T5" fmla="*/ 0 h 17"/>
              <a:gd name="T6" fmla="*/ 2147483647 w 26"/>
              <a:gd name="T7" fmla="*/ 2147483647 h 17"/>
              <a:gd name="T8" fmla="*/ 2147483647 w 26"/>
              <a:gd name="T9" fmla="*/ 2147483647 h 17"/>
              <a:gd name="T10" fmla="*/ 0 w 26"/>
              <a:gd name="T11" fmla="*/ 2147483647 h 1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6"/>
              <a:gd name="T19" fmla="*/ 0 h 17"/>
              <a:gd name="T20" fmla="*/ 26 w 26"/>
              <a:gd name="T21" fmla="*/ 17 h 1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6" h="17">
                <a:moveTo>
                  <a:pt x="0" y="8"/>
                </a:moveTo>
                <a:lnTo>
                  <a:pt x="9" y="0"/>
                </a:lnTo>
                <a:lnTo>
                  <a:pt x="25" y="0"/>
                </a:lnTo>
                <a:lnTo>
                  <a:pt x="17" y="8"/>
                </a:lnTo>
                <a:lnTo>
                  <a:pt x="25" y="16"/>
                </a:lnTo>
                <a:lnTo>
                  <a:pt x="0" y="8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81" name="Freeform 145"/>
          <p:cNvSpPr>
            <a:spLocks/>
          </p:cNvSpPr>
          <p:nvPr>
            <p:custDataLst>
              <p:tags r:id="rId292"/>
            </p:custDataLst>
          </p:nvPr>
        </p:nvSpPr>
        <p:spPr bwMode="gray">
          <a:xfrm>
            <a:off x="5222875" y="4513263"/>
            <a:ext cx="39688" cy="25400"/>
          </a:xfrm>
          <a:custGeom>
            <a:avLst/>
            <a:gdLst>
              <a:gd name="T0" fmla="*/ 0 w 26"/>
              <a:gd name="T1" fmla="*/ 2147483647 h 17"/>
              <a:gd name="T2" fmla="*/ 2147483647 w 26"/>
              <a:gd name="T3" fmla="*/ 0 h 17"/>
              <a:gd name="T4" fmla="*/ 2147483647 w 26"/>
              <a:gd name="T5" fmla="*/ 0 h 17"/>
              <a:gd name="T6" fmla="*/ 2147483647 w 26"/>
              <a:gd name="T7" fmla="*/ 2147483647 h 17"/>
              <a:gd name="T8" fmla="*/ 2147483647 w 26"/>
              <a:gd name="T9" fmla="*/ 2147483647 h 17"/>
              <a:gd name="T10" fmla="*/ 0 w 26"/>
              <a:gd name="T11" fmla="*/ 2147483647 h 1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6"/>
              <a:gd name="T19" fmla="*/ 0 h 17"/>
              <a:gd name="T20" fmla="*/ 26 w 26"/>
              <a:gd name="T21" fmla="*/ 17 h 1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6" h="17">
                <a:moveTo>
                  <a:pt x="0" y="8"/>
                </a:moveTo>
                <a:lnTo>
                  <a:pt x="9" y="0"/>
                </a:lnTo>
                <a:lnTo>
                  <a:pt x="25" y="0"/>
                </a:lnTo>
                <a:lnTo>
                  <a:pt x="17" y="8"/>
                </a:lnTo>
                <a:lnTo>
                  <a:pt x="25" y="16"/>
                </a:lnTo>
                <a:lnTo>
                  <a:pt x="0" y="8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82" name="Freeform 147"/>
          <p:cNvSpPr>
            <a:spLocks/>
          </p:cNvSpPr>
          <p:nvPr>
            <p:custDataLst>
              <p:tags r:id="rId293"/>
            </p:custDataLst>
          </p:nvPr>
        </p:nvSpPr>
        <p:spPr bwMode="gray">
          <a:xfrm>
            <a:off x="5299075" y="4600575"/>
            <a:ext cx="28575" cy="41275"/>
          </a:xfrm>
          <a:custGeom>
            <a:avLst/>
            <a:gdLst>
              <a:gd name="T0" fmla="*/ 2147483647 w 17"/>
              <a:gd name="T1" fmla="*/ 2147483647 h 26"/>
              <a:gd name="T2" fmla="*/ 0 w 17"/>
              <a:gd name="T3" fmla="*/ 2147483647 h 26"/>
              <a:gd name="T4" fmla="*/ 2147483647 w 17"/>
              <a:gd name="T5" fmla="*/ 0 h 26"/>
              <a:gd name="T6" fmla="*/ 2147483647 w 17"/>
              <a:gd name="T7" fmla="*/ 0 h 26"/>
              <a:gd name="T8" fmla="*/ 2147483647 w 17"/>
              <a:gd name="T9" fmla="*/ 2147483647 h 2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26"/>
              <a:gd name="T17" fmla="*/ 17 w 17"/>
              <a:gd name="T18" fmla="*/ 26 h 2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26">
                <a:moveTo>
                  <a:pt x="10" y="25"/>
                </a:moveTo>
                <a:lnTo>
                  <a:pt x="0" y="9"/>
                </a:lnTo>
                <a:lnTo>
                  <a:pt x="10" y="0"/>
                </a:lnTo>
                <a:lnTo>
                  <a:pt x="16" y="0"/>
                </a:lnTo>
                <a:lnTo>
                  <a:pt x="10" y="25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83" name="Freeform 168"/>
          <p:cNvSpPr>
            <a:spLocks/>
          </p:cNvSpPr>
          <p:nvPr>
            <p:custDataLst>
              <p:tags r:id="rId294"/>
            </p:custDataLst>
          </p:nvPr>
        </p:nvSpPr>
        <p:spPr bwMode="gray">
          <a:xfrm>
            <a:off x="4024313" y="4373563"/>
            <a:ext cx="246062" cy="192087"/>
          </a:xfrm>
          <a:custGeom>
            <a:avLst/>
            <a:gdLst>
              <a:gd name="T0" fmla="*/ 2147483647 w 156"/>
              <a:gd name="T1" fmla="*/ 2147483647 h 123"/>
              <a:gd name="T2" fmla="*/ 2147483647 w 156"/>
              <a:gd name="T3" fmla="*/ 2147483647 h 123"/>
              <a:gd name="T4" fmla="*/ 2147483647 w 156"/>
              <a:gd name="T5" fmla="*/ 2147483647 h 123"/>
              <a:gd name="T6" fmla="*/ 2147483647 w 156"/>
              <a:gd name="T7" fmla="*/ 2147483647 h 123"/>
              <a:gd name="T8" fmla="*/ 2147483647 w 156"/>
              <a:gd name="T9" fmla="*/ 2147483647 h 123"/>
              <a:gd name="T10" fmla="*/ 2147483647 w 156"/>
              <a:gd name="T11" fmla="*/ 2147483647 h 123"/>
              <a:gd name="T12" fmla="*/ 2147483647 w 156"/>
              <a:gd name="T13" fmla="*/ 2147483647 h 123"/>
              <a:gd name="T14" fmla="*/ 2147483647 w 156"/>
              <a:gd name="T15" fmla="*/ 2147483647 h 123"/>
              <a:gd name="T16" fmla="*/ 2147483647 w 156"/>
              <a:gd name="T17" fmla="*/ 2147483647 h 123"/>
              <a:gd name="T18" fmla="*/ 0 w 156"/>
              <a:gd name="T19" fmla="*/ 2147483647 h 123"/>
              <a:gd name="T20" fmla="*/ 2147483647 w 156"/>
              <a:gd name="T21" fmla="*/ 2147483647 h 123"/>
              <a:gd name="T22" fmla="*/ 2147483647 w 156"/>
              <a:gd name="T23" fmla="*/ 2147483647 h 123"/>
              <a:gd name="T24" fmla="*/ 2147483647 w 156"/>
              <a:gd name="T25" fmla="*/ 2147483647 h 123"/>
              <a:gd name="T26" fmla="*/ 2147483647 w 156"/>
              <a:gd name="T27" fmla="*/ 2147483647 h 123"/>
              <a:gd name="T28" fmla="*/ 2147483647 w 156"/>
              <a:gd name="T29" fmla="*/ 2147483647 h 123"/>
              <a:gd name="T30" fmla="*/ 2147483647 w 156"/>
              <a:gd name="T31" fmla="*/ 2147483647 h 123"/>
              <a:gd name="T32" fmla="*/ 2147483647 w 156"/>
              <a:gd name="T33" fmla="*/ 2147483647 h 123"/>
              <a:gd name="T34" fmla="*/ 2147483647 w 156"/>
              <a:gd name="T35" fmla="*/ 0 h 123"/>
              <a:gd name="T36" fmla="*/ 2147483647 w 156"/>
              <a:gd name="T37" fmla="*/ 0 h 123"/>
              <a:gd name="T38" fmla="*/ 2147483647 w 156"/>
              <a:gd name="T39" fmla="*/ 2147483647 h 123"/>
              <a:gd name="T40" fmla="*/ 2147483647 w 156"/>
              <a:gd name="T41" fmla="*/ 2147483647 h 123"/>
              <a:gd name="T42" fmla="*/ 2147483647 w 156"/>
              <a:gd name="T43" fmla="*/ 2147483647 h 123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156"/>
              <a:gd name="T67" fmla="*/ 0 h 123"/>
              <a:gd name="T68" fmla="*/ 156 w 156"/>
              <a:gd name="T69" fmla="*/ 123 h 123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156" h="123">
                <a:moveTo>
                  <a:pt x="139" y="8"/>
                </a:moveTo>
                <a:lnTo>
                  <a:pt x="147" y="8"/>
                </a:lnTo>
                <a:lnTo>
                  <a:pt x="155" y="48"/>
                </a:lnTo>
                <a:lnTo>
                  <a:pt x="122" y="57"/>
                </a:lnTo>
                <a:lnTo>
                  <a:pt x="122" y="66"/>
                </a:lnTo>
                <a:lnTo>
                  <a:pt x="99" y="82"/>
                </a:lnTo>
                <a:lnTo>
                  <a:pt x="65" y="97"/>
                </a:lnTo>
                <a:lnTo>
                  <a:pt x="57" y="105"/>
                </a:lnTo>
                <a:lnTo>
                  <a:pt x="57" y="122"/>
                </a:lnTo>
                <a:lnTo>
                  <a:pt x="0" y="113"/>
                </a:lnTo>
                <a:lnTo>
                  <a:pt x="16" y="113"/>
                </a:lnTo>
                <a:lnTo>
                  <a:pt x="32" y="97"/>
                </a:lnTo>
                <a:lnTo>
                  <a:pt x="40" y="82"/>
                </a:lnTo>
                <a:lnTo>
                  <a:pt x="40" y="66"/>
                </a:lnTo>
                <a:lnTo>
                  <a:pt x="50" y="48"/>
                </a:lnTo>
                <a:lnTo>
                  <a:pt x="57" y="32"/>
                </a:lnTo>
                <a:lnTo>
                  <a:pt x="81" y="25"/>
                </a:lnTo>
                <a:lnTo>
                  <a:pt x="90" y="0"/>
                </a:lnTo>
                <a:lnTo>
                  <a:pt x="99" y="0"/>
                </a:lnTo>
                <a:lnTo>
                  <a:pt x="105" y="8"/>
                </a:lnTo>
                <a:lnTo>
                  <a:pt x="130" y="8"/>
                </a:lnTo>
                <a:lnTo>
                  <a:pt x="139" y="8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84" name="Freeform 169"/>
          <p:cNvSpPr>
            <a:spLocks/>
          </p:cNvSpPr>
          <p:nvPr>
            <p:custDataLst>
              <p:tags r:id="rId295"/>
            </p:custDataLst>
          </p:nvPr>
        </p:nvSpPr>
        <p:spPr bwMode="gray">
          <a:xfrm>
            <a:off x="4435475" y="4333875"/>
            <a:ext cx="74613" cy="169863"/>
          </a:xfrm>
          <a:custGeom>
            <a:avLst/>
            <a:gdLst>
              <a:gd name="T0" fmla="*/ 2147483647 w 48"/>
              <a:gd name="T1" fmla="*/ 2147483647 h 107"/>
              <a:gd name="T2" fmla="*/ 2147483647 w 48"/>
              <a:gd name="T3" fmla="*/ 2147483647 h 107"/>
              <a:gd name="T4" fmla="*/ 2147483647 w 48"/>
              <a:gd name="T5" fmla="*/ 2147483647 h 107"/>
              <a:gd name="T6" fmla="*/ 2147483647 w 48"/>
              <a:gd name="T7" fmla="*/ 2147483647 h 107"/>
              <a:gd name="T8" fmla="*/ 2147483647 w 48"/>
              <a:gd name="T9" fmla="*/ 2147483647 h 107"/>
              <a:gd name="T10" fmla="*/ 2147483647 w 48"/>
              <a:gd name="T11" fmla="*/ 2147483647 h 107"/>
              <a:gd name="T12" fmla="*/ 2147483647 w 48"/>
              <a:gd name="T13" fmla="*/ 2147483647 h 107"/>
              <a:gd name="T14" fmla="*/ 0 w 48"/>
              <a:gd name="T15" fmla="*/ 2147483647 h 107"/>
              <a:gd name="T16" fmla="*/ 2147483647 w 48"/>
              <a:gd name="T17" fmla="*/ 2147483647 h 107"/>
              <a:gd name="T18" fmla="*/ 2147483647 w 48"/>
              <a:gd name="T19" fmla="*/ 2147483647 h 107"/>
              <a:gd name="T20" fmla="*/ 2147483647 w 48"/>
              <a:gd name="T21" fmla="*/ 0 h 107"/>
              <a:gd name="T22" fmla="*/ 2147483647 w 48"/>
              <a:gd name="T23" fmla="*/ 0 h 107"/>
              <a:gd name="T24" fmla="*/ 2147483647 w 48"/>
              <a:gd name="T25" fmla="*/ 2147483647 h 107"/>
              <a:gd name="T26" fmla="*/ 2147483647 w 48"/>
              <a:gd name="T27" fmla="*/ 0 h 107"/>
              <a:gd name="T28" fmla="*/ 2147483647 w 48"/>
              <a:gd name="T29" fmla="*/ 2147483647 h 107"/>
              <a:gd name="T30" fmla="*/ 2147483647 w 48"/>
              <a:gd name="T31" fmla="*/ 2147483647 h 107"/>
              <a:gd name="T32" fmla="*/ 2147483647 w 48"/>
              <a:gd name="T33" fmla="*/ 2147483647 h 107"/>
              <a:gd name="T34" fmla="*/ 2147483647 w 48"/>
              <a:gd name="T35" fmla="*/ 2147483647 h 107"/>
              <a:gd name="T36" fmla="*/ 2147483647 w 48"/>
              <a:gd name="T37" fmla="*/ 2147483647 h 107"/>
              <a:gd name="T38" fmla="*/ 2147483647 w 48"/>
              <a:gd name="T39" fmla="*/ 2147483647 h 107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48"/>
              <a:gd name="T61" fmla="*/ 0 h 107"/>
              <a:gd name="T62" fmla="*/ 48 w 48"/>
              <a:gd name="T63" fmla="*/ 107 h 107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48" h="107">
                <a:moveTo>
                  <a:pt x="47" y="66"/>
                </a:moveTo>
                <a:lnTo>
                  <a:pt x="47" y="72"/>
                </a:lnTo>
                <a:lnTo>
                  <a:pt x="31" y="90"/>
                </a:lnTo>
                <a:lnTo>
                  <a:pt x="31" y="97"/>
                </a:lnTo>
                <a:lnTo>
                  <a:pt x="25" y="106"/>
                </a:lnTo>
                <a:lnTo>
                  <a:pt x="25" y="81"/>
                </a:lnTo>
                <a:lnTo>
                  <a:pt x="6" y="72"/>
                </a:lnTo>
                <a:lnTo>
                  <a:pt x="0" y="56"/>
                </a:lnTo>
                <a:lnTo>
                  <a:pt x="15" y="41"/>
                </a:lnTo>
                <a:lnTo>
                  <a:pt x="6" y="9"/>
                </a:lnTo>
                <a:lnTo>
                  <a:pt x="15" y="0"/>
                </a:lnTo>
                <a:lnTo>
                  <a:pt x="31" y="0"/>
                </a:lnTo>
                <a:lnTo>
                  <a:pt x="40" y="9"/>
                </a:lnTo>
                <a:lnTo>
                  <a:pt x="47" y="0"/>
                </a:lnTo>
                <a:lnTo>
                  <a:pt x="40" y="16"/>
                </a:lnTo>
                <a:lnTo>
                  <a:pt x="47" y="32"/>
                </a:lnTo>
                <a:lnTo>
                  <a:pt x="31" y="49"/>
                </a:lnTo>
                <a:lnTo>
                  <a:pt x="31" y="56"/>
                </a:lnTo>
                <a:lnTo>
                  <a:pt x="47" y="56"/>
                </a:lnTo>
                <a:lnTo>
                  <a:pt x="47" y="66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85" name="Freeform 269"/>
          <p:cNvSpPr>
            <a:spLocks/>
          </p:cNvSpPr>
          <p:nvPr>
            <p:custDataLst>
              <p:tags r:id="rId296"/>
            </p:custDataLst>
          </p:nvPr>
        </p:nvSpPr>
        <p:spPr bwMode="gray">
          <a:xfrm>
            <a:off x="4459288" y="4184650"/>
            <a:ext cx="25400" cy="50800"/>
          </a:xfrm>
          <a:custGeom>
            <a:avLst/>
            <a:gdLst>
              <a:gd name="T0" fmla="*/ 0 w 17"/>
              <a:gd name="T1" fmla="*/ 2147483647 h 32"/>
              <a:gd name="T2" fmla="*/ 0 w 17"/>
              <a:gd name="T3" fmla="*/ 2147483647 h 32"/>
              <a:gd name="T4" fmla="*/ 2147483647 w 17"/>
              <a:gd name="T5" fmla="*/ 2147483647 h 32"/>
              <a:gd name="T6" fmla="*/ 2147483647 w 17"/>
              <a:gd name="T7" fmla="*/ 0 h 32"/>
              <a:gd name="T8" fmla="*/ 0 w 17"/>
              <a:gd name="T9" fmla="*/ 2147483647 h 3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32"/>
              <a:gd name="T17" fmla="*/ 17 w 17"/>
              <a:gd name="T18" fmla="*/ 32 h 3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32">
                <a:moveTo>
                  <a:pt x="0" y="6"/>
                </a:moveTo>
                <a:lnTo>
                  <a:pt x="0" y="23"/>
                </a:lnTo>
                <a:lnTo>
                  <a:pt x="16" y="31"/>
                </a:lnTo>
                <a:lnTo>
                  <a:pt x="16" y="0"/>
                </a:lnTo>
                <a:lnTo>
                  <a:pt x="0" y="6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86" name="Freeform 270"/>
          <p:cNvSpPr>
            <a:spLocks/>
          </p:cNvSpPr>
          <p:nvPr>
            <p:custDataLst>
              <p:tags r:id="rId297"/>
            </p:custDataLst>
          </p:nvPr>
        </p:nvSpPr>
        <p:spPr bwMode="gray">
          <a:xfrm>
            <a:off x="4445000" y="4233863"/>
            <a:ext cx="39688" cy="66675"/>
          </a:xfrm>
          <a:custGeom>
            <a:avLst/>
            <a:gdLst>
              <a:gd name="T0" fmla="*/ 0 w 26"/>
              <a:gd name="T1" fmla="*/ 0 h 42"/>
              <a:gd name="T2" fmla="*/ 2147483647 w 26"/>
              <a:gd name="T3" fmla="*/ 2147483647 h 42"/>
              <a:gd name="T4" fmla="*/ 2147483647 w 26"/>
              <a:gd name="T5" fmla="*/ 2147483647 h 42"/>
              <a:gd name="T6" fmla="*/ 2147483647 w 26"/>
              <a:gd name="T7" fmla="*/ 2147483647 h 42"/>
              <a:gd name="T8" fmla="*/ 2147483647 w 26"/>
              <a:gd name="T9" fmla="*/ 2147483647 h 42"/>
              <a:gd name="T10" fmla="*/ 2147483647 w 26"/>
              <a:gd name="T11" fmla="*/ 0 h 42"/>
              <a:gd name="T12" fmla="*/ 0 w 26"/>
              <a:gd name="T13" fmla="*/ 0 h 4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6"/>
              <a:gd name="T22" fmla="*/ 0 h 42"/>
              <a:gd name="T23" fmla="*/ 26 w 26"/>
              <a:gd name="T24" fmla="*/ 42 h 4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6" h="42">
                <a:moveTo>
                  <a:pt x="0" y="0"/>
                </a:moveTo>
                <a:lnTo>
                  <a:pt x="9" y="32"/>
                </a:lnTo>
                <a:lnTo>
                  <a:pt x="9" y="41"/>
                </a:lnTo>
                <a:lnTo>
                  <a:pt x="19" y="32"/>
                </a:lnTo>
                <a:lnTo>
                  <a:pt x="25" y="9"/>
                </a:lnTo>
                <a:lnTo>
                  <a:pt x="19" y="0"/>
                </a:lnTo>
                <a:lnTo>
                  <a:pt x="0" y="0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87" name="Freeform 271"/>
          <p:cNvSpPr>
            <a:spLocks/>
          </p:cNvSpPr>
          <p:nvPr>
            <p:custDataLst>
              <p:tags r:id="rId298"/>
            </p:custDataLst>
          </p:nvPr>
        </p:nvSpPr>
        <p:spPr bwMode="gray">
          <a:xfrm>
            <a:off x="4537075" y="4310063"/>
            <a:ext cx="65088" cy="41275"/>
          </a:xfrm>
          <a:custGeom>
            <a:avLst/>
            <a:gdLst>
              <a:gd name="T0" fmla="*/ 0 w 41"/>
              <a:gd name="T1" fmla="*/ 0 h 26"/>
              <a:gd name="T2" fmla="*/ 0 w 41"/>
              <a:gd name="T3" fmla="*/ 2147483647 h 26"/>
              <a:gd name="T4" fmla="*/ 2147483647 w 41"/>
              <a:gd name="T5" fmla="*/ 2147483647 h 26"/>
              <a:gd name="T6" fmla="*/ 2147483647 w 41"/>
              <a:gd name="T7" fmla="*/ 0 h 26"/>
              <a:gd name="T8" fmla="*/ 2147483647 w 41"/>
              <a:gd name="T9" fmla="*/ 0 h 26"/>
              <a:gd name="T10" fmla="*/ 2147483647 w 41"/>
              <a:gd name="T11" fmla="*/ 0 h 26"/>
              <a:gd name="T12" fmla="*/ 0 w 41"/>
              <a:gd name="T13" fmla="*/ 0 h 2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1"/>
              <a:gd name="T22" fmla="*/ 0 h 26"/>
              <a:gd name="T23" fmla="*/ 41 w 41"/>
              <a:gd name="T24" fmla="*/ 26 h 2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1" h="26">
                <a:moveTo>
                  <a:pt x="0" y="0"/>
                </a:moveTo>
                <a:lnTo>
                  <a:pt x="0" y="8"/>
                </a:lnTo>
                <a:lnTo>
                  <a:pt x="32" y="25"/>
                </a:lnTo>
                <a:lnTo>
                  <a:pt x="40" y="0"/>
                </a:lnTo>
                <a:lnTo>
                  <a:pt x="23" y="0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88" name="Freeform 272"/>
          <p:cNvSpPr>
            <a:spLocks/>
          </p:cNvSpPr>
          <p:nvPr>
            <p:custDataLst>
              <p:tags r:id="rId299"/>
            </p:custDataLst>
          </p:nvPr>
        </p:nvSpPr>
        <p:spPr bwMode="gray">
          <a:xfrm>
            <a:off x="4711700" y="4310063"/>
            <a:ext cx="42863" cy="41275"/>
          </a:xfrm>
          <a:custGeom>
            <a:avLst/>
            <a:gdLst>
              <a:gd name="T0" fmla="*/ 0 w 26"/>
              <a:gd name="T1" fmla="*/ 2147483647 h 26"/>
              <a:gd name="T2" fmla="*/ 2147483647 w 26"/>
              <a:gd name="T3" fmla="*/ 2147483647 h 26"/>
              <a:gd name="T4" fmla="*/ 2147483647 w 26"/>
              <a:gd name="T5" fmla="*/ 2147483647 h 26"/>
              <a:gd name="T6" fmla="*/ 2147483647 w 26"/>
              <a:gd name="T7" fmla="*/ 2147483647 h 26"/>
              <a:gd name="T8" fmla="*/ 2147483647 w 26"/>
              <a:gd name="T9" fmla="*/ 2147483647 h 26"/>
              <a:gd name="T10" fmla="*/ 2147483647 w 26"/>
              <a:gd name="T11" fmla="*/ 2147483647 h 26"/>
              <a:gd name="T12" fmla="*/ 2147483647 w 26"/>
              <a:gd name="T13" fmla="*/ 2147483647 h 26"/>
              <a:gd name="T14" fmla="*/ 2147483647 w 26"/>
              <a:gd name="T15" fmla="*/ 2147483647 h 26"/>
              <a:gd name="T16" fmla="*/ 2147483647 w 26"/>
              <a:gd name="T17" fmla="*/ 0 h 26"/>
              <a:gd name="T18" fmla="*/ 0 w 26"/>
              <a:gd name="T19" fmla="*/ 2147483647 h 2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6"/>
              <a:gd name="T31" fmla="*/ 0 h 26"/>
              <a:gd name="T32" fmla="*/ 26 w 26"/>
              <a:gd name="T33" fmla="*/ 26 h 2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6" h="26">
                <a:moveTo>
                  <a:pt x="0" y="8"/>
                </a:moveTo>
                <a:lnTo>
                  <a:pt x="9" y="8"/>
                </a:lnTo>
                <a:lnTo>
                  <a:pt x="9" y="25"/>
                </a:lnTo>
                <a:lnTo>
                  <a:pt x="16" y="25"/>
                </a:lnTo>
                <a:lnTo>
                  <a:pt x="25" y="25"/>
                </a:lnTo>
                <a:lnTo>
                  <a:pt x="16" y="8"/>
                </a:lnTo>
                <a:lnTo>
                  <a:pt x="25" y="16"/>
                </a:lnTo>
                <a:lnTo>
                  <a:pt x="25" y="8"/>
                </a:lnTo>
                <a:lnTo>
                  <a:pt x="9" y="0"/>
                </a:lnTo>
                <a:lnTo>
                  <a:pt x="0" y="8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89" name="Freeform 273"/>
          <p:cNvSpPr>
            <a:spLocks/>
          </p:cNvSpPr>
          <p:nvPr>
            <p:custDataLst>
              <p:tags r:id="rId300"/>
            </p:custDataLst>
          </p:nvPr>
        </p:nvSpPr>
        <p:spPr bwMode="gray">
          <a:xfrm>
            <a:off x="4927600" y="4373563"/>
            <a:ext cx="55563" cy="28575"/>
          </a:xfrm>
          <a:custGeom>
            <a:avLst/>
            <a:gdLst>
              <a:gd name="T0" fmla="*/ 0 w 35"/>
              <a:gd name="T1" fmla="*/ 2147483647 h 18"/>
              <a:gd name="T2" fmla="*/ 2147483647 w 35"/>
              <a:gd name="T3" fmla="*/ 2147483647 h 18"/>
              <a:gd name="T4" fmla="*/ 2147483647 w 35"/>
              <a:gd name="T5" fmla="*/ 2147483647 h 18"/>
              <a:gd name="T6" fmla="*/ 2147483647 w 35"/>
              <a:gd name="T7" fmla="*/ 2147483647 h 18"/>
              <a:gd name="T8" fmla="*/ 2147483647 w 35"/>
              <a:gd name="T9" fmla="*/ 0 h 18"/>
              <a:gd name="T10" fmla="*/ 0 w 35"/>
              <a:gd name="T11" fmla="*/ 2147483647 h 1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5"/>
              <a:gd name="T19" fmla="*/ 0 h 18"/>
              <a:gd name="T20" fmla="*/ 35 w 35"/>
              <a:gd name="T21" fmla="*/ 18 h 1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5" h="18">
                <a:moveTo>
                  <a:pt x="0" y="8"/>
                </a:moveTo>
                <a:lnTo>
                  <a:pt x="10" y="17"/>
                </a:lnTo>
                <a:lnTo>
                  <a:pt x="18" y="17"/>
                </a:lnTo>
                <a:lnTo>
                  <a:pt x="25" y="8"/>
                </a:lnTo>
                <a:lnTo>
                  <a:pt x="34" y="0"/>
                </a:lnTo>
                <a:lnTo>
                  <a:pt x="0" y="8"/>
                </a:lnTo>
              </a:path>
            </a:pathLst>
          </a:custGeom>
          <a:solidFill>
            <a:srgbClr val="E17DA1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90" name="Freeform 274"/>
          <p:cNvSpPr>
            <a:spLocks/>
          </p:cNvSpPr>
          <p:nvPr>
            <p:custDataLst>
              <p:tags r:id="rId301"/>
            </p:custDataLst>
          </p:nvPr>
        </p:nvSpPr>
        <p:spPr bwMode="gray">
          <a:xfrm>
            <a:off x="4332288" y="4259263"/>
            <a:ext cx="26987" cy="25400"/>
          </a:xfrm>
          <a:custGeom>
            <a:avLst/>
            <a:gdLst>
              <a:gd name="T0" fmla="*/ 0 w 17"/>
              <a:gd name="T1" fmla="*/ 2147483647 h 17"/>
              <a:gd name="T2" fmla="*/ 2147483647 w 17"/>
              <a:gd name="T3" fmla="*/ 2147483647 h 17"/>
              <a:gd name="T4" fmla="*/ 2147483647 w 17"/>
              <a:gd name="T5" fmla="*/ 2147483647 h 17"/>
              <a:gd name="T6" fmla="*/ 2147483647 w 17"/>
              <a:gd name="T7" fmla="*/ 0 h 17"/>
              <a:gd name="T8" fmla="*/ 0 w 17"/>
              <a:gd name="T9" fmla="*/ 2147483647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17"/>
              <a:gd name="T17" fmla="*/ 17 w 17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17">
                <a:moveTo>
                  <a:pt x="0" y="9"/>
                </a:moveTo>
                <a:lnTo>
                  <a:pt x="6" y="16"/>
                </a:lnTo>
                <a:lnTo>
                  <a:pt x="16" y="9"/>
                </a:lnTo>
                <a:lnTo>
                  <a:pt x="6" y="0"/>
                </a:lnTo>
                <a:lnTo>
                  <a:pt x="0" y="9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91" name="Freeform 315"/>
          <p:cNvSpPr>
            <a:spLocks/>
          </p:cNvSpPr>
          <p:nvPr>
            <p:custDataLst>
              <p:tags r:id="rId302"/>
            </p:custDataLst>
          </p:nvPr>
        </p:nvSpPr>
        <p:spPr bwMode="gray">
          <a:xfrm>
            <a:off x="4675188" y="4194175"/>
            <a:ext cx="39687" cy="80963"/>
          </a:xfrm>
          <a:custGeom>
            <a:avLst/>
            <a:gdLst>
              <a:gd name="T0" fmla="*/ 0 w 25"/>
              <a:gd name="T1" fmla="*/ 0 h 51"/>
              <a:gd name="T2" fmla="*/ 2147483647 w 25"/>
              <a:gd name="T3" fmla="*/ 0 h 51"/>
              <a:gd name="T4" fmla="*/ 2147483647 w 25"/>
              <a:gd name="T5" fmla="*/ 2147483647 h 51"/>
              <a:gd name="T6" fmla="*/ 2147483647 w 25"/>
              <a:gd name="T7" fmla="*/ 2147483647 h 51"/>
              <a:gd name="T8" fmla="*/ 2147483647 w 25"/>
              <a:gd name="T9" fmla="*/ 2147483647 h 51"/>
              <a:gd name="T10" fmla="*/ 2147483647 w 25"/>
              <a:gd name="T11" fmla="*/ 2147483647 h 51"/>
              <a:gd name="T12" fmla="*/ 2147483647 w 25"/>
              <a:gd name="T13" fmla="*/ 2147483647 h 51"/>
              <a:gd name="T14" fmla="*/ 0 w 25"/>
              <a:gd name="T15" fmla="*/ 2147483647 h 51"/>
              <a:gd name="T16" fmla="*/ 0 w 25"/>
              <a:gd name="T17" fmla="*/ 2147483647 h 51"/>
              <a:gd name="T18" fmla="*/ 0 w 25"/>
              <a:gd name="T19" fmla="*/ 0 h 5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5"/>
              <a:gd name="T31" fmla="*/ 0 h 51"/>
              <a:gd name="T32" fmla="*/ 25 w 25"/>
              <a:gd name="T33" fmla="*/ 51 h 51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5" h="51">
                <a:moveTo>
                  <a:pt x="0" y="0"/>
                </a:moveTo>
                <a:lnTo>
                  <a:pt x="9" y="0"/>
                </a:lnTo>
                <a:lnTo>
                  <a:pt x="15" y="9"/>
                </a:lnTo>
                <a:lnTo>
                  <a:pt x="15" y="17"/>
                </a:lnTo>
                <a:lnTo>
                  <a:pt x="24" y="25"/>
                </a:lnTo>
                <a:lnTo>
                  <a:pt x="24" y="34"/>
                </a:lnTo>
                <a:lnTo>
                  <a:pt x="9" y="50"/>
                </a:lnTo>
                <a:lnTo>
                  <a:pt x="0" y="41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rgbClr val="B6D0EC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92" name="Freeform 316"/>
          <p:cNvSpPr>
            <a:spLocks/>
          </p:cNvSpPr>
          <p:nvPr>
            <p:custDataLst>
              <p:tags r:id="rId303"/>
            </p:custDataLst>
          </p:nvPr>
        </p:nvSpPr>
        <p:spPr bwMode="gray">
          <a:xfrm>
            <a:off x="4738688" y="4146550"/>
            <a:ext cx="128587" cy="88900"/>
          </a:xfrm>
          <a:custGeom>
            <a:avLst/>
            <a:gdLst>
              <a:gd name="T0" fmla="*/ 2147483647 w 82"/>
              <a:gd name="T1" fmla="*/ 2147483647 h 57"/>
              <a:gd name="T2" fmla="*/ 2147483647 w 82"/>
              <a:gd name="T3" fmla="*/ 2147483647 h 57"/>
              <a:gd name="T4" fmla="*/ 2147483647 w 82"/>
              <a:gd name="T5" fmla="*/ 2147483647 h 57"/>
              <a:gd name="T6" fmla="*/ 2147483647 w 82"/>
              <a:gd name="T7" fmla="*/ 2147483647 h 57"/>
              <a:gd name="T8" fmla="*/ 2147483647 w 82"/>
              <a:gd name="T9" fmla="*/ 2147483647 h 57"/>
              <a:gd name="T10" fmla="*/ 2147483647 w 82"/>
              <a:gd name="T11" fmla="*/ 2147483647 h 57"/>
              <a:gd name="T12" fmla="*/ 2147483647 w 82"/>
              <a:gd name="T13" fmla="*/ 2147483647 h 57"/>
              <a:gd name="T14" fmla="*/ 2147483647 w 82"/>
              <a:gd name="T15" fmla="*/ 2147483647 h 57"/>
              <a:gd name="T16" fmla="*/ 2147483647 w 82"/>
              <a:gd name="T17" fmla="*/ 2147483647 h 57"/>
              <a:gd name="T18" fmla="*/ 2147483647 w 82"/>
              <a:gd name="T19" fmla="*/ 2147483647 h 57"/>
              <a:gd name="T20" fmla="*/ 2147483647 w 82"/>
              <a:gd name="T21" fmla="*/ 2147483647 h 57"/>
              <a:gd name="T22" fmla="*/ 0 w 82"/>
              <a:gd name="T23" fmla="*/ 2147483647 h 57"/>
              <a:gd name="T24" fmla="*/ 2147483647 w 82"/>
              <a:gd name="T25" fmla="*/ 2147483647 h 57"/>
              <a:gd name="T26" fmla="*/ 0 w 82"/>
              <a:gd name="T27" fmla="*/ 2147483647 h 57"/>
              <a:gd name="T28" fmla="*/ 0 w 82"/>
              <a:gd name="T29" fmla="*/ 0 h 57"/>
              <a:gd name="T30" fmla="*/ 2147483647 w 82"/>
              <a:gd name="T31" fmla="*/ 2147483647 h 57"/>
              <a:gd name="T32" fmla="*/ 2147483647 w 82"/>
              <a:gd name="T33" fmla="*/ 2147483647 h 57"/>
              <a:gd name="T34" fmla="*/ 2147483647 w 82"/>
              <a:gd name="T35" fmla="*/ 2147483647 h 57"/>
              <a:gd name="T36" fmla="*/ 2147483647 w 82"/>
              <a:gd name="T37" fmla="*/ 0 h 57"/>
              <a:gd name="T38" fmla="*/ 2147483647 w 82"/>
              <a:gd name="T39" fmla="*/ 2147483647 h 57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82"/>
              <a:gd name="T61" fmla="*/ 0 h 57"/>
              <a:gd name="T62" fmla="*/ 82 w 82"/>
              <a:gd name="T63" fmla="*/ 57 h 57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82" h="57">
                <a:moveTo>
                  <a:pt x="81" y="6"/>
                </a:moveTo>
                <a:lnTo>
                  <a:pt x="81" y="16"/>
                </a:lnTo>
                <a:lnTo>
                  <a:pt x="74" y="16"/>
                </a:lnTo>
                <a:lnTo>
                  <a:pt x="66" y="31"/>
                </a:lnTo>
                <a:lnTo>
                  <a:pt x="74" y="40"/>
                </a:lnTo>
                <a:lnTo>
                  <a:pt x="58" y="40"/>
                </a:lnTo>
                <a:lnTo>
                  <a:pt x="49" y="48"/>
                </a:lnTo>
                <a:lnTo>
                  <a:pt x="41" y="56"/>
                </a:lnTo>
                <a:lnTo>
                  <a:pt x="24" y="48"/>
                </a:lnTo>
                <a:lnTo>
                  <a:pt x="9" y="48"/>
                </a:lnTo>
                <a:lnTo>
                  <a:pt x="9" y="40"/>
                </a:lnTo>
                <a:lnTo>
                  <a:pt x="0" y="31"/>
                </a:lnTo>
                <a:lnTo>
                  <a:pt x="9" y="25"/>
                </a:lnTo>
                <a:lnTo>
                  <a:pt x="0" y="6"/>
                </a:lnTo>
                <a:lnTo>
                  <a:pt x="0" y="0"/>
                </a:lnTo>
                <a:lnTo>
                  <a:pt x="9" y="6"/>
                </a:lnTo>
                <a:lnTo>
                  <a:pt x="16" y="6"/>
                </a:lnTo>
                <a:lnTo>
                  <a:pt x="41" y="16"/>
                </a:lnTo>
                <a:lnTo>
                  <a:pt x="58" y="0"/>
                </a:lnTo>
                <a:lnTo>
                  <a:pt x="81" y="6"/>
                </a:lnTo>
              </a:path>
            </a:pathLst>
          </a:custGeom>
          <a:solidFill>
            <a:srgbClr val="33CCFF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93" name="Freeform 317"/>
          <p:cNvSpPr>
            <a:spLocks/>
          </p:cNvSpPr>
          <p:nvPr>
            <p:custDataLst>
              <p:tags r:id="rId304"/>
            </p:custDataLst>
          </p:nvPr>
        </p:nvSpPr>
        <p:spPr bwMode="gray">
          <a:xfrm>
            <a:off x="4610100" y="4019550"/>
            <a:ext cx="130175" cy="88900"/>
          </a:xfrm>
          <a:custGeom>
            <a:avLst/>
            <a:gdLst>
              <a:gd name="T0" fmla="*/ 2147483647 w 82"/>
              <a:gd name="T1" fmla="*/ 2147483647 h 57"/>
              <a:gd name="T2" fmla="*/ 2147483647 w 82"/>
              <a:gd name="T3" fmla="*/ 2147483647 h 57"/>
              <a:gd name="T4" fmla="*/ 2147483647 w 82"/>
              <a:gd name="T5" fmla="*/ 2147483647 h 57"/>
              <a:gd name="T6" fmla="*/ 2147483647 w 82"/>
              <a:gd name="T7" fmla="*/ 2147483647 h 57"/>
              <a:gd name="T8" fmla="*/ 2147483647 w 82"/>
              <a:gd name="T9" fmla="*/ 2147483647 h 57"/>
              <a:gd name="T10" fmla="*/ 2147483647 w 82"/>
              <a:gd name="T11" fmla="*/ 2147483647 h 57"/>
              <a:gd name="T12" fmla="*/ 2147483647 w 82"/>
              <a:gd name="T13" fmla="*/ 0 h 57"/>
              <a:gd name="T14" fmla="*/ 2147483647 w 82"/>
              <a:gd name="T15" fmla="*/ 2147483647 h 57"/>
              <a:gd name="T16" fmla="*/ 2147483647 w 82"/>
              <a:gd name="T17" fmla="*/ 2147483647 h 57"/>
              <a:gd name="T18" fmla="*/ 0 w 82"/>
              <a:gd name="T19" fmla="*/ 2147483647 h 57"/>
              <a:gd name="T20" fmla="*/ 0 w 82"/>
              <a:gd name="T21" fmla="*/ 2147483647 h 57"/>
              <a:gd name="T22" fmla="*/ 2147483647 w 82"/>
              <a:gd name="T23" fmla="*/ 2147483647 h 57"/>
              <a:gd name="T24" fmla="*/ 2147483647 w 82"/>
              <a:gd name="T25" fmla="*/ 2147483647 h 5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82"/>
              <a:gd name="T40" fmla="*/ 0 h 57"/>
              <a:gd name="T41" fmla="*/ 82 w 82"/>
              <a:gd name="T42" fmla="*/ 57 h 57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82" h="57">
                <a:moveTo>
                  <a:pt x="33" y="56"/>
                </a:moveTo>
                <a:lnTo>
                  <a:pt x="50" y="47"/>
                </a:lnTo>
                <a:lnTo>
                  <a:pt x="65" y="47"/>
                </a:lnTo>
                <a:lnTo>
                  <a:pt x="74" y="16"/>
                </a:lnTo>
                <a:lnTo>
                  <a:pt x="81" y="16"/>
                </a:lnTo>
                <a:lnTo>
                  <a:pt x="74" y="7"/>
                </a:lnTo>
                <a:lnTo>
                  <a:pt x="56" y="0"/>
                </a:lnTo>
                <a:lnTo>
                  <a:pt x="25" y="16"/>
                </a:lnTo>
                <a:lnTo>
                  <a:pt x="10" y="16"/>
                </a:lnTo>
                <a:lnTo>
                  <a:pt x="0" y="32"/>
                </a:lnTo>
                <a:lnTo>
                  <a:pt x="0" y="40"/>
                </a:lnTo>
                <a:lnTo>
                  <a:pt x="25" y="56"/>
                </a:lnTo>
                <a:lnTo>
                  <a:pt x="33" y="56"/>
                </a:lnTo>
              </a:path>
            </a:pathLst>
          </a:custGeom>
          <a:solidFill>
            <a:srgbClr val="FF00FF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94" name="Freeform 318"/>
          <p:cNvSpPr>
            <a:spLocks/>
          </p:cNvSpPr>
          <p:nvPr>
            <p:custDataLst>
              <p:tags r:id="rId305"/>
            </p:custDataLst>
          </p:nvPr>
        </p:nvSpPr>
        <p:spPr bwMode="gray">
          <a:xfrm>
            <a:off x="4559300" y="4068763"/>
            <a:ext cx="52388" cy="39687"/>
          </a:xfrm>
          <a:custGeom>
            <a:avLst/>
            <a:gdLst>
              <a:gd name="T0" fmla="*/ 2147483647 w 33"/>
              <a:gd name="T1" fmla="*/ 2147483647 h 25"/>
              <a:gd name="T2" fmla="*/ 2147483647 w 33"/>
              <a:gd name="T3" fmla="*/ 2147483647 h 25"/>
              <a:gd name="T4" fmla="*/ 2147483647 w 33"/>
              <a:gd name="T5" fmla="*/ 2147483647 h 25"/>
              <a:gd name="T6" fmla="*/ 2147483647 w 33"/>
              <a:gd name="T7" fmla="*/ 2147483647 h 25"/>
              <a:gd name="T8" fmla="*/ 0 w 33"/>
              <a:gd name="T9" fmla="*/ 2147483647 h 25"/>
              <a:gd name="T10" fmla="*/ 0 w 33"/>
              <a:gd name="T11" fmla="*/ 2147483647 h 25"/>
              <a:gd name="T12" fmla="*/ 0 w 33"/>
              <a:gd name="T13" fmla="*/ 2147483647 h 25"/>
              <a:gd name="T14" fmla="*/ 2147483647 w 33"/>
              <a:gd name="T15" fmla="*/ 0 h 25"/>
              <a:gd name="T16" fmla="*/ 2147483647 w 33"/>
              <a:gd name="T17" fmla="*/ 2147483647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3"/>
              <a:gd name="T28" fmla="*/ 0 h 25"/>
              <a:gd name="T29" fmla="*/ 33 w 33"/>
              <a:gd name="T30" fmla="*/ 25 h 2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3" h="25">
                <a:moveTo>
                  <a:pt x="32" y="8"/>
                </a:moveTo>
                <a:lnTo>
                  <a:pt x="25" y="8"/>
                </a:lnTo>
                <a:lnTo>
                  <a:pt x="17" y="24"/>
                </a:lnTo>
                <a:lnTo>
                  <a:pt x="8" y="24"/>
                </a:lnTo>
                <a:lnTo>
                  <a:pt x="0" y="24"/>
                </a:lnTo>
                <a:lnTo>
                  <a:pt x="0" y="15"/>
                </a:lnTo>
                <a:lnTo>
                  <a:pt x="0" y="8"/>
                </a:lnTo>
                <a:lnTo>
                  <a:pt x="32" y="0"/>
                </a:lnTo>
                <a:lnTo>
                  <a:pt x="32" y="8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95" name="Freeform 319"/>
          <p:cNvSpPr>
            <a:spLocks/>
          </p:cNvSpPr>
          <p:nvPr>
            <p:custDataLst>
              <p:tags r:id="rId306"/>
            </p:custDataLst>
          </p:nvPr>
        </p:nvSpPr>
        <p:spPr bwMode="gray">
          <a:xfrm>
            <a:off x="4559300" y="4081463"/>
            <a:ext cx="117475" cy="114300"/>
          </a:xfrm>
          <a:custGeom>
            <a:avLst/>
            <a:gdLst>
              <a:gd name="T0" fmla="*/ 2147483647 w 74"/>
              <a:gd name="T1" fmla="*/ 0 h 73"/>
              <a:gd name="T2" fmla="*/ 2147483647 w 74"/>
              <a:gd name="T3" fmla="*/ 2147483647 h 73"/>
              <a:gd name="T4" fmla="*/ 2147483647 w 74"/>
              <a:gd name="T5" fmla="*/ 2147483647 h 73"/>
              <a:gd name="T6" fmla="*/ 2147483647 w 74"/>
              <a:gd name="T7" fmla="*/ 2147483647 h 73"/>
              <a:gd name="T8" fmla="*/ 2147483647 w 74"/>
              <a:gd name="T9" fmla="*/ 2147483647 h 73"/>
              <a:gd name="T10" fmla="*/ 2147483647 w 74"/>
              <a:gd name="T11" fmla="*/ 2147483647 h 73"/>
              <a:gd name="T12" fmla="*/ 2147483647 w 74"/>
              <a:gd name="T13" fmla="*/ 2147483647 h 73"/>
              <a:gd name="T14" fmla="*/ 2147483647 w 74"/>
              <a:gd name="T15" fmla="*/ 2147483647 h 73"/>
              <a:gd name="T16" fmla="*/ 2147483647 w 74"/>
              <a:gd name="T17" fmla="*/ 2147483647 h 73"/>
              <a:gd name="T18" fmla="*/ 2147483647 w 74"/>
              <a:gd name="T19" fmla="*/ 2147483647 h 73"/>
              <a:gd name="T20" fmla="*/ 2147483647 w 74"/>
              <a:gd name="T21" fmla="*/ 2147483647 h 73"/>
              <a:gd name="T22" fmla="*/ 2147483647 w 74"/>
              <a:gd name="T23" fmla="*/ 2147483647 h 73"/>
              <a:gd name="T24" fmla="*/ 2147483647 w 74"/>
              <a:gd name="T25" fmla="*/ 2147483647 h 73"/>
              <a:gd name="T26" fmla="*/ 2147483647 w 74"/>
              <a:gd name="T27" fmla="*/ 2147483647 h 73"/>
              <a:gd name="T28" fmla="*/ 2147483647 w 74"/>
              <a:gd name="T29" fmla="*/ 2147483647 h 73"/>
              <a:gd name="T30" fmla="*/ 2147483647 w 74"/>
              <a:gd name="T31" fmla="*/ 2147483647 h 73"/>
              <a:gd name="T32" fmla="*/ 2147483647 w 74"/>
              <a:gd name="T33" fmla="*/ 2147483647 h 73"/>
              <a:gd name="T34" fmla="*/ 2147483647 w 74"/>
              <a:gd name="T35" fmla="*/ 2147483647 h 73"/>
              <a:gd name="T36" fmla="*/ 2147483647 w 74"/>
              <a:gd name="T37" fmla="*/ 2147483647 h 73"/>
              <a:gd name="T38" fmla="*/ 2147483647 w 74"/>
              <a:gd name="T39" fmla="*/ 2147483647 h 73"/>
              <a:gd name="T40" fmla="*/ 0 w 74"/>
              <a:gd name="T41" fmla="*/ 2147483647 h 73"/>
              <a:gd name="T42" fmla="*/ 0 w 74"/>
              <a:gd name="T43" fmla="*/ 2147483647 h 73"/>
              <a:gd name="T44" fmla="*/ 2147483647 w 74"/>
              <a:gd name="T45" fmla="*/ 2147483647 h 73"/>
              <a:gd name="T46" fmla="*/ 2147483647 w 74"/>
              <a:gd name="T47" fmla="*/ 0 h 73"/>
              <a:gd name="T48" fmla="*/ 2147483647 w 74"/>
              <a:gd name="T49" fmla="*/ 0 h 7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74"/>
              <a:gd name="T76" fmla="*/ 0 h 73"/>
              <a:gd name="T77" fmla="*/ 74 w 74"/>
              <a:gd name="T78" fmla="*/ 73 h 73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74" h="73">
                <a:moveTo>
                  <a:pt x="32" y="0"/>
                </a:moveTo>
                <a:lnTo>
                  <a:pt x="57" y="16"/>
                </a:lnTo>
                <a:lnTo>
                  <a:pt x="65" y="16"/>
                </a:lnTo>
                <a:lnTo>
                  <a:pt x="73" y="25"/>
                </a:lnTo>
                <a:lnTo>
                  <a:pt x="73" y="32"/>
                </a:lnTo>
                <a:lnTo>
                  <a:pt x="65" y="32"/>
                </a:lnTo>
                <a:lnTo>
                  <a:pt x="65" y="25"/>
                </a:lnTo>
                <a:lnTo>
                  <a:pt x="42" y="16"/>
                </a:lnTo>
                <a:lnTo>
                  <a:pt x="32" y="25"/>
                </a:lnTo>
                <a:lnTo>
                  <a:pt x="32" y="16"/>
                </a:lnTo>
                <a:lnTo>
                  <a:pt x="25" y="25"/>
                </a:lnTo>
                <a:lnTo>
                  <a:pt x="32" y="32"/>
                </a:lnTo>
                <a:lnTo>
                  <a:pt x="48" y="57"/>
                </a:lnTo>
                <a:lnTo>
                  <a:pt x="57" y="66"/>
                </a:lnTo>
                <a:lnTo>
                  <a:pt x="57" y="72"/>
                </a:lnTo>
                <a:lnTo>
                  <a:pt x="42" y="57"/>
                </a:lnTo>
                <a:lnTo>
                  <a:pt x="32" y="57"/>
                </a:lnTo>
                <a:lnTo>
                  <a:pt x="17" y="41"/>
                </a:lnTo>
                <a:lnTo>
                  <a:pt x="17" y="25"/>
                </a:lnTo>
                <a:lnTo>
                  <a:pt x="8" y="25"/>
                </a:lnTo>
                <a:lnTo>
                  <a:pt x="0" y="32"/>
                </a:lnTo>
                <a:lnTo>
                  <a:pt x="0" y="16"/>
                </a:lnTo>
                <a:lnTo>
                  <a:pt x="17" y="16"/>
                </a:lnTo>
                <a:lnTo>
                  <a:pt x="25" y="0"/>
                </a:lnTo>
                <a:lnTo>
                  <a:pt x="32" y="0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96" name="Freeform 320"/>
          <p:cNvSpPr>
            <a:spLocks/>
          </p:cNvSpPr>
          <p:nvPr>
            <p:custDataLst>
              <p:tags r:id="rId307"/>
            </p:custDataLst>
          </p:nvPr>
        </p:nvSpPr>
        <p:spPr bwMode="gray">
          <a:xfrm>
            <a:off x="4651375" y="4171950"/>
            <a:ext cx="39688" cy="38100"/>
          </a:xfrm>
          <a:custGeom>
            <a:avLst/>
            <a:gdLst>
              <a:gd name="T0" fmla="*/ 0 w 26"/>
              <a:gd name="T1" fmla="*/ 2147483647 h 25"/>
              <a:gd name="T2" fmla="*/ 2147483647 w 26"/>
              <a:gd name="T3" fmla="*/ 2147483647 h 25"/>
              <a:gd name="T4" fmla="*/ 2147483647 w 26"/>
              <a:gd name="T5" fmla="*/ 2147483647 h 25"/>
              <a:gd name="T6" fmla="*/ 2147483647 w 26"/>
              <a:gd name="T7" fmla="*/ 2147483647 h 25"/>
              <a:gd name="T8" fmla="*/ 2147483647 w 26"/>
              <a:gd name="T9" fmla="*/ 2147483647 h 25"/>
              <a:gd name="T10" fmla="*/ 2147483647 w 26"/>
              <a:gd name="T11" fmla="*/ 0 h 25"/>
              <a:gd name="T12" fmla="*/ 2147483647 w 26"/>
              <a:gd name="T13" fmla="*/ 0 h 25"/>
              <a:gd name="T14" fmla="*/ 0 w 26"/>
              <a:gd name="T15" fmla="*/ 2147483647 h 25"/>
              <a:gd name="T16" fmla="*/ 0 w 26"/>
              <a:gd name="T17" fmla="*/ 2147483647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6"/>
              <a:gd name="T28" fmla="*/ 0 h 25"/>
              <a:gd name="T29" fmla="*/ 26 w 26"/>
              <a:gd name="T30" fmla="*/ 25 h 2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6" h="25">
                <a:moveTo>
                  <a:pt x="0" y="15"/>
                </a:moveTo>
                <a:lnTo>
                  <a:pt x="16" y="24"/>
                </a:lnTo>
                <a:lnTo>
                  <a:pt x="16" y="15"/>
                </a:lnTo>
                <a:lnTo>
                  <a:pt x="25" y="15"/>
                </a:lnTo>
                <a:lnTo>
                  <a:pt x="25" y="9"/>
                </a:lnTo>
                <a:lnTo>
                  <a:pt x="16" y="0"/>
                </a:lnTo>
                <a:lnTo>
                  <a:pt x="8" y="0"/>
                </a:lnTo>
                <a:lnTo>
                  <a:pt x="0" y="9"/>
                </a:lnTo>
                <a:lnTo>
                  <a:pt x="0" y="15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97" name="Freeform 321"/>
          <p:cNvSpPr>
            <a:spLocks/>
          </p:cNvSpPr>
          <p:nvPr>
            <p:custDataLst>
              <p:tags r:id="rId308"/>
            </p:custDataLst>
          </p:nvPr>
        </p:nvSpPr>
        <p:spPr bwMode="gray">
          <a:xfrm>
            <a:off x="4662488" y="4092575"/>
            <a:ext cx="92075" cy="117475"/>
          </a:xfrm>
          <a:custGeom>
            <a:avLst/>
            <a:gdLst>
              <a:gd name="T0" fmla="*/ 2147483647 w 58"/>
              <a:gd name="T1" fmla="*/ 2147483647 h 75"/>
              <a:gd name="T2" fmla="*/ 2147483647 w 58"/>
              <a:gd name="T3" fmla="*/ 2147483647 h 75"/>
              <a:gd name="T4" fmla="*/ 0 w 58"/>
              <a:gd name="T5" fmla="*/ 2147483647 h 75"/>
              <a:gd name="T6" fmla="*/ 2147483647 w 58"/>
              <a:gd name="T7" fmla="*/ 0 h 75"/>
              <a:gd name="T8" fmla="*/ 2147483647 w 58"/>
              <a:gd name="T9" fmla="*/ 2147483647 h 75"/>
              <a:gd name="T10" fmla="*/ 2147483647 w 58"/>
              <a:gd name="T11" fmla="*/ 2147483647 h 75"/>
              <a:gd name="T12" fmla="*/ 2147483647 w 58"/>
              <a:gd name="T13" fmla="*/ 2147483647 h 75"/>
              <a:gd name="T14" fmla="*/ 2147483647 w 58"/>
              <a:gd name="T15" fmla="*/ 2147483647 h 75"/>
              <a:gd name="T16" fmla="*/ 2147483647 w 58"/>
              <a:gd name="T17" fmla="*/ 2147483647 h 75"/>
              <a:gd name="T18" fmla="*/ 2147483647 w 58"/>
              <a:gd name="T19" fmla="*/ 2147483647 h 75"/>
              <a:gd name="T20" fmla="*/ 2147483647 w 58"/>
              <a:gd name="T21" fmla="*/ 2147483647 h 75"/>
              <a:gd name="T22" fmla="*/ 2147483647 w 58"/>
              <a:gd name="T23" fmla="*/ 2147483647 h 75"/>
              <a:gd name="T24" fmla="*/ 2147483647 w 58"/>
              <a:gd name="T25" fmla="*/ 2147483647 h 75"/>
              <a:gd name="T26" fmla="*/ 2147483647 w 58"/>
              <a:gd name="T27" fmla="*/ 2147483647 h 75"/>
              <a:gd name="T28" fmla="*/ 2147483647 w 58"/>
              <a:gd name="T29" fmla="*/ 2147483647 h 75"/>
              <a:gd name="T30" fmla="*/ 2147483647 w 58"/>
              <a:gd name="T31" fmla="*/ 2147483647 h 75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58"/>
              <a:gd name="T49" fmla="*/ 0 h 75"/>
              <a:gd name="T50" fmla="*/ 58 w 58"/>
              <a:gd name="T51" fmla="*/ 75 h 75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58" h="75">
                <a:moveTo>
                  <a:pt x="8" y="25"/>
                </a:moveTo>
                <a:lnTo>
                  <a:pt x="8" y="18"/>
                </a:lnTo>
                <a:lnTo>
                  <a:pt x="0" y="9"/>
                </a:lnTo>
                <a:lnTo>
                  <a:pt x="17" y="0"/>
                </a:lnTo>
                <a:lnTo>
                  <a:pt x="32" y="25"/>
                </a:lnTo>
                <a:lnTo>
                  <a:pt x="48" y="25"/>
                </a:lnTo>
                <a:lnTo>
                  <a:pt x="48" y="34"/>
                </a:lnTo>
                <a:lnTo>
                  <a:pt x="48" y="40"/>
                </a:lnTo>
                <a:lnTo>
                  <a:pt x="57" y="59"/>
                </a:lnTo>
                <a:lnTo>
                  <a:pt x="48" y="65"/>
                </a:lnTo>
                <a:lnTo>
                  <a:pt x="32" y="65"/>
                </a:lnTo>
                <a:lnTo>
                  <a:pt x="23" y="74"/>
                </a:lnTo>
                <a:lnTo>
                  <a:pt x="17" y="65"/>
                </a:lnTo>
                <a:lnTo>
                  <a:pt x="17" y="59"/>
                </a:lnTo>
                <a:lnTo>
                  <a:pt x="8" y="50"/>
                </a:lnTo>
                <a:lnTo>
                  <a:pt x="8" y="25"/>
                </a:lnTo>
              </a:path>
            </a:pathLst>
          </a:custGeom>
          <a:solidFill>
            <a:srgbClr val="FF00FF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98" name="Freeform 322"/>
          <p:cNvSpPr>
            <a:spLocks/>
          </p:cNvSpPr>
          <p:nvPr>
            <p:custDataLst>
              <p:tags r:id="rId309"/>
            </p:custDataLst>
          </p:nvPr>
        </p:nvSpPr>
        <p:spPr bwMode="gray">
          <a:xfrm>
            <a:off x="4699000" y="4194175"/>
            <a:ext cx="55563" cy="41275"/>
          </a:xfrm>
          <a:custGeom>
            <a:avLst/>
            <a:gdLst>
              <a:gd name="T0" fmla="*/ 2147483647 w 35"/>
              <a:gd name="T1" fmla="*/ 2147483647 h 26"/>
              <a:gd name="T2" fmla="*/ 0 w 35"/>
              <a:gd name="T3" fmla="*/ 2147483647 h 26"/>
              <a:gd name="T4" fmla="*/ 0 w 35"/>
              <a:gd name="T5" fmla="*/ 2147483647 h 26"/>
              <a:gd name="T6" fmla="*/ 2147483647 w 35"/>
              <a:gd name="T7" fmla="*/ 0 h 26"/>
              <a:gd name="T8" fmla="*/ 2147483647 w 35"/>
              <a:gd name="T9" fmla="*/ 0 h 26"/>
              <a:gd name="T10" fmla="*/ 2147483647 w 35"/>
              <a:gd name="T11" fmla="*/ 2147483647 h 26"/>
              <a:gd name="T12" fmla="*/ 2147483647 w 35"/>
              <a:gd name="T13" fmla="*/ 2147483647 h 26"/>
              <a:gd name="T14" fmla="*/ 2147483647 w 35"/>
              <a:gd name="T15" fmla="*/ 2147483647 h 2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"/>
              <a:gd name="T25" fmla="*/ 0 h 26"/>
              <a:gd name="T26" fmla="*/ 35 w 35"/>
              <a:gd name="T27" fmla="*/ 26 h 2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" h="26">
                <a:moveTo>
                  <a:pt x="9" y="25"/>
                </a:moveTo>
                <a:lnTo>
                  <a:pt x="0" y="17"/>
                </a:lnTo>
                <a:lnTo>
                  <a:pt x="0" y="9"/>
                </a:lnTo>
                <a:lnTo>
                  <a:pt x="9" y="0"/>
                </a:lnTo>
                <a:lnTo>
                  <a:pt x="25" y="0"/>
                </a:lnTo>
                <a:lnTo>
                  <a:pt x="34" y="9"/>
                </a:lnTo>
                <a:lnTo>
                  <a:pt x="34" y="17"/>
                </a:lnTo>
                <a:lnTo>
                  <a:pt x="9" y="25"/>
                </a:lnTo>
              </a:path>
            </a:pathLst>
          </a:custGeom>
          <a:solidFill>
            <a:srgbClr val="FF00FF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899" name="Freeform 323"/>
          <p:cNvSpPr>
            <a:spLocks/>
          </p:cNvSpPr>
          <p:nvPr>
            <p:custDataLst>
              <p:tags r:id="rId310"/>
            </p:custDataLst>
          </p:nvPr>
        </p:nvSpPr>
        <p:spPr bwMode="gray">
          <a:xfrm>
            <a:off x="4600575" y="4106863"/>
            <a:ext cx="76200" cy="79375"/>
          </a:xfrm>
          <a:custGeom>
            <a:avLst/>
            <a:gdLst>
              <a:gd name="T0" fmla="*/ 2147483647 w 49"/>
              <a:gd name="T1" fmla="*/ 2147483647 h 51"/>
              <a:gd name="T2" fmla="*/ 2147483647 w 49"/>
              <a:gd name="T3" fmla="*/ 2147483647 h 51"/>
              <a:gd name="T4" fmla="*/ 2147483647 w 49"/>
              <a:gd name="T5" fmla="*/ 2147483647 h 51"/>
              <a:gd name="T6" fmla="*/ 2147483647 w 49"/>
              <a:gd name="T7" fmla="*/ 2147483647 h 51"/>
              <a:gd name="T8" fmla="*/ 2147483647 w 49"/>
              <a:gd name="T9" fmla="*/ 2147483647 h 51"/>
              <a:gd name="T10" fmla="*/ 2147483647 w 49"/>
              <a:gd name="T11" fmla="*/ 2147483647 h 51"/>
              <a:gd name="T12" fmla="*/ 2147483647 w 49"/>
              <a:gd name="T13" fmla="*/ 2147483647 h 51"/>
              <a:gd name="T14" fmla="*/ 2147483647 w 49"/>
              <a:gd name="T15" fmla="*/ 2147483647 h 51"/>
              <a:gd name="T16" fmla="*/ 2147483647 w 49"/>
              <a:gd name="T17" fmla="*/ 0 h 51"/>
              <a:gd name="T18" fmla="*/ 2147483647 w 49"/>
              <a:gd name="T19" fmla="*/ 2147483647 h 51"/>
              <a:gd name="T20" fmla="*/ 2147483647 w 49"/>
              <a:gd name="T21" fmla="*/ 0 h 51"/>
              <a:gd name="T22" fmla="*/ 0 w 49"/>
              <a:gd name="T23" fmla="*/ 2147483647 h 51"/>
              <a:gd name="T24" fmla="*/ 2147483647 w 49"/>
              <a:gd name="T25" fmla="*/ 2147483647 h 5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49"/>
              <a:gd name="T40" fmla="*/ 0 h 51"/>
              <a:gd name="T41" fmla="*/ 49 w 49"/>
              <a:gd name="T42" fmla="*/ 51 h 5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49" h="51">
                <a:moveTo>
                  <a:pt x="7" y="16"/>
                </a:moveTo>
                <a:lnTo>
                  <a:pt x="23" y="41"/>
                </a:lnTo>
                <a:lnTo>
                  <a:pt x="32" y="50"/>
                </a:lnTo>
                <a:lnTo>
                  <a:pt x="40" y="41"/>
                </a:lnTo>
                <a:lnTo>
                  <a:pt x="48" y="41"/>
                </a:lnTo>
                <a:lnTo>
                  <a:pt x="48" y="16"/>
                </a:lnTo>
                <a:lnTo>
                  <a:pt x="40" y="16"/>
                </a:lnTo>
                <a:lnTo>
                  <a:pt x="40" y="9"/>
                </a:lnTo>
                <a:lnTo>
                  <a:pt x="17" y="0"/>
                </a:lnTo>
                <a:lnTo>
                  <a:pt x="7" y="9"/>
                </a:lnTo>
                <a:lnTo>
                  <a:pt x="7" y="0"/>
                </a:lnTo>
                <a:lnTo>
                  <a:pt x="0" y="9"/>
                </a:lnTo>
                <a:lnTo>
                  <a:pt x="7" y="16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900" name="Freeform 324"/>
          <p:cNvSpPr>
            <a:spLocks/>
          </p:cNvSpPr>
          <p:nvPr>
            <p:custDataLst>
              <p:tags r:id="rId311"/>
            </p:custDataLst>
          </p:nvPr>
        </p:nvSpPr>
        <p:spPr bwMode="gray">
          <a:xfrm>
            <a:off x="4524375" y="3940175"/>
            <a:ext cx="139700" cy="80963"/>
          </a:xfrm>
          <a:custGeom>
            <a:avLst/>
            <a:gdLst>
              <a:gd name="T0" fmla="*/ 2147483647 w 90"/>
              <a:gd name="T1" fmla="*/ 2147483647 h 51"/>
              <a:gd name="T2" fmla="*/ 2147483647 w 90"/>
              <a:gd name="T3" fmla="*/ 2147483647 h 51"/>
              <a:gd name="T4" fmla="*/ 2147483647 w 90"/>
              <a:gd name="T5" fmla="*/ 2147483647 h 51"/>
              <a:gd name="T6" fmla="*/ 2147483647 w 90"/>
              <a:gd name="T7" fmla="*/ 2147483647 h 51"/>
              <a:gd name="T8" fmla="*/ 2147483647 w 90"/>
              <a:gd name="T9" fmla="*/ 0 h 51"/>
              <a:gd name="T10" fmla="*/ 2147483647 w 90"/>
              <a:gd name="T11" fmla="*/ 0 h 51"/>
              <a:gd name="T12" fmla="*/ 2147483647 w 90"/>
              <a:gd name="T13" fmla="*/ 2147483647 h 51"/>
              <a:gd name="T14" fmla="*/ 0 w 90"/>
              <a:gd name="T15" fmla="*/ 2147483647 h 51"/>
              <a:gd name="T16" fmla="*/ 2147483647 w 90"/>
              <a:gd name="T17" fmla="*/ 2147483647 h 51"/>
              <a:gd name="T18" fmla="*/ 2147483647 w 90"/>
              <a:gd name="T19" fmla="*/ 2147483647 h 51"/>
              <a:gd name="T20" fmla="*/ 2147483647 w 90"/>
              <a:gd name="T21" fmla="*/ 2147483647 h 51"/>
              <a:gd name="T22" fmla="*/ 2147483647 w 90"/>
              <a:gd name="T23" fmla="*/ 2147483647 h 51"/>
              <a:gd name="T24" fmla="*/ 2147483647 w 90"/>
              <a:gd name="T25" fmla="*/ 2147483647 h 51"/>
              <a:gd name="T26" fmla="*/ 2147483647 w 90"/>
              <a:gd name="T27" fmla="*/ 2147483647 h 51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90"/>
              <a:gd name="T43" fmla="*/ 0 h 51"/>
              <a:gd name="T44" fmla="*/ 90 w 90"/>
              <a:gd name="T45" fmla="*/ 51 h 51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90" h="51">
                <a:moveTo>
                  <a:pt x="89" y="34"/>
                </a:moveTo>
                <a:lnTo>
                  <a:pt x="72" y="17"/>
                </a:lnTo>
                <a:lnTo>
                  <a:pt x="66" y="17"/>
                </a:lnTo>
                <a:lnTo>
                  <a:pt x="49" y="9"/>
                </a:lnTo>
                <a:lnTo>
                  <a:pt x="41" y="0"/>
                </a:lnTo>
                <a:lnTo>
                  <a:pt x="32" y="0"/>
                </a:lnTo>
                <a:lnTo>
                  <a:pt x="16" y="9"/>
                </a:lnTo>
                <a:lnTo>
                  <a:pt x="0" y="17"/>
                </a:lnTo>
                <a:lnTo>
                  <a:pt x="9" y="34"/>
                </a:lnTo>
                <a:lnTo>
                  <a:pt x="24" y="50"/>
                </a:lnTo>
                <a:lnTo>
                  <a:pt x="41" y="50"/>
                </a:lnTo>
                <a:lnTo>
                  <a:pt x="41" y="42"/>
                </a:lnTo>
                <a:lnTo>
                  <a:pt x="66" y="50"/>
                </a:lnTo>
                <a:lnTo>
                  <a:pt x="89" y="34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901" name="Freeform 328"/>
          <p:cNvSpPr>
            <a:spLocks/>
          </p:cNvSpPr>
          <p:nvPr>
            <p:custDataLst>
              <p:tags r:id="rId312"/>
            </p:custDataLst>
          </p:nvPr>
        </p:nvSpPr>
        <p:spPr bwMode="gray">
          <a:xfrm>
            <a:off x="4811713" y="4019550"/>
            <a:ext cx="85725" cy="96838"/>
          </a:xfrm>
          <a:custGeom>
            <a:avLst/>
            <a:gdLst>
              <a:gd name="T0" fmla="*/ 2147483647 w 53"/>
              <a:gd name="T1" fmla="*/ 2147483647 h 60"/>
              <a:gd name="T2" fmla="*/ 2147483647 w 53"/>
              <a:gd name="T3" fmla="*/ 2147483647 h 60"/>
              <a:gd name="T4" fmla="*/ 2147483647 w 53"/>
              <a:gd name="T5" fmla="*/ 2147483647 h 60"/>
              <a:gd name="T6" fmla="*/ 2147483647 w 53"/>
              <a:gd name="T7" fmla="*/ 2147483647 h 60"/>
              <a:gd name="T8" fmla="*/ 2147483647 w 53"/>
              <a:gd name="T9" fmla="*/ 0 h 60"/>
              <a:gd name="T10" fmla="*/ 0 w 53"/>
              <a:gd name="T11" fmla="*/ 2147483647 h 60"/>
              <a:gd name="T12" fmla="*/ 2147483647 w 53"/>
              <a:gd name="T13" fmla="*/ 2147483647 h 60"/>
              <a:gd name="T14" fmla="*/ 2147483647 w 53"/>
              <a:gd name="T15" fmla="*/ 2147483647 h 60"/>
              <a:gd name="T16" fmla="*/ 2147483647 w 53"/>
              <a:gd name="T17" fmla="*/ 2147483647 h 60"/>
              <a:gd name="T18" fmla="*/ 2147483647 w 53"/>
              <a:gd name="T19" fmla="*/ 2147483647 h 6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53"/>
              <a:gd name="T31" fmla="*/ 0 h 60"/>
              <a:gd name="T32" fmla="*/ 53 w 53"/>
              <a:gd name="T33" fmla="*/ 60 h 6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53" h="60">
                <a:moveTo>
                  <a:pt x="36" y="41"/>
                </a:moveTo>
                <a:lnTo>
                  <a:pt x="53" y="39"/>
                </a:lnTo>
                <a:lnTo>
                  <a:pt x="44" y="18"/>
                </a:lnTo>
                <a:lnTo>
                  <a:pt x="45" y="5"/>
                </a:lnTo>
                <a:lnTo>
                  <a:pt x="18" y="0"/>
                </a:lnTo>
                <a:lnTo>
                  <a:pt x="0" y="9"/>
                </a:lnTo>
                <a:lnTo>
                  <a:pt x="12" y="11"/>
                </a:lnTo>
                <a:lnTo>
                  <a:pt x="26" y="36"/>
                </a:lnTo>
                <a:lnTo>
                  <a:pt x="27" y="60"/>
                </a:lnTo>
                <a:lnTo>
                  <a:pt x="36" y="41"/>
                </a:lnTo>
                <a:close/>
              </a:path>
            </a:pathLst>
          </a:custGeom>
          <a:solidFill>
            <a:srgbClr val="33CCFF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902" name="Text Box 319"/>
          <p:cNvSpPr txBox="1">
            <a:spLocks noChangeArrowheads="1"/>
          </p:cNvSpPr>
          <p:nvPr/>
        </p:nvSpPr>
        <p:spPr bwMode="auto">
          <a:xfrm>
            <a:off x="828675" y="3979863"/>
            <a:ext cx="912813" cy="604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US" sz="1800">
                <a:solidFill>
                  <a:srgbClr val="000056"/>
                </a:solidFill>
                <a:latin typeface="Calibri" pitchFamily="34" charset="0"/>
              </a:rPr>
              <a:t>North </a:t>
            </a:r>
          </a:p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US" sz="1800">
                <a:solidFill>
                  <a:srgbClr val="000056"/>
                </a:solidFill>
                <a:latin typeface="Calibri" pitchFamily="34" charset="0"/>
              </a:rPr>
              <a:t>America</a:t>
            </a:r>
          </a:p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US" sz="1800">
                <a:solidFill>
                  <a:srgbClr val="000056"/>
                </a:solidFill>
                <a:latin typeface="Calibri" pitchFamily="34" charset="0"/>
              </a:rPr>
              <a:t>41% &gt; 36%</a:t>
            </a:r>
          </a:p>
        </p:txBody>
      </p:sp>
      <p:sp>
        <p:nvSpPr>
          <p:cNvPr id="195903" name="Text Box 320"/>
          <p:cNvSpPr txBox="1">
            <a:spLocks noChangeArrowheads="1"/>
          </p:cNvSpPr>
          <p:nvPr/>
        </p:nvSpPr>
        <p:spPr bwMode="auto">
          <a:xfrm>
            <a:off x="1712913" y="5081588"/>
            <a:ext cx="715962" cy="604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US" sz="1800">
                <a:solidFill>
                  <a:srgbClr val="000056"/>
                </a:solidFill>
                <a:latin typeface="Calibri" pitchFamily="34" charset="0"/>
              </a:rPr>
              <a:t>Latin</a:t>
            </a:r>
          </a:p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US" sz="1800">
                <a:solidFill>
                  <a:srgbClr val="000056"/>
                </a:solidFill>
                <a:latin typeface="Calibri" pitchFamily="34" charset="0"/>
              </a:rPr>
              <a:t>America</a:t>
            </a:r>
          </a:p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US" sz="1800">
                <a:solidFill>
                  <a:srgbClr val="000056"/>
                </a:solidFill>
                <a:latin typeface="Calibri" pitchFamily="34" charset="0"/>
              </a:rPr>
              <a:t>3% &gt; 7%</a:t>
            </a:r>
          </a:p>
        </p:txBody>
      </p:sp>
      <p:sp>
        <p:nvSpPr>
          <p:cNvPr id="195904" name="AutoShape 321"/>
          <p:cNvSpPr>
            <a:spLocks noChangeArrowheads="1"/>
          </p:cNvSpPr>
          <p:nvPr/>
        </p:nvSpPr>
        <p:spPr bwMode="auto">
          <a:xfrm flipV="1">
            <a:off x="7386638" y="5000625"/>
            <a:ext cx="555625" cy="374650"/>
          </a:xfrm>
          <a:prstGeom prst="downArrow">
            <a:avLst>
              <a:gd name="adj1" fmla="val 49750"/>
              <a:gd name="adj2" fmla="val 56037"/>
            </a:avLst>
          </a:prstGeom>
          <a:noFill/>
          <a:ln w="25400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/>
          <a:p>
            <a:pPr algn="l" defTabSz="457200" eaLnBrk="1" hangingPunct="1">
              <a:spcBef>
                <a:spcPct val="0"/>
              </a:spcBef>
              <a:buFontTx/>
              <a:buNone/>
            </a:pPr>
            <a:endParaRPr lang="en-US" sz="18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95905" name="Text Box 322"/>
          <p:cNvSpPr txBox="1">
            <a:spLocks noChangeArrowheads="1"/>
          </p:cNvSpPr>
          <p:nvPr/>
        </p:nvSpPr>
        <p:spPr bwMode="auto">
          <a:xfrm>
            <a:off x="7181850" y="4456113"/>
            <a:ext cx="993775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US" sz="1800">
                <a:solidFill>
                  <a:srgbClr val="000056"/>
                </a:solidFill>
                <a:latin typeface="Calibri" pitchFamily="34" charset="0"/>
              </a:rPr>
              <a:t>Asia Pacific</a:t>
            </a:r>
          </a:p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US" sz="1800">
                <a:solidFill>
                  <a:srgbClr val="000056"/>
                </a:solidFill>
                <a:latin typeface="Calibri" pitchFamily="34" charset="0"/>
              </a:rPr>
              <a:t>2% &gt; 10%</a:t>
            </a:r>
          </a:p>
        </p:txBody>
      </p:sp>
      <p:sp>
        <p:nvSpPr>
          <p:cNvPr id="195906" name="Text Box 323"/>
          <p:cNvSpPr txBox="1">
            <a:spLocks noChangeArrowheads="1"/>
          </p:cNvSpPr>
          <p:nvPr/>
        </p:nvSpPr>
        <p:spPr bwMode="auto">
          <a:xfrm>
            <a:off x="5538788" y="1598613"/>
            <a:ext cx="1104900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US" sz="1800">
                <a:solidFill>
                  <a:srgbClr val="000056"/>
                </a:solidFill>
                <a:latin typeface="Calibri" pitchFamily="34" charset="0"/>
              </a:rPr>
              <a:t>EU Non-Core</a:t>
            </a:r>
          </a:p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US" sz="1800">
                <a:solidFill>
                  <a:srgbClr val="000056"/>
                </a:solidFill>
                <a:latin typeface="Calibri" pitchFamily="34" charset="0"/>
              </a:rPr>
              <a:t>8% &gt; 21%</a:t>
            </a:r>
          </a:p>
        </p:txBody>
      </p:sp>
      <p:sp>
        <p:nvSpPr>
          <p:cNvPr id="195907" name="AutoShape 324"/>
          <p:cNvSpPr>
            <a:spLocks noChangeArrowheads="1"/>
          </p:cNvSpPr>
          <p:nvPr/>
        </p:nvSpPr>
        <p:spPr bwMode="auto">
          <a:xfrm flipV="1">
            <a:off x="4594225" y="2414588"/>
            <a:ext cx="557213" cy="374650"/>
          </a:xfrm>
          <a:prstGeom prst="downArrow">
            <a:avLst>
              <a:gd name="adj1" fmla="val 49750"/>
              <a:gd name="adj2" fmla="val 56037"/>
            </a:avLst>
          </a:prstGeom>
          <a:noFill/>
          <a:ln w="25400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/>
          <a:p>
            <a:pPr algn="l" defTabSz="457200" eaLnBrk="1" hangingPunct="1">
              <a:spcBef>
                <a:spcPct val="0"/>
              </a:spcBef>
              <a:buFontTx/>
              <a:buNone/>
            </a:pPr>
            <a:endParaRPr lang="en-US" sz="18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95908" name="Text Box 325"/>
          <p:cNvSpPr txBox="1">
            <a:spLocks noChangeArrowheads="1"/>
          </p:cNvSpPr>
          <p:nvPr/>
        </p:nvSpPr>
        <p:spPr bwMode="auto">
          <a:xfrm>
            <a:off x="4295775" y="1895475"/>
            <a:ext cx="1182688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US" sz="1800">
                <a:solidFill>
                  <a:srgbClr val="000056"/>
                </a:solidFill>
                <a:latin typeface="Calibri" pitchFamily="34" charset="0"/>
              </a:rPr>
              <a:t>EU Accession</a:t>
            </a:r>
          </a:p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US" sz="1800">
                <a:solidFill>
                  <a:srgbClr val="000056"/>
                </a:solidFill>
                <a:latin typeface="Calibri" pitchFamily="34" charset="0"/>
              </a:rPr>
              <a:t>4% &gt; 8%</a:t>
            </a:r>
          </a:p>
        </p:txBody>
      </p:sp>
      <p:sp>
        <p:nvSpPr>
          <p:cNvPr id="195909" name="Text Box 326"/>
          <p:cNvSpPr txBox="1">
            <a:spLocks noChangeArrowheads="1"/>
          </p:cNvSpPr>
          <p:nvPr/>
        </p:nvSpPr>
        <p:spPr bwMode="auto">
          <a:xfrm>
            <a:off x="5113338" y="5462588"/>
            <a:ext cx="1162050" cy="604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US" sz="1800">
                <a:solidFill>
                  <a:srgbClr val="000056"/>
                </a:solidFill>
                <a:latin typeface="Calibri" pitchFamily="34" charset="0"/>
              </a:rPr>
              <a:t>Middle East &amp;</a:t>
            </a:r>
          </a:p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US" sz="1800">
                <a:solidFill>
                  <a:srgbClr val="000056"/>
                </a:solidFill>
                <a:latin typeface="Calibri" pitchFamily="34" charset="0"/>
              </a:rPr>
              <a:t>Africa</a:t>
            </a:r>
          </a:p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US" sz="1800">
                <a:solidFill>
                  <a:srgbClr val="000056"/>
                </a:solidFill>
                <a:latin typeface="Calibri" pitchFamily="34" charset="0"/>
              </a:rPr>
              <a:t>2% &gt; 3%</a:t>
            </a:r>
          </a:p>
        </p:txBody>
      </p:sp>
      <p:grpSp>
        <p:nvGrpSpPr>
          <p:cNvPr id="2" name="Group 327"/>
          <p:cNvGrpSpPr>
            <a:grpSpLocks/>
          </p:cNvGrpSpPr>
          <p:nvPr/>
        </p:nvGrpSpPr>
        <p:grpSpPr bwMode="auto">
          <a:xfrm>
            <a:off x="4187825" y="2546350"/>
            <a:ext cx="3983038" cy="1698625"/>
            <a:chOff x="2610" y="1344"/>
            <a:chExt cx="2877" cy="1227"/>
          </a:xfrm>
        </p:grpSpPr>
        <p:grpSp>
          <p:nvGrpSpPr>
            <p:cNvPr id="195918" name="Group 328"/>
            <p:cNvGrpSpPr>
              <a:grpSpLocks/>
            </p:cNvGrpSpPr>
            <p:nvPr/>
          </p:nvGrpSpPr>
          <p:grpSpPr bwMode="auto">
            <a:xfrm>
              <a:off x="3465" y="1357"/>
              <a:ext cx="2022" cy="1206"/>
              <a:chOff x="2073" y="1512"/>
              <a:chExt cx="2118" cy="1264"/>
            </a:xfrm>
          </p:grpSpPr>
          <p:sp>
            <p:nvSpPr>
              <p:cNvPr id="195920" name="Rectangle 329"/>
              <p:cNvSpPr>
                <a:spLocks noChangeArrowheads="1"/>
              </p:cNvSpPr>
              <p:nvPr/>
            </p:nvSpPr>
            <p:spPr bwMode="auto">
              <a:xfrm>
                <a:off x="2073" y="1512"/>
                <a:ext cx="2118" cy="1264"/>
              </a:xfrm>
              <a:prstGeom prst="rect">
                <a:avLst/>
              </a:prstGeom>
              <a:solidFill>
                <a:srgbClr val="EBF7FF"/>
              </a:solidFill>
              <a:ln w="25400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</a:pPr>
                <a:endParaRPr lang="en-US" sz="1800">
                  <a:solidFill>
                    <a:srgbClr val="000000"/>
                  </a:solidFill>
                  <a:latin typeface="Calibri" pitchFamily="34" charset="0"/>
                </a:endParaRPr>
              </a:p>
            </p:txBody>
          </p:sp>
          <p:grpSp>
            <p:nvGrpSpPr>
              <p:cNvPr id="195921" name="Group 330"/>
              <p:cNvGrpSpPr>
                <a:grpSpLocks/>
              </p:cNvGrpSpPr>
              <p:nvPr/>
            </p:nvGrpSpPr>
            <p:grpSpPr bwMode="auto">
              <a:xfrm>
                <a:off x="2303" y="1641"/>
                <a:ext cx="912" cy="1085"/>
                <a:chOff x="2577" y="2088"/>
                <a:chExt cx="178" cy="212"/>
              </a:xfrm>
            </p:grpSpPr>
            <p:sp>
              <p:nvSpPr>
                <p:cNvPr id="195924" name="Freeform 115"/>
                <p:cNvSpPr>
                  <a:spLocks/>
                </p:cNvSpPr>
                <p:nvPr>
                  <p:custDataLst>
                    <p:tags r:id="rId315"/>
                  </p:custDataLst>
                </p:nvPr>
              </p:nvSpPr>
              <p:spPr bwMode="gray">
                <a:xfrm>
                  <a:off x="2577" y="2172"/>
                  <a:ext cx="68" cy="93"/>
                </a:xfrm>
                <a:custGeom>
                  <a:avLst/>
                  <a:gdLst>
                    <a:gd name="T0" fmla="*/ 2147483647 w 59"/>
                    <a:gd name="T1" fmla="*/ 0 h 82"/>
                    <a:gd name="T2" fmla="*/ 2147483647 w 59"/>
                    <a:gd name="T3" fmla="*/ 2147483647 h 82"/>
                    <a:gd name="T4" fmla="*/ 2147483647 w 59"/>
                    <a:gd name="T5" fmla="*/ 2147483647 h 82"/>
                    <a:gd name="T6" fmla="*/ 2147483647 w 59"/>
                    <a:gd name="T7" fmla="*/ 2147483647 h 82"/>
                    <a:gd name="T8" fmla="*/ 2147483647 w 59"/>
                    <a:gd name="T9" fmla="*/ 2147483647 h 82"/>
                    <a:gd name="T10" fmla="*/ 2147483647 w 59"/>
                    <a:gd name="T11" fmla="*/ 2147483647 h 82"/>
                    <a:gd name="T12" fmla="*/ 2147483647 w 59"/>
                    <a:gd name="T13" fmla="*/ 2147483647 h 82"/>
                    <a:gd name="T14" fmla="*/ 2147483647 w 59"/>
                    <a:gd name="T15" fmla="*/ 2147483647 h 82"/>
                    <a:gd name="T16" fmla="*/ 0 w 59"/>
                    <a:gd name="T17" fmla="*/ 2147483647 h 82"/>
                    <a:gd name="T18" fmla="*/ 2147483647 w 59"/>
                    <a:gd name="T19" fmla="*/ 2147483647 h 82"/>
                    <a:gd name="T20" fmla="*/ 2147483647 w 59"/>
                    <a:gd name="T21" fmla="*/ 2147483647 h 82"/>
                    <a:gd name="T22" fmla="*/ 2147483647 w 59"/>
                    <a:gd name="T23" fmla="*/ 2147483647 h 82"/>
                    <a:gd name="T24" fmla="*/ 2147483647 w 59"/>
                    <a:gd name="T25" fmla="*/ 2147483647 h 82"/>
                    <a:gd name="T26" fmla="*/ 2147483647 w 59"/>
                    <a:gd name="T27" fmla="*/ 2147483647 h 82"/>
                    <a:gd name="T28" fmla="*/ 2147483647 w 59"/>
                    <a:gd name="T29" fmla="*/ 2147483647 h 82"/>
                    <a:gd name="T30" fmla="*/ 2147483647 w 59"/>
                    <a:gd name="T31" fmla="*/ 2147483647 h 82"/>
                    <a:gd name="T32" fmla="*/ 2147483647 w 59"/>
                    <a:gd name="T33" fmla="*/ 2147483647 h 82"/>
                    <a:gd name="T34" fmla="*/ 2147483647 w 59"/>
                    <a:gd name="T35" fmla="*/ 2147483647 h 82"/>
                    <a:gd name="T36" fmla="*/ 2147483647 w 59"/>
                    <a:gd name="T37" fmla="*/ 2147483647 h 82"/>
                    <a:gd name="T38" fmla="*/ 2147483647 w 59"/>
                    <a:gd name="T39" fmla="*/ 0 h 82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59"/>
                    <a:gd name="T61" fmla="*/ 0 h 82"/>
                    <a:gd name="T62" fmla="*/ 59 w 59"/>
                    <a:gd name="T63" fmla="*/ 82 h 82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59" h="82">
                      <a:moveTo>
                        <a:pt x="42" y="0"/>
                      </a:moveTo>
                      <a:lnTo>
                        <a:pt x="33" y="16"/>
                      </a:lnTo>
                      <a:lnTo>
                        <a:pt x="42" y="22"/>
                      </a:lnTo>
                      <a:lnTo>
                        <a:pt x="58" y="22"/>
                      </a:lnTo>
                      <a:lnTo>
                        <a:pt x="58" y="32"/>
                      </a:lnTo>
                      <a:lnTo>
                        <a:pt x="58" y="47"/>
                      </a:lnTo>
                      <a:lnTo>
                        <a:pt x="49" y="72"/>
                      </a:lnTo>
                      <a:lnTo>
                        <a:pt x="8" y="81"/>
                      </a:lnTo>
                      <a:lnTo>
                        <a:pt x="0" y="72"/>
                      </a:lnTo>
                      <a:lnTo>
                        <a:pt x="8" y="72"/>
                      </a:lnTo>
                      <a:lnTo>
                        <a:pt x="18" y="47"/>
                      </a:lnTo>
                      <a:lnTo>
                        <a:pt x="8" y="40"/>
                      </a:lnTo>
                      <a:lnTo>
                        <a:pt x="18" y="32"/>
                      </a:lnTo>
                      <a:lnTo>
                        <a:pt x="8" y="32"/>
                      </a:lnTo>
                      <a:lnTo>
                        <a:pt x="8" y="22"/>
                      </a:lnTo>
                      <a:lnTo>
                        <a:pt x="25" y="22"/>
                      </a:lnTo>
                      <a:lnTo>
                        <a:pt x="33" y="16"/>
                      </a:lnTo>
                      <a:lnTo>
                        <a:pt x="25" y="16"/>
                      </a:lnTo>
                      <a:lnTo>
                        <a:pt x="25" y="7"/>
                      </a:lnTo>
                      <a:lnTo>
                        <a:pt x="42" y="0"/>
                      </a:lnTo>
                    </a:path>
                  </a:pathLst>
                </a:custGeom>
                <a:solidFill>
                  <a:srgbClr val="B6D0EC"/>
                </a:solidFill>
                <a:ln w="9525" cap="rnd">
                  <a:solidFill>
                    <a:srgbClr val="FFFFFF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95925" name="Freeform 268"/>
                <p:cNvSpPr>
                  <a:spLocks/>
                </p:cNvSpPr>
                <p:nvPr>
                  <p:custDataLst>
                    <p:tags r:id="rId316"/>
                  </p:custDataLst>
                </p:nvPr>
              </p:nvSpPr>
              <p:spPr bwMode="gray">
                <a:xfrm>
                  <a:off x="2633" y="2088"/>
                  <a:ext cx="122" cy="212"/>
                </a:xfrm>
                <a:custGeom>
                  <a:avLst/>
                  <a:gdLst>
                    <a:gd name="T0" fmla="*/ 2147483647 w 107"/>
                    <a:gd name="T1" fmla="*/ 2147483647 h 188"/>
                    <a:gd name="T2" fmla="*/ 2147483647 w 107"/>
                    <a:gd name="T3" fmla="*/ 2147483647 h 188"/>
                    <a:gd name="T4" fmla="*/ 2147483647 w 107"/>
                    <a:gd name="T5" fmla="*/ 2147483647 h 188"/>
                    <a:gd name="T6" fmla="*/ 2147483647 w 107"/>
                    <a:gd name="T7" fmla="*/ 2147483647 h 188"/>
                    <a:gd name="T8" fmla="*/ 2147483647 w 107"/>
                    <a:gd name="T9" fmla="*/ 2147483647 h 188"/>
                    <a:gd name="T10" fmla="*/ 2147483647 w 107"/>
                    <a:gd name="T11" fmla="*/ 2147483647 h 188"/>
                    <a:gd name="T12" fmla="*/ 2147483647 w 107"/>
                    <a:gd name="T13" fmla="*/ 2147483647 h 188"/>
                    <a:gd name="T14" fmla="*/ 2147483647 w 107"/>
                    <a:gd name="T15" fmla="*/ 2147483647 h 188"/>
                    <a:gd name="T16" fmla="*/ 2147483647 w 107"/>
                    <a:gd name="T17" fmla="*/ 2147483647 h 188"/>
                    <a:gd name="T18" fmla="*/ 2147483647 w 107"/>
                    <a:gd name="T19" fmla="*/ 2147483647 h 188"/>
                    <a:gd name="T20" fmla="*/ 2147483647 w 107"/>
                    <a:gd name="T21" fmla="*/ 2147483647 h 188"/>
                    <a:gd name="T22" fmla="*/ 2147483647 w 107"/>
                    <a:gd name="T23" fmla="*/ 2147483647 h 188"/>
                    <a:gd name="T24" fmla="*/ 2147483647 w 107"/>
                    <a:gd name="T25" fmla="*/ 2147483647 h 188"/>
                    <a:gd name="T26" fmla="*/ 2147483647 w 107"/>
                    <a:gd name="T27" fmla="*/ 2147483647 h 188"/>
                    <a:gd name="T28" fmla="*/ 2147483647 w 107"/>
                    <a:gd name="T29" fmla="*/ 2147483647 h 188"/>
                    <a:gd name="T30" fmla="*/ 2147483647 w 107"/>
                    <a:gd name="T31" fmla="*/ 2147483647 h 188"/>
                    <a:gd name="T32" fmla="*/ 2147483647 w 107"/>
                    <a:gd name="T33" fmla="*/ 2147483647 h 188"/>
                    <a:gd name="T34" fmla="*/ 2147483647 w 107"/>
                    <a:gd name="T35" fmla="*/ 2147483647 h 188"/>
                    <a:gd name="T36" fmla="*/ 2147483647 w 107"/>
                    <a:gd name="T37" fmla="*/ 2147483647 h 188"/>
                    <a:gd name="T38" fmla="*/ 2147483647 w 107"/>
                    <a:gd name="T39" fmla="*/ 2147483647 h 188"/>
                    <a:gd name="T40" fmla="*/ 2147483647 w 107"/>
                    <a:gd name="T41" fmla="*/ 2147483647 h 188"/>
                    <a:gd name="T42" fmla="*/ 2147483647 w 107"/>
                    <a:gd name="T43" fmla="*/ 2147483647 h 188"/>
                    <a:gd name="T44" fmla="*/ 2147483647 w 107"/>
                    <a:gd name="T45" fmla="*/ 2147483647 h 188"/>
                    <a:gd name="T46" fmla="*/ 2147483647 w 107"/>
                    <a:gd name="T47" fmla="*/ 2147483647 h 188"/>
                    <a:gd name="T48" fmla="*/ 2147483647 w 107"/>
                    <a:gd name="T49" fmla="*/ 0 h 188"/>
                    <a:gd name="T50" fmla="*/ 2147483647 w 107"/>
                    <a:gd name="T51" fmla="*/ 0 h 188"/>
                    <a:gd name="T52" fmla="*/ 2147483647 w 107"/>
                    <a:gd name="T53" fmla="*/ 0 h 188"/>
                    <a:gd name="T54" fmla="*/ 2147483647 w 107"/>
                    <a:gd name="T55" fmla="*/ 2147483647 h 188"/>
                    <a:gd name="T56" fmla="*/ 0 w 107"/>
                    <a:gd name="T57" fmla="*/ 2147483647 h 188"/>
                    <a:gd name="T58" fmla="*/ 2147483647 w 107"/>
                    <a:gd name="T59" fmla="*/ 2147483647 h 188"/>
                    <a:gd name="T60" fmla="*/ 2147483647 w 107"/>
                    <a:gd name="T61" fmla="*/ 2147483647 h 188"/>
                    <a:gd name="T62" fmla="*/ 2147483647 w 107"/>
                    <a:gd name="T63" fmla="*/ 2147483647 h 188"/>
                    <a:gd name="T64" fmla="*/ 2147483647 w 107"/>
                    <a:gd name="T65" fmla="*/ 2147483647 h 188"/>
                    <a:gd name="T66" fmla="*/ 2147483647 w 107"/>
                    <a:gd name="T67" fmla="*/ 2147483647 h 188"/>
                    <a:gd name="T68" fmla="*/ 2147483647 w 107"/>
                    <a:gd name="T69" fmla="*/ 2147483647 h 188"/>
                    <a:gd name="T70" fmla="*/ 2147483647 w 107"/>
                    <a:gd name="T71" fmla="*/ 2147483647 h 188"/>
                    <a:gd name="T72" fmla="*/ 2147483647 w 107"/>
                    <a:gd name="T73" fmla="*/ 2147483647 h 188"/>
                    <a:gd name="T74" fmla="*/ 2147483647 w 107"/>
                    <a:gd name="T75" fmla="*/ 2147483647 h 188"/>
                    <a:gd name="T76" fmla="*/ 2147483647 w 107"/>
                    <a:gd name="T77" fmla="*/ 2147483647 h 188"/>
                    <a:gd name="T78" fmla="*/ 2147483647 w 107"/>
                    <a:gd name="T79" fmla="*/ 2147483647 h 188"/>
                    <a:gd name="T80" fmla="*/ 2147483647 w 107"/>
                    <a:gd name="T81" fmla="*/ 2147483647 h 188"/>
                    <a:gd name="T82" fmla="*/ 2147483647 w 107"/>
                    <a:gd name="T83" fmla="*/ 2147483647 h 188"/>
                    <a:gd name="T84" fmla="*/ 2147483647 w 107"/>
                    <a:gd name="T85" fmla="*/ 2147483647 h 188"/>
                    <a:gd name="T86" fmla="*/ 2147483647 w 107"/>
                    <a:gd name="T87" fmla="*/ 2147483647 h 188"/>
                    <a:gd name="T88" fmla="*/ 2147483647 w 107"/>
                    <a:gd name="T89" fmla="*/ 2147483647 h 188"/>
                    <a:gd name="T90" fmla="*/ 2147483647 w 107"/>
                    <a:gd name="T91" fmla="*/ 2147483647 h 188"/>
                    <a:gd name="T92" fmla="*/ 2147483647 w 107"/>
                    <a:gd name="T93" fmla="*/ 2147483647 h 188"/>
                    <a:gd name="T94" fmla="*/ 2147483647 w 107"/>
                    <a:gd name="T95" fmla="*/ 2147483647 h 188"/>
                    <a:gd name="T96" fmla="*/ 2147483647 w 107"/>
                    <a:gd name="T97" fmla="*/ 2147483647 h 188"/>
                    <a:gd name="T98" fmla="*/ 2147483647 w 107"/>
                    <a:gd name="T99" fmla="*/ 2147483647 h 188"/>
                    <a:gd name="T100" fmla="*/ 2147483647 w 107"/>
                    <a:gd name="T101" fmla="*/ 2147483647 h 188"/>
                    <a:gd name="T102" fmla="*/ 2147483647 w 107"/>
                    <a:gd name="T103" fmla="*/ 2147483647 h 188"/>
                    <a:gd name="T104" fmla="*/ 2147483647 w 107"/>
                    <a:gd name="T105" fmla="*/ 2147483647 h 188"/>
                    <a:gd name="T106" fmla="*/ 2147483647 w 107"/>
                    <a:gd name="T107" fmla="*/ 2147483647 h 188"/>
                    <a:gd name="T108" fmla="*/ 2147483647 w 107"/>
                    <a:gd name="T109" fmla="*/ 2147483647 h 188"/>
                    <a:gd name="T110" fmla="*/ 2147483647 w 107"/>
                    <a:gd name="T111" fmla="*/ 2147483647 h 188"/>
                    <a:gd name="T112" fmla="*/ 2147483647 w 107"/>
                    <a:gd name="T113" fmla="*/ 2147483647 h 188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107"/>
                    <a:gd name="T172" fmla="*/ 0 h 188"/>
                    <a:gd name="T173" fmla="*/ 107 w 107"/>
                    <a:gd name="T174" fmla="*/ 188 h 188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107" h="188">
                      <a:moveTo>
                        <a:pt x="18" y="187"/>
                      </a:moveTo>
                      <a:lnTo>
                        <a:pt x="24" y="179"/>
                      </a:lnTo>
                      <a:lnTo>
                        <a:pt x="41" y="187"/>
                      </a:lnTo>
                      <a:lnTo>
                        <a:pt x="41" y="179"/>
                      </a:lnTo>
                      <a:lnTo>
                        <a:pt x="49" y="171"/>
                      </a:lnTo>
                      <a:lnTo>
                        <a:pt x="58" y="179"/>
                      </a:lnTo>
                      <a:lnTo>
                        <a:pt x="66" y="171"/>
                      </a:lnTo>
                      <a:lnTo>
                        <a:pt x="98" y="171"/>
                      </a:lnTo>
                      <a:lnTo>
                        <a:pt x="106" y="162"/>
                      </a:lnTo>
                      <a:lnTo>
                        <a:pt x="90" y="162"/>
                      </a:lnTo>
                      <a:lnTo>
                        <a:pt x="106" y="138"/>
                      </a:lnTo>
                      <a:lnTo>
                        <a:pt x="98" y="131"/>
                      </a:lnTo>
                      <a:lnTo>
                        <a:pt x="90" y="131"/>
                      </a:lnTo>
                      <a:lnTo>
                        <a:pt x="81" y="131"/>
                      </a:lnTo>
                      <a:lnTo>
                        <a:pt x="90" y="122"/>
                      </a:lnTo>
                      <a:lnTo>
                        <a:pt x="90" y="115"/>
                      </a:lnTo>
                      <a:lnTo>
                        <a:pt x="81" y="97"/>
                      </a:lnTo>
                      <a:lnTo>
                        <a:pt x="74" y="91"/>
                      </a:lnTo>
                      <a:lnTo>
                        <a:pt x="58" y="66"/>
                      </a:lnTo>
                      <a:lnTo>
                        <a:pt x="41" y="57"/>
                      </a:lnTo>
                      <a:lnTo>
                        <a:pt x="66" y="25"/>
                      </a:lnTo>
                      <a:lnTo>
                        <a:pt x="58" y="17"/>
                      </a:lnTo>
                      <a:lnTo>
                        <a:pt x="33" y="25"/>
                      </a:lnTo>
                      <a:lnTo>
                        <a:pt x="33" y="10"/>
                      </a:lnTo>
                      <a:lnTo>
                        <a:pt x="49" y="0"/>
                      </a:lnTo>
                      <a:lnTo>
                        <a:pt x="41" y="0"/>
                      </a:lnTo>
                      <a:lnTo>
                        <a:pt x="24" y="0"/>
                      </a:lnTo>
                      <a:lnTo>
                        <a:pt x="9" y="25"/>
                      </a:lnTo>
                      <a:lnTo>
                        <a:pt x="0" y="25"/>
                      </a:lnTo>
                      <a:lnTo>
                        <a:pt x="9" y="33"/>
                      </a:lnTo>
                      <a:lnTo>
                        <a:pt x="18" y="33"/>
                      </a:lnTo>
                      <a:lnTo>
                        <a:pt x="9" y="50"/>
                      </a:lnTo>
                      <a:lnTo>
                        <a:pt x="18" y="50"/>
                      </a:lnTo>
                      <a:lnTo>
                        <a:pt x="18" y="57"/>
                      </a:lnTo>
                      <a:lnTo>
                        <a:pt x="9" y="66"/>
                      </a:lnTo>
                      <a:lnTo>
                        <a:pt x="18" y="66"/>
                      </a:lnTo>
                      <a:lnTo>
                        <a:pt x="24" y="75"/>
                      </a:lnTo>
                      <a:lnTo>
                        <a:pt x="18" y="82"/>
                      </a:lnTo>
                      <a:lnTo>
                        <a:pt x="24" y="91"/>
                      </a:lnTo>
                      <a:lnTo>
                        <a:pt x="41" y="82"/>
                      </a:lnTo>
                      <a:lnTo>
                        <a:pt x="41" y="91"/>
                      </a:lnTo>
                      <a:lnTo>
                        <a:pt x="41" y="97"/>
                      </a:lnTo>
                      <a:lnTo>
                        <a:pt x="49" y="97"/>
                      </a:lnTo>
                      <a:lnTo>
                        <a:pt x="49" y="115"/>
                      </a:lnTo>
                      <a:lnTo>
                        <a:pt x="24" y="115"/>
                      </a:lnTo>
                      <a:lnTo>
                        <a:pt x="33" y="122"/>
                      </a:lnTo>
                      <a:lnTo>
                        <a:pt x="24" y="131"/>
                      </a:lnTo>
                      <a:lnTo>
                        <a:pt x="33" y="131"/>
                      </a:lnTo>
                      <a:lnTo>
                        <a:pt x="33" y="138"/>
                      </a:lnTo>
                      <a:lnTo>
                        <a:pt x="18" y="147"/>
                      </a:lnTo>
                      <a:lnTo>
                        <a:pt x="24" y="156"/>
                      </a:lnTo>
                      <a:lnTo>
                        <a:pt x="33" y="156"/>
                      </a:lnTo>
                      <a:lnTo>
                        <a:pt x="41" y="162"/>
                      </a:lnTo>
                      <a:lnTo>
                        <a:pt x="49" y="156"/>
                      </a:lnTo>
                      <a:lnTo>
                        <a:pt x="49" y="162"/>
                      </a:lnTo>
                      <a:lnTo>
                        <a:pt x="33" y="162"/>
                      </a:lnTo>
                      <a:lnTo>
                        <a:pt x="18" y="187"/>
                      </a:lnTo>
                    </a:path>
                  </a:pathLst>
                </a:custGeom>
                <a:solidFill>
                  <a:srgbClr val="B6D0EC"/>
                </a:solidFill>
                <a:ln w="9525" cap="rnd">
                  <a:solidFill>
                    <a:srgbClr val="FFFFFF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GB"/>
                </a:p>
              </p:txBody>
            </p:sp>
          </p:grpSp>
          <p:sp>
            <p:nvSpPr>
              <p:cNvPr id="195922" name="AutoShape 333"/>
              <p:cNvSpPr>
                <a:spLocks noChangeArrowheads="1"/>
              </p:cNvSpPr>
              <p:nvPr/>
            </p:nvSpPr>
            <p:spPr bwMode="auto">
              <a:xfrm>
                <a:off x="3364" y="2222"/>
                <a:ext cx="454" cy="302"/>
              </a:xfrm>
              <a:prstGeom prst="downArrow">
                <a:avLst>
                  <a:gd name="adj1" fmla="val 49750"/>
                  <a:gd name="adj2" fmla="val 56037"/>
                </a:avLst>
              </a:prstGeom>
              <a:noFill/>
              <a:ln w="25400">
                <a:solidFill>
                  <a:srgbClr val="E04804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0" tIns="0" rIns="0" bIns="0" anchor="ctr"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</a:pPr>
                <a:endParaRPr lang="en-US" sz="1800">
                  <a:solidFill>
                    <a:srgbClr val="000000"/>
                  </a:solidFill>
                  <a:latin typeface="Calibri" pitchFamily="34" charset="0"/>
                </a:endParaRPr>
              </a:p>
            </p:txBody>
          </p:sp>
          <p:sp>
            <p:nvSpPr>
              <p:cNvPr id="195923" name="Text Box 334"/>
              <p:cNvSpPr txBox="1">
                <a:spLocks noChangeArrowheads="1"/>
              </p:cNvSpPr>
              <p:nvPr/>
            </p:nvSpPr>
            <p:spPr bwMode="auto">
              <a:xfrm>
                <a:off x="2997" y="1779"/>
                <a:ext cx="1149" cy="4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254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defTabSz="457200">
                  <a:defRPr sz="2800">
                    <a:solidFill>
                      <a:srgbClr val="FF6600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defTabSz="457200">
                  <a:defRPr sz="2800">
                    <a:solidFill>
                      <a:srgbClr val="FF6600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defTabSz="457200">
                  <a:defRPr sz="2800">
                    <a:solidFill>
                      <a:srgbClr val="FF6600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defTabSz="457200">
                  <a:defRPr sz="2800">
                    <a:solidFill>
                      <a:srgbClr val="FF6600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defTabSz="457200">
                  <a:defRPr sz="2800">
                    <a:solidFill>
                      <a:srgbClr val="FF6600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2800">
                    <a:solidFill>
                      <a:srgbClr val="FF6600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2800">
                    <a:solidFill>
                      <a:srgbClr val="FF6600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2800">
                    <a:solidFill>
                      <a:srgbClr val="FF6600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2800">
                    <a:solidFill>
                      <a:srgbClr val="FF6600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>
                  <a:lnSpc>
                    <a:spcPct val="95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sz="1800">
                    <a:solidFill>
                      <a:srgbClr val="000056"/>
                    </a:solidFill>
                    <a:latin typeface="Calibri" pitchFamily="34" charset="0"/>
                  </a:rPr>
                  <a:t>United Kingdom</a:t>
                </a:r>
              </a:p>
              <a:p>
                <a:pPr>
                  <a:lnSpc>
                    <a:spcPct val="95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sz="1800">
                    <a:solidFill>
                      <a:srgbClr val="000056"/>
                    </a:solidFill>
                    <a:latin typeface="Calibri" pitchFamily="34" charset="0"/>
                  </a:rPr>
                  <a:t>26% &gt; 14%</a:t>
                </a:r>
              </a:p>
            </p:txBody>
          </p:sp>
        </p:grpSp>
        <p:sp>
          <p:nvSpPr>
            <p:cNvPr id="195919" name="Freeform 335"/>
            <p:cNvSpPr>
              <a:spLocks/>
            </p:cNvSpPr>
            <p:nvPr/>
          </p:nvSpPr>
          <p:spPr bwMode="auto">
            <a:xfrm>
              <a:off x="2610" y="1344"/>
              <a:ext cx="852" cy="1227"/>
            </a:xfrm>
            <a:custGeom>
              <a:avLst/>
              <a:gdLst>
                <a:gd name="T0" fmla="*/ 6 w 816"/>
                <a:gd name="T1" fmla="*/ 920 h 1215"/>
                <a:gd name="T2" fmla="*/ 1433 w 816"/>
                <a:gd name="T3" fmla="*/ 0 h 1215"/>
                <a:gd name="T4" fmla="*/ 1433 w 816"/>
                <a:gd name="T5" fmla="*/ 1379 h 1215"/>
                <a:gd name="T6" fmla="*/ 131 w 816"/>
                <a:gd name="T7" fmla="*/ 1128 h 1215"/>
                <a:gd name="T8" fmla="*/ 64 w 816"/>
                <a:gd name="T9" fmla="*/ 1039 h 1215"/>
                <a:gd name="T10" fmla="*/ 25 w 816"/>
                <a:gd name="T11" fmla="*/ 993 h 1215"/>
                <a:gd name="T12" fmla="*/ 0 w 816"/>
                <a:gd name="T13" fmla="*/ 947 h 1215"/>
                <a:gd name="T14" fmla="*/ 6 w 816"/>
                <a:gd name="T15" fmla="*/ 920 h 121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16"/>
                <a:gd name="T25" fmla="*/ 0 h 1215"/>
                <a:gd name="T26" fmla="*/ 816 w 816"/>
                <a:gd name="T27" fmla="*/ 1215 h 121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16" h="1215">
                  <a:moveTo>
                    <a:pt x="6" y="810"/>
                  </a:moveTo>
                  <a:lnTo>
                    <a:pt x="816" y="0"/>
                  </a:lnTo>
                  <a:lnTo>
                    <a:pt x="816" y="1215"/>
                  </a:lnTo>
                  <a:lnTo>
                    <a:pt x="75" y="993"/>
                  </a:lnTo>
                  <a:lnTo>
                    <a:pt x="36" y="915"/>
                  </a:lnTo>
                  <a:lnTo>
                    <a:pt x="12" y="873"/>
                  </a:lnTo>
                  <a:lnTo>
                    <a:pt x="0" y="834"/>
                  </a:lnTo>
                  <a:lnTo>
                    <a:pt x="6" y="810"/>
                  </a:lnTo>
                  <a:close/>
                </a:path>
              </a:pathLst>
            </a:custGeom>
            <a:solidFill>
              <a:schemeClr val="bg2">
                <a:alpha val="47058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</p:grpSp>
      <p:sp>
        <p:nvSpPr>
          <p:cNvPr id="195911" name="Freeform 115"/>
          <p:cNvSpPr>
            <a:spLocks/>
          </p:cNvSpPr>
          <p:nvPr>
            <p:custDataLst>
              <p:tags r:id="rId313"/>
            </p:custDataLst>
          </p:nvPr>
        </p:nvSpPr>
        <p:spPr bwMode="gray">
          <a:xfrm>
            <a:off x="4075113" y="3803650"/>
            <a:ext cx="93662" cy="128588"/>
          </a:xfrm>
          <a:custGeom>
            <a:avLst/>
            <a:gdLst>
              <a:gd name="T0" fmla="*/ 2147483647 w 59"/>
              <a:gd name="T1" fmla="*/ 0 h 82"/>
              <a:gd name="T2" fmla="*/ 2147483647 w 59"/>
              <a:gd name="T3" fmla="*/ 2147483647 h 82"/>
              <a:gd name="T4" fmla="*/ 2147483647 w 59"/>
              <a:gd name="T5" fmla="*/ 2147483647 h 82"/>
              <a:gd name="T6" fmla="*/ 2147483647 w 59"/>
              <a:gd name="T7" fmla="*/ 2147483647 h 82"/>
              <a:gd name="T8" fmla="*/ 2147483647 w 59"/>
              <a:gd name="T9" fmla="*/ 2147483647 h 82"/>
              <a:gd name="T10" fmla="*/ 2147483647 w 59"/>
              <a:gd name="T11" fmla="*/ 2147483647 h 82"/>
              <a:gd name="T12" fmla="*/ 2147483647 w 59"/>
              <a:gd name="T13" fmla="*/ 2147483647 h 82"/>
              <a:gd name="T14" fmla="*/ 2147483647 w 59"/>
              <a:gd name="T15" fmla="*/ 2147483647 h 82"/>
              <a:gd name="T16" fmla="*/ 0 w 59"/>
              <a:gd name="T17" fmla="*/ 2147483647 h 82"/>
              <a:gd name="T18" fmla="*/ 2147483647 w 59"/>
              <a:gd name="T19" fmla="*/ 2147483647 h 82"/>
              <a:gd name="T20" fmla="*/ 2147483647 w 59"/>
              <a:gd name="T21" fmla="*/ 2147483647 h 82"/>
              <a:gd name="T22" fmla="*/ 2147483647 w 59"/>
              <a:gd name="T23" fmla="*/ 2147483647 h 82"/>
              <a:gd name="T24" fmla="*/ 2147483647 w 59"/>
              <a:gd name="T25" fmla="*/ 2147483647 h 82"/>
              <a:gd name="T26" fmla="*/ 2147483647 w 59"/>
              <a:gd name="T27" fmla="*/ 2147483647 h 82"/>
              <a:gd name="T28" fmla="*/ 2147483647 w 59"/>
              <a:gd name="T29" fmla="*/ 2147483647 h 82"/>
              <a:gd name="T30" fmla="*/ 2147483647 w 59"/>
              <a:gd name="T31" fmla="*/ 2147483647 h 82"/>
              <a:gd name="T32" fmla="*/ 2147483647 w 59"/>
              <a:gd name="T33" fmla="*/ 2147483647 h 82"/>
              <a:gd name="T34" fmla="*/ 2147483647 w 59"/>
              <a:gd name="T35" fmla="*/ 2147483647 h 82"/>
              <a:gd name="T36" fmla="*/ 2147483647 w 59"/>
              <a:gd name="T37" fmla="*/ 2147483647 h 82"/>
              <a:gd name="T38" fmla="*/ 2147483647 w 59"/>
              <a:gd name="T39" fmla="*/ 0 h 82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59"/>
              <a:gd name="T61" fmla="*/ 0 h 82"/>
              <a:gd name="T62" fmla="*/ 59 w 59"/>
              <a:gd name="T63" fmla="*/ 82 h 82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59" h="82">
                <a:moveTo>
                  <a:pt x="42" y="0"/>
                </a:moveTo>
                <a:lnTo>
                  <a:pt x="33" y="16"/>
                </a:lnTo>
                <a:lnTo>
                  <a:pt x="42" y="22"/>
                </a:lnTo>
                <a:lnTo>
                  <a:pt x="58" y="22"/>
                </a:lnTo>
                <a:lnTo>
                  <a:pt x="58" y="32"/>
                </a:lnTo>
                <a:lnTo>
                  <a:pt x="58" y="47"/>
                </a:lnTo>
                <a:lnTo>
                  <a:pt x="49" y="72"/>
                </a:lnTo>
                <a:lnTo>
                  <a:pt x="8" y="81"/>
                </a:lnTo>
                <a:lnTo>
                  <a:pt x="0" y="72"/>
                </a:lnTo>
                <a:lnTo>
                  <a:pt x="8" y="72"/>
                </a:lnTo>
                <a:lnTo>
                  <a:pt x="18" y="47"/>
                </a:lnTo>
                <a:lnTo>
                  <a:pt x="8" y="40"/>
                </a:lnTo>
                <a:lnTo>
                  <a:pt x="18" y="32"/>
                </a:lnTo>
                <a:lnTo>
                  <a:pt x="8" y="32"/>
                </a:lnTo>
                <a:lnTo>
                  <a:pt x="8" y="22"/>
                </a:lnTo>
                <a:lnTo>
                  <a:pt x="25" y="22"/>
                </a:lnTo>
                <a:lnTo>
                  <a:pt x="33" y="16"/>
                </a:lnTo>
                <a:lnTo>
                  <a:pt x="25" y="16"/>
                </a:lnTo>
                <a:lnTo>
                  <a:pt x="25" y="7"/>
                </a:lnTo>
                <a:lnTo>
                  <a:pt x="42" y="0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912" name="Freeform 268"/>
          <p:cNvSpPr>
            <a:spLocks/>
          </p:cNvSpPr>
          <p:nvPr>
            <p:custDataLst>
              <p:tags r:id="rId314"/>
            </p:custDataLst>
          </p:nvPr>
        </p:nvSpPr>
        <p:spPr bwMode="gray">
          <a:xfrm>
            <a:off x="4152900" y="3687763"/>
            <a:ext cx="168275" cy="292100"/>
          </a:xfrm>
          <a:custGeom>
            <a:avLst/>
            <a:gdLst>
              <a:gd name="T0" fmla="*/ 2147483647 w 107"/>
              <a:gd name="T1" fmla="*/ 2147483647 h 188"/>
              <a:gd name="T2" fmla="*/ 2147483647 w 107"/>
              <a:gd name="T3" fmla="*/ 2147483647 h 188"/>
              <a:gd name="T4" fmla="*/ 2147483647 w 107"/>
              <a:gd name="T5" fmla="*/ 2147483647 h 188"/>
              <a:gd name="T6" fmla="*/ 2147483647 w 107"/>
              <a:gd name="T7" fmla="*/ 2147483647 h 188"/>
              <a:gd name="T8" fmla="*/ 2147483647 w 107"/>
              <a:gd name="T9" fmla="*/ 2147483647 h 188"/>
              <a:gd name="T10" fmla="*/ 2147483647 w 107"/>
              <a:gd name="T11" fmla="*/ 2147483647 h 188"/>
              <a:gd name="T12" fmla="*/ 2147483647 w 107"/>
              <a:gd name="T13" fmla="*/ 2147483647 h 188"/>
              <a:gd name="T14" fmla="*/ 2147483647 w 107"/>
              <a:gd name="T15" fmla="*/ 2147483647 h 188"/>
              <a:gd name="T16" fmla="*/ 2147483647 w 107"/>
              <a:gd name="T17" fmla="*/ 2147483647 h 188"/>
              <a:gd name="T18" fmla="*/ 2147483647 w 107"/>
              <a:gd name="T19" fmla="*/ 2147483647 h 188"/>
              <a:gd name="T20" fmla="*/ 2147483647 w 107"/>
              <a:gd name="T21" fmla="*/ 2147483647 h 188"/>
              <a:gd name="T22" fmla="*/ 2147483647 w 107"/>
              <a:gd name="T23" fmla="*/ 2147483647 h 188"/>
              <a:gd name="T24" fmla="*/ 2147483647 w 107"/>
              <a:gd name="T25" fmla="*/ 2147483647 h 188"/>
              <a:gd name="T26" fmla="*/ 2147483647 w 107"/>
              <a:gd name="T27" fmla="*/ 2147483647 h 188"/>
              <a:gd name="T28" fmla="*/ 2147483647 w 107"/>
              <a:gd name="T29" fmla="*/ 2147483647 h 188"/>
              <a:gd name="T30" fmla="*/ 2147483647 w 107"/>
              <a:gd name="T31" fmla="*/ 2147483647 h 188"/>
              <a:gd name="T32" fmla="*/ 2147483647 w 107"/>
              <a:gd name="T33" fmla="*/ 2147483647 h 188"/>
              <a:gd name="T34" fmla="*/ 2147483647 w 107"/>
              <a:gd name="T35" fmla="*/ 2147483647 h 188"/>
              <a:gd name="T36" fmla="*/ 2147483647 w 107"/>
              <a:gd name="T37" fmla="*/ 2147483647 h 188"/>
              <a:gd name="T38" fmla="*/ 2147483647 w 107"/>
              <a:gd name="T39" fmla="*/ 2147483647 h 188"/>
              <a:gd name="T40" fmla="*/ 2147483647 w 107"/>
              <a:gd name="T41" fmla="*/ 2147483647 h 188"/>
              <a:gd name="T42" fmla="*/ 2147483647 w 107"/>
              <a:gd name="T43" fmla="*/ 2147483647 h 188"/>
              <a:gd name="T44" fmla="*/ 2147483647 w 107"/>
              <a:gd name="T45" fmla="*/ 2147483647 h 188"/>
              <a:gd name="T46" fmla="*/ 2147483647 w 107"/>
              <a:gd name="T47" fmla="*/ 2147483647 h 188"/>
              <a:gd name="T48" fmla="*/ 2147483647 w 107"/>
              <a:gd name="T49" fmla="*/ 0 h 188"/>
              <a:gd name="T50" fmla="*/ 2147483647 w 107"/>
              <a:gd name="T51" fmla="*/ 0 h 188"/>
              <a:gd name="T52" fmla="*/ 2147483647 w 107"/>
              <a:gd name="T53" fmla="*/ 0 h 188"/>
              <a:gd name="T54" fmla="*/ 2147483647 w 107"/>
              <a:gd name="T55" fmla="*/ 2147483647 h 188"/>
              <a:gd name="T56" fmla="*/ 0 w 107"/>
              <a:gd name="T57" fmla="*/ 2147483647 h 188"/>
              <a:gd name="T58" fmla="*/ 2147483647 w 107"/>
              <a:gd name="T59" fmla="*/ 2147483647 h 188"/>
              <a:gd name="T60" fmla="*/ 2147483647 w 107"/>
              <a:gd name="T61" fmla="*/ 2147483647 h 188"/>
              <a:gd name="T62" fmla="*/ 2147483647 w 107"/>
              <a:gd name="T63" fmla="*/ 2147483647 h 188"/>
              <a:gd name="T64" fmla="*/ 2147483647 w 107"/>
              <a:gd name="T65" fmla="*/ 2147483647 h 188"/>
              <a:gd name="T66" fmla="*/ 2147483647 w 107"/>
              <a:gd name="T67" fmla="*/ 2147483647 h 188"/>
              <a:gd name="T68" fmla="*/ 2147483647 w 107"/>
              <a:gd name="T69" fmla="*/ 2147483647 h 188"/>
              <a:gd name="T70" fmla="*/ 2147483647 w 107"/>
              <a:gd name="T71" fmla="*/ 2147483647 h 188"/>
              <a:gd name="T72" fmla="*/ 2147483647 w 107"/>
              <a:gd name="T73" fmla="*/ 2147483647 h 188"/>
              <a:gd name="T74" fmla="*/ 2147483647 w 107"/>
              <a:gd name="T75" fmla="*/ 2147483647 h 188"/>
              <a:gd name="T76" fmla="*/ 2147483647 w 107"/>
              <a:gd name="T77" fmla="*/ 2147483647 h 188"/>
              <a:gd name="T78" fmla="*/ 2147483647 w 107"/>
              <a:gd name="T79" fmla="*/ 2147483647 h 188"/>
              <a:gd name="T80" fmla="*/ 2147483647 w 107"/>
              <a:gd name="T81" fmla="*/ 2147483647 h 188"/>
              <a:gd name="T82" fmla="*/ 2147483647 w 107"/>
              <a:gd name="T83" fmla="*/ 2147483647 h 188"/>
              <a:gd name="T84" fmla="*/ 2147483647 w 107"/>
              <a:gd name="T85" fmla="*/ 2147483647 h 188"/>
              <a:gd name="T86" fmla="*/ 2147483647 w 107"/>
              <a:gd name="T87" fmla="*/ 2147483647 h 188"/>
              <a:gd name="T88" fmla="*/ 2147483647 w 107"/>
              <a:gd name="T89" fmla="*/ 2147483647 h 188"/>
              <a:gd name="T90" fmla="*/ 2147483647 w 107"/>
              <a:gd name="T91" fmla="*/ 2147483647 h 188"/>
              <a:gd name="T92" fmla="*/ 2147483647 w 107"/>
              <a:gd name="T93" fmla="*/ 2147483647 h 188"/>
              <a:gd name="T94" fmla="*/ 2147483647 w 107"/>
              <a:gd name="T95" fmla="*/ 2147483647 h 188"/>
              <a:gd name="T96" fmla="*/ 2147483647 w 107"/>
              <a:gd name="T97" fmla="*/ 2147483647 h 188"/>
              <a:gd name="T98" fmla="*/ 2147483647 w 107"/>
              <a:gd name="T99" fmla="*/ 2147483647 h 188"/>
              <a:gd name="T100" fmla="*/ 2147483647 w 107"/>
              <a:gd name="T101" fmla="*/ 2147483647 h 188"/>
              <a:gd name="T102" fmla="*/ 2147483647 w 107"/>
              <a:gd name="T103" fmla="*/ 2147483647 h 188"/>
              <a:gd name="T104" fmla="*/ 2147483647 w 107"/>
              <a:gd name="T105" fmla="*/ 2147483647 h 188"/>
              <a:gd name="T106" fmla="*/ 2147483647 w 107"/>
              <a:gd name="T107" fmla="*/ 2147483647 h 188"/>
              <a:gd name="T108" fmla="*/ 2147483647 w 107"/>
              <a:gd name="T109" fmla="*/ 2147483647 h 188"/>
              <a:gd name="T110" fmla="*/ 2147483647 w 107"/>
              <a:gd name="T111" fmla="*/ 2147483647 h 188"/>
              <a:gd name="T112" fmla="*/ 2147483647 w 107"/>
              <a:gd name="T113" fmla="*/ 2147483647 h 18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07"/>
              <a:gd name="T172" fmla="*/ 0 h 188"/>
              <a:gd name="T173" fmla="*/ 107 w 107"/>
              <a:gd name="T174" fmla="*/ 188 h 188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07" h="188">
                <a:moveTo>
                  <a:pt x="18" y="187"/>
                </a:moveTo>
                <a:lnTo>
                  <a:pt x="24" y="179"/>
                </a:lnTo>
                <a:lnTo>
                  <a:pt x="41" y="187"/>
                </a:lnTo>
                <a:lnTo>
                  <a:pt x="41" y="179"/>
                </a:lnTo>
                <a:lnTo>
                  <a:pt x="49" y="171"/>
                </a:lnTo>
                <a:lnTo>
                  <a:pt x="58" y="179"/>
                </a:lnTo>
                <a:lnTo>
                  <a:pt x="66" y="171"/>
                </a:lnTo>
                <a:lnTo>
                  <a:pt x="98" y="171"/>
                </a:lnTo>
                <a:lnTo>
                  <a:pt x="106" y="162"/>
                </a:lnTo>
                <a:lnTo>
                  <a:pt x="90" y="162"/>
                </a:lnTo>
                <a:lnTo>
                  <a:pt x="106" y="138"/>
                </a:lnTo>
                <a:lnTo>
                  <a:pt x="98" y="131"/>
                </a:lnTo>
                <a:lnTo>
                  <a:pt x="90" y="131"/>
                </a:lnTo>
                <a:lnTo>
                  <a:pt x="81" y="131"/>
                </a:lnTo>
                <a:lnTo>
                  <a:pt x="90" y="122"/>
                </a:lnTo>
                <a:lnTo>
                  <a:pt x="90" y="115"/>
                </a:lnTo>
                <a:lnTo>
                  <a:pt x="81" y="97"/>
                </a:lnTo>
                <a:lnTo>
                  <a:pt x="74" y="91"/>
                </a:lnTo>
                <a:lnTo>
                  <a:pt x="58" y="66"/>
                </a:lnTo>
                <a:lnTo>
                  <a:pt x="41" y="57"/>
                </a:lnTo>
                <a:lnTo>
                  <a:pt x="66" y="25"/>
                </a:lnTo>
                <a:lnTo>
                  <a:pt x="58" y="17"/>
                </a:lnTo>
                <a:lnTo>
                  <a:pt x="33" y="25"/>
                </a:lnTo>
                <a:lnTo>
                  <a:pt x="33" y="10"/>
                </a:lnTo>
                <a:lnTo>
                  <a:pt x="49" y="0"/>
                </a:lnTo>
                <a:lnTo>
                  <a:pt x="41" y="0"/>
                </a:lnTo>
                <a:lnTo>
                  <a:pt x="24" y="0"/>
                </a:lnTo>
                <a:lnTo>
                  <a:pt x="9" y="25"/>
                </a:lnTo>
                <a:lnTo>
                  <a:pt x="0" y="25"/>
                </a:lnTo>
                <a:lnTo>
                  <a:pt x="9" y="33"/>
                </a:lnTo>
                <a:lnTo>
                  <a:pt x="18" y="33"/>
                </a:lnTo>
                <a:lnTo>
                  <a:pt x="9" y="50"/>
                </a:lnTo>
                <a:lnTo>
                  <a:pt x="18" y="50"/>
                </a:lnTo>
                <a:lnTo>
                  <a:pt x="18" y="57"/>
                </a:lnTo>
                <a:lnTo>
                  <a:pt x="9" y="66"/>
                </a:lnTo>
                <a:lnTo>
                  <a:pt x="18" y="66"/>
                </a:lnTo>
                <a:lnTo>
                  <a:pt x="24" y="75"/>
                </a:lnTo>
                <a:lnTo>
                  <a:pt x="18" y="82"/>
                </a:lnTo>
                <a:lnTo>
                  <a:pt x="24" y="91"/>
                </a:lnTo>
                <a:lnTo>
                  <a:pt x="41" y="82"/>
                </a:lnTo>
                <a:lnTo>
                  <a:pt x="41" y="91"/>
                </a:lnTo>
                <a:lnTo>
                  <a:pt x="41" y="97"/>
                </a:lnTo>
                <a:lnTo>
                  <a:pt x="49" y="97"/>
                </a:lnTo>
                <a:lnTo>
                  <a:pt x="49" y="115"/>
                </a:lnTo>
                <a:lnTo>
                  <a:pt x="24" y="115"/>
                </a:lnTo>
                <a:lnTo>
                  <a:pt x="33" y="122"/>
                </a:lnTo>
                <a:lnTo>
                  <a:pt x="24" y="131"/>
                </a:lnTo>
                <a:lnTo>
                  <a:pt x="33" y="131"/>
                </a:lnTo>
                <a:lnTo>
                  <a:pt x="33" y="138"/>
                </a:lnTo>
                <a:lnTo>
                  <a:pt x="18" y="147"/>
                </a:lnTo>
                <a:lnTo>
                  <a:pt x="24" y="156"/>
                </a:lnTo>
                <a:lnTo>
                  <a:pt x="33" y="156"/>
                </a:lnTo>
                <a:lnTo>
                  <a:pt x="41" y="162"/>
                </a:lnTo>
                <a:lnTo>
                  <a:pt x="49" y="156"/>
                </a:lnTo>
                <a:lnTo>
                  <a:pt x="49" y="162"/>
                </a:lnTo>
                <a:lnTo>
                  <a:pt x="33" y="162"/>
                </a:lnTo>
                <a:lnTo>
                  <a:pt x="18" y="187"/>
                </a:lnTo>
              </a:path>
            </a:pathLst>
          </a:custGeom>
          <a:solidFill>
            <a:schemeClr val="folHlink"/>
          </a:solidFill>
          <a:ln w="9525" cap="rnd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95913" name="Text Box 338"/>
          <p:cNvSpPr txBox="1">
            <a:spLocks noChangeArrowheads="1"/>
          </p:cNvSpPr>
          <p:nvPr/>
        </p:nvSpPr>
        <p:spPr bwMode="auto">
          <a:xfrm>
            <a:off x="1201738" y="1174750"/>
            <a:ext cx="4660900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sz="1600">
                <a:solidFill>
                  <a:srgbClr val="000056"/>
                </a:solidFill>
                <a:latin typeface="Calibri" pitchFamily="34" charset="0"/>
              </a:rPr>
              <a:t>Percentage of Subjects Randomized by Region for Industry Cohort, 2000 vs. 2007</a:t>
            </a:r>
          </a:p>
        </p:txBody>
      </p:sp>
      <p:sp>
        <p:nvSpPr>
          <p:cNvPr id="195914" name="AutoShape 339"/>
          <p:cNvSpPr>
            <a:spLocks noChangeArrowheads="1"/>
          </p:cNvSpPr>
          <p:nvPr/>
        </p:nvSpPr>
        <p:spPr bwMode="auto">
          <a:xfrm>
            <a:off x="3817938" y="3170238"/>
            <a:ext cx="557212" cy="374650"/>
          </a:xfrm>
          <a:prstGeom prst="downArrow">
            <a:avLst>
              <a:gd name="adj1" fmla="val 49750"/>
              <a:gd name="adj2" fmla="val 56037"/>
            </a:avLst>
          </a:prstGeom>
          <a:noFill/>
          <a:ln w="25400">
            <a:solidFill>
              <a:srgbClr val="E0480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/>
          <a:p>
            <a:pPr algn="l" defTabSz="457200" eaLnBrk="1" hangingPunct="1">
              <a:spcBef>
                <a:spcPct val="0"/>
              </a:spcBef>
              <a:buFontTx/>
              <a:buNone/>
            </a:pPr>
            <a:endParaRPr lang="en-US" sz="18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95915" name="Text Box 340"/>
          <p:cNvSpPr txBox="1">
            <a:spLocks noChangeArrowheads="1"/>
          </p:cNvSpPr>
          <p:nvPr/>
        </p:nvSpPr>
        <p:spPr bwMode="auto">
          <a:xfrm>
            <a:off x="3643313" y="2617788"/>
            <a:ext cx="912812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US" sz="1800">
                <a:solidFill>
                  <a:srgbClr val="000056"/>
                </a:solidFill>
                <a:latin typeface="Calibri" pitchFamily="34" charset="0"/>
              </a:rPr>
              <a:t>EU Core</a:t>
            </a:r>
          </a:p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US" sz="1800">
                <a:solidFill>
                  <a:srgbClr val="000056"/>
                </a:solidFill>
                <a:latin typeface="Calibri" pitchFamily="34" charset="0"/>
              </a:rPr>
              <a:t>21% &gt; 12%</a:t>
            </a:r>
          </a:p>
        </p:txBody>
      </p:sp>
      <p:pic>
        <p:nvPicPr>
          <p:cNvPr id="195916" name="Picture 64"/>
          <p:cNvPicPr>
            <a:picLocks noChangeAspect="1" noChangeArrowheads="1"/>
          </p:cNvPicPr>
          <p:nvPr/>
        </p:nvPicPr>
        <p:blipFill>
          <a:blip r:embed="rId3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60350"/>
            <a:ext cx="1690687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5917" name="Line 51"/>
          <p:cNvSpPr>
            <a:spLocks noChangeShapeType="1"/>
          </p:cNvSpPr>
          <p:nvPr/>
        </p:nvSpPr>
        <p:spPr bwMode="auto">
          <a:xfrm>
            <a:off x="0" y="1063625"/>
            <a:ext cx="9144000" cy="0"/>
          </a:xfrm>
          <a:prstGeom prst="line">
            <a:avLst/>
          </a:prstGeom>
          <a:noFill/>
          <a:ln w="38100">
            <a:solidFill>
              <a:srgbClr val="16165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633" name="Rectangle 2"/>
          <p:cNvSpPr>
            <a:spLocks noChangeArrowheads="1"/>
          </p:cNvSpPr>
          <p:nvPr/>
        </p:nvSpPr>
        <p:spPr bwMode="auto">
          <a:xfrm>
            <a:off x="1571625" y="214313"/>
            <a:ext cx="5445125" cy="604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54864" anchor="b"/>
          <a:lstStyle/>
          <a:p>
            <a:pPr marL="514350" indent="-514350" algn="l">
              <a:spcBef>
                <a:spcPct val="0"/>
              </a:spcBef>
              <a:buFontTx/>
              <a:buNone/>
            </a:pPr>
            <a:r>
              <a:rPr lang="en-GB" sz="2400" b="1">
                <a:solidFill>
                  <a:srgbClr val="16165D"/>
                </a:solidFill>
              </a:rPr>
              <a:t>	Life Cycle Management</a:t>
            </a:r>
          </a:p>
        </p:txBody>
      </p:sp>
      <p:sp>
        <p:nvSpPr>
          <p:cNvPr id="197634" name="Text Box 3"/>
          <p:cNvSpPr txBox="1">
            <a:spLocks noChangeArrowheads="1"/>
          </p:cNvSpPr>
          <p:nvPr/>
        </p:nvSpPr>
        <p:spPr bwMode="auto">
          <a:xfrm>
            <a:off x="2897188" y="5705475"/>
            <a:ext cx="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2286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endParaRPr lang="en-US" sz="2000">
              <a:solidFill>
                <a:srgbClr val="C00000"/>
              </a:solidFill>
            </a:endParaRPr>
          </a:p>
        </p:txBody>
      </p:sp>
      <p:sp>
        <p:nvSpPr>
          <p:cNvPr id="197635" name="Rectangle 4"/>
          <p:cNvSpPr>
            <a:spLocks noChangeArrowheads="1"/>
          </p:cNvSpPr>
          <p:nvPr/>
        </p:nvSpPr>
        <p:spPr bwMode="auto">
          <a:xfrm>
            <a:off x="684213" y="981075"/>
            <a:ext cx="7429500" cy="5572125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</a:pPr>
            <a:endParaRPr lang="en-US">
              <a:solidFill>
                <a:srgbClr val="C00000"/>
              </a:solidFill>
            </a:endParaRPr>
          </a:p>
        </p:txBody>
      </p:sp>
      <p:sp>
        <p:nvSpPr>
          <p:cNvPr id="197636" name="Text Box 5"/>
          <p:cNvSpPr txBox="1">
            <a:spLocks noChangeArrowheads="1"/>
          </p:cNvSpPr>
          <p:nvPr/>
        </p:nvSpPr>
        <p:spPr bwMode="auto">
          <a:xfrm>
            <a:off x="1833563" y="6096000"/>
            <a:ext cx="6588125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US" sz="2000">
                <a:solidFill>
                  <a:srgbClr val="C00000"/>
                </a:solidFill>
              </a:rPr>
              <a:t>  </a:t>
            </a:r>
            <a:r>
              <a:rPr lang="en-US" sz="2600">
                <a:solidFill>
                  <a:srgbClr val="C00000"/>
                </a:solidFill>
              </a:rPr>
              <a:t>  </a:t>
            </a:r>
            <a:r>
              <a:rPr lang="en-US" sz="2000">
                <a:solidFill>
                  <a:srgbClr val="C00000"/>
                </a:solidFill>
              </a:rPr>
              <a:t>                          10            20             30   years</a:t>
            </a:r>
          </a:p>
        </p:txBody>
      </p:sp>
      <p:sp>
        <p:nvSpPr>
          <p:cNvPr id="55302" name="Line 11"/>
          <p:cNvSpPr>
            <a:spLocks noChangeShapeType="1"/>
          </p:cNvSpPr>
          <p:nvPr/>
        </p:nvSpPr>
        <p:spPr bwMode="auto">
          <a:xfrm flipH="1" flipV="1">
            <a:off x="2187575" y="3643313"/>
            <a:ext cx="5170488" cy="46037"/>
          </a:xfrm>
          <a:prstGeom prst="line">
            <a:avLst/>
          </a:prstGeom>
          <a:noFill/>
          <a:ln w="66675" cap="rnd" cmpd="sng">
            <a:gradFill flip="none" rotWithShape="1">
              <a:gsLst>
                <a:gs pos="99000">
                  <a:schemeClr val="tx1">
                    <a:alpha val="72000"/>
                  </a:schemeClr>
                </a:gs>
                <a:gs pos="100000">
                  <a:srgbClr val="FFFFFF"/>
                </a:gs>
              </a:gsLst>
              <a:lin ang="0" scaled="1"/>
              <a:tileRect/>
            </a:gra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</a:endParaRPr>
          </a:p>
        </p:txBody>
      </p:sp>
      <p:sp>
        <p:nvSpPr>
          <p:cNvPr id="12315" name="Rectangle 28"/>
          <p:cNvSpPr>
            <a:spLocks noChangeArrowheads="1"/>
          </p:cNvSpPr>
          <p:nvPr/>
        </p:nvSpPr>
        <p:spPr bwMode="auto">
          <a:xfrm>
            <a:off x="2259013" y="1643063"/>
            <a:ext cx="155575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514350" indent="-514350"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GB" sz="2000" b="1">
                <a:solidFill>
                  <a:srgbClr val="C00000"/>
                </a:solidFill>
              </a:rPr>
              <a:t>Reduce R&amp;D</a:t>
            </a:r>
          </a:p>
          <a:p>
            <a:pPr marL="514350" indent="-514350"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GB" sz="2000" b="1">
                <a:solidFill>
                  <a:srgbClr val="C00000"/>
                </a:solidFill>
              </a:rPr>
              <a:t> Time</a:t>
            </a:r>
            <a:endParaRPr lang="en-US" sz="2000" b="1">
              <a:solidFill>
                <a:srgbClr val="C00000"/>
              </a:solidFill>
            </a:endParaRPr>
          </a:p>
        </p:txBody>
      </p:sp>
      <p:sp>
        <p:nvSpPr>
          <p:cNvPr id="12316" name="Rectangle 29"/>
          <p:cNvSpPr>
            <a:spLocks noChangeArrowheads="1"/>
          </p:cNvSpPr>
          <p:nvPr/>
        </p:nvSpPr>
        <p:spPr bwMode="auto">
          <a:xfrm>
            <a:off x="5786438" y="1571625"/>
            <a:ext cx="1281112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514350" indent="-514350"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GB" sz="2000" b="1">
                <a:solidFill>
                  <a:srgbClr val="C00000"/>
                </a:solidFill>
              </a:rPr>
              <a:t>Life Cycle </a:t>
            </a:r>
          </a:p>
          <a:p>
            <a:pPr marL="514350" indent="-514350"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GB" sz="2000" b="1">
                <a:solidFill>
                  <a:srgbClr val="C00000"/>
                </a:solidFill>
              </a:rPr>
              <a:t>Extension</a:t>
            </a:r>
            <a:endParaRPr lang="en-US" sz="2000" b="1">
              <a:solidFill>
                <a:srgbClr val="C00000"/>
              </a:solidFill>
            </a:endParaRPr>
          </a:p>
        </p:txBody>
      </p:sp>
      <p:sp>
        <p:nvSpPr>
          <p:cNvPr id="197642" name="Line 31"/>
          <p:cNvSpPr>
            <a:spLocks noChangeShapeType="1"/>
          </p:cNvSpPr>
          <p:nvPr/>
        </p:nvSpPr>
        <p:spPr bwMode="auto">
          <a:xfrm>
            <a:off x="4071938" y="6000750"/>
            <a:ext cx="0" cy="1524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197643" name="Line 33"/>
          <p:cNvSpPr>
            <a:spLocks noChangeShapeType="1"/>
          </p:cNvSpPr>
          <p:nvPr/>
        </p:nvSpPr>
        <p:spPr bwMode="auto">
          <a:xfrm>
            <a:off x="5214938" y="6000750"/>
            <a:ext cx="0" cy="1524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197644" name="Text Box 46"/>
          <p:cNvSpPr txBox="1">
            <a:spLocks noChangeArrowheads="1"/>
          </p:cNvSpPr>
          <p:nvPr/>
        </p:nvSpPr>
        <p:spPr bwMode="auto">
          <a:xfrm>
            <a:off x="1643063" y="5072063"/>
            <a:ext cx="428625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457200" indent="-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US" sz="2000">
                <a:solidFill>
                  <a:srgbClr val="C00000"/>
                </a:solidFill>
              </a:rPr>
              <a:t>_</a:t>
            </a:r>
          </a:p>
        </p:txBody>
      </p:sp>
      <p:sp>
        <p:nvSpPr>
          <p:cNvPr id="197645" name="Rectangle 70"/>
          <p:cNvSpPr>
            <a:spLocks noChangeArrowheads="1"/>
          </p:cNvSpPr>
          <p:nvPr/>
        </p:nvSpPr>
        <p:spPr bwMode="auto">
          <a:xfrm rot="-5400000">
            <a:off x="1037431" y="3490119"/>
            <a:ext cx="758825" cy="350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457200" indent="-457200"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GB" sz="2400">
                <a:solidFill>
                  <a:srgbClr val="C00000"/>
                </a:solidFill>
              </a:rPr>
              <a:t>Profit</a:t>
            </a:r>
            <a:endParaRPr lang="en-US" sz="2400">
              <a:solidFill>
                <a:srgbClr val="C00000"/>
              </a:solidFill>
            </a:endParaRPr>
          </a:p>
        </p:txBody>
      </p:sp>
      <p:sp>
        <p:nvSpPr>
          <p:cNvPr id="55309" name="Rectangle 28"/>
          <p:cNvSpPr>
            <a:spLocks noChangeArrowheads="1"/>
          </p:cNvSpPr>
          <p:nvPr/>
        </p:nvSpPr>
        <p:spPr bwMode="auto">
          <a:xfrm>
            <a:off x="3643313" y="4286250"/>
            <a:ext cx="841375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514350" indent="-514350"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GB" sz="2000">
                <a:solidFill>
                  <a:srgbClr val="C00000"/>
                </a:solidFill>
              </a:rPr>
              <a:t>Launch</a:t>
            </a:r>
            <a:endParaRPr lang="en-US" sz="2000">
              <a:solidFill>
                <a:srgbClr val="C00000"/>
              </a:solidFill>
            </a:endParaRPr>
          </a:p>
        </p:txBody>
      </p:sp>
      <p:sp>
        <p:nvSpPr>
          <p:cNvPr id="197647" name="Rectangle 28"/>
          <p:cNvSpPr>
            <a:spLocks noChangeArrowheads="1"/>
          </p:cNvSpPr>
          <p:nvPr/>
        </p:nvSpPr>
        <p:spPr bwMode="auto">
          <a:xfrm>
            <a:off x="3786188" y="3071813"/>
            <a:ext cx="135255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514350" indent="-514350"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GB" sz="2000">
                <a:solidFill>
                  <a:srgbClr val="C00000"/>
                </a:solidFill>
              </a:rPr>
              <a:t>Patent Loss</a:t>
            </a:r>
            <a:endParaRPr lang="en-US" sz="2000">
              <a:solidFill>
                <a:srgbClr val="C00000"/>
              </a:solidFill>
            </a:endParaRPr>
          </a:p>
        </p:txBody>
      </p:sp>
      <p:sp>
        <p:nvSpPr>
          <p:cNvPr id="197648" name="Rectangle 28"/>
          <p:cNvSpPr>
            <a:spLocks noChangeArrowheads="1"/>
          </p:cNvSpPr>
          <p:nvPr/>
        </p:nvSpPr>
        <p:spPr bwMode="auto">
          <a:xfrm>
            <a:off x="5000625" y="5572125"/>
            <a:ext cx="129540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514350" indent="-514350"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GB" sz="2000" b="1">
                <a:solidFill>
                  <a:srgbClr val="C00000"/>
                </a:solidFill>
              </a:rPr>
              <a:t>Traditional</a:t>
            </a:r>
            <a:endParaRPr lang="en-US" sz="2000" b="1">
              <a:solidFill>
                <a:srgbClr val="C00000"/>
              </a:solidFill>
            </a:endParaRPr>
          </a:p>
        </p:txBody>
      </p:sp>
      <p:sp>
        <p:nvSpPr>
          <p:cNvPr id="64" name="Freeform 63"/>
          <p:cNvSpPr/>
          <p:nvPr/>
        </p:nvSpPr>
        <p:spPr>
          <a:xfrm>
            <a:off x="2268538" y="2060575"/>
            <a:ext cx="4248150" cy="3948113"/>
          </a:xfrm>
          <a:custGeom>
            <a:avLst/>
            <a:gdLst>
              <a:gd name="connsiteX0" fmla="*/ 0 w 4310743"/>
              <a:gd name="connsiteY0" fmla="*/ 4009901 h 4009901"/>
              <a:gd name="connsiteX1" fmla="*/ 285008 w 4310743"/>
              <a:gd name="connsiteY1" fmla="*/ 3903023 h 4009901"/>
              <a:gd name="connsiteX2" fmla="*/ 534390 w 4310743"/>
              <a:gd name="connsiteY2" fmla="*/ 3511138 h 4009901"/>
              <a:gd name="connsiteX3" fmla="*/ 1056904 w 4310743"/>
              <a:gd name="connsiteY3" fmla="*/ 2240478 h 4009901"/>
              <a:gd name="connsiteX4" fmla="*/ 1959429 w 4310743"/>
              <a:gd name="connsiteY4" fmla="*/ 221673 h 4009901"/>
              <a:gd name="connsiteX5" fmla="*/ 2802577 w 4310743"/>
              <a:gd name="connsiteY5" fmla="*/ 910442 h 4009901"/>
              <a:gd name="connsiteX6" fmla="*/ 3978234 w 4310743"/>
              <a:gd name="connsiteY6" fmla="*/ 3344883 h 4009901"/>
              <a:gd name="connsiteX7" fmla="*/ 4310743 w 4310743"/>
              <a:gd name="connsiteY7" fmla="*/ 4009901 h 4009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310743" h="4009901">
                <a:moveTo>
                  <a:pt x="0" y="4009901"/>
                </a:moveTo>
                <a:cubicBezTo>
                  <a:pt x="97971" y="3998025"/>
                  <a:pt x="195943" y="3986150"/>
                  <a:pt x="285008" y="3903023"/>
                </a:cubicBezTo>
                <a:cubicBezTo>
                  <a:pt x="374073" y="3819896"/>
                  <a:pt x="405741" y="3788229"/>
                  <a:pt x="534390" y="3511138"/>
                </a:cubicBezTo>
                <a:cubicBezTo>
                  <a:pt x="663039" y="3234047"/>
                  <a:pt x="819397" y="2788722"/>
                  <a:pt x="1056904" y="2240478"/>
                </a:cubicBezTo>
                <a:cubicBezTo>
                  <a:pt x="1294411" y="1692234"/>
                  <a:pt x="1668484" y="443346"/>
                  <a:pt x="1959429" y="221673"/>
                </a:cubicBezTo>
                <a:cubicBezTo>
                  <a:pt x="2250374" y="0"/>
                  <a:pt x="2466110" y="389907"/>
                  <a:pt x="2802577" y="910442"/>
                </a:cubicBezTo>
                <a:cubicBezTo>
                  <a:pt x="3139044" y="1430977"/>
                  <a:pt x="3726873" y="2828307"/>
                  <a:pt x="3978234" y="3344883"/>
                </a:cubicBezTo>
                <a:cubicBezTo>
                  <a:pt x="4229595" y="3861459"/>
                  <a:pt x="4259283" y="3899065"/>
                  <a:pt x="4310743" y="4009901"/>
                </a:cubicBezTo>
              </a:path>
            </a:pathLst>
          </a:cu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marL="514350" indent="-514350">
              <a:spcBef>
                <a:spcPct val="0"/>
              </a:spcBef>
              <a:buFontTx/>
              <a:buNone/>
              <a:defRPr/>
            </a:pPr>
            <a:endParaRPr lang="en-GB" sz="2000">
              <a:solidFill>
                <a:srgbClr val="C00000"/>
              </a:solidFill>
            </a:endParaRPr>
          </a:p>
        </p:txBody>
      </p:sp>
      <p:sp>
        <p:nvSpPr>
          <p:cNvPr id="55314" name="Text Box 46"/>
          <p:cNvSpPr txBox="1">
            <a:spLocks noChangeArrowheads="1"/>
          </p:cNvSpPr>
          <p:nvPr/>
        </p:nvSpPr>
        <p:spPr bwMode="auto">
          <a:xfrm>
            <a:off x="1692275" y="3500438"/>
            <a:ext cx="428625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457200" indent="-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US" sz="2000">
                <a:solidFill>
                  <a:srgbClr val="C00000"/>
                </a:solidFill>
              </a:rPr>
              <a:t>0</a:t>
            </a:r>
          </a:p>
        </p:txBody>
      </p:sp>
      <p:sp>
        <p:nvSpPr>
          <p:cNvPr id="197651" name="Text Box 46"/>
          <p:cNvSpPr txBox="1">
            <a:spLocks noChangeArrowheads="1"/>
          </p:cNvSpPr>
          <p:nvPr/>
        </p:nvSpPr>
        <p:spPr bwMode="auto">
          <a:xfrm>
            <a:off x="1643063" y="2357438"/>
            <a:ext cx="428625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457200" indent="-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US" sz="2000">
                <a:solidFill>
                  <a:srgbClr val="C00000"/>
                </a:solidFill>
              </a:rPr>
              <a:t>+</a:t>
            </a:r>
          </a:p>
        </p:txBody>
      </p:sp>
      <p:sp>
        <p:nvSpPr>
          <p:cNvPr id="197652" name="Line 33"/>
          <p:cNvSpPr>
            <a:spLocks noChangeShapeType="1"/>
          </p:cNvSpPr>
          <p:nvPr/>
        </p:nvSpPr>
        <p:spPr bwMode="auto">
          <a:xfrm>
            <a:off x="6429375" y="6000750"/>
            <a:ext cx="0" cy="1524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cxnSp>
        <p:nvCxnSpPr>
          <p:cNvPr id="69" name="Straight Arrow Connector 68"/>
          <p:cNvCxnSpPr/>
          <p:nvPr/>
        </p:nvCxnSpPr>
        <p:spPr>
          <a:xfrm rot="5400000" flipH="1" flipV="1">
            <a:off x="-250032" y="3679032"/>
            <a:ext cx="4786313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/>
          <p:cNvCxnSpPr/>
          <p:nvPr/>
        </p:nvCxnSpPr>
        <p:spPr>
          <a:xfrm>
            <a:off x="2143125" y="6072188"/>
            <a:ext cx="5429250" cy="1587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/>
          <p:cNvCxnSpPr/>
          <p:nvPr/>
        </p:nvCxnSpPr>
        <p:spPr>
          <a:xfrm rot="5400000" flipH="1" flipV="1">
            <a:off x="3963988" y="2606675"/>
            <a:ext cx="785812" cy="1588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/>
          <p:nvPr/>
        </p:nvCxnSpPr>
        <p:spPr>
          <a:xfrm rot="16200000" flipV="1">
            <a:off x="3536156" y="3750469"/>
            <a:ext cx="428625" cy="357188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/>
          <p:cNvCxnSpPr/>
          <p:nvPr/>
        </p:nvCxnSpPr>
        <p:spPr>
          <a:xfrm rot="16200000" flipH="1">
            <a:off x="2714625" y="2428876"/>
            <a:ext cx="714375" cy="285750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 rot="5400000">
            <a:off x="5572125" y="2357438"/>
            <a:ext cx="785813" cy="357187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Freeform 84"/>
          <p:cNvSpPr/>
          <p:nvPr/>
        </p:nvSpPr>
        <p:spPr>
          <a:xfrm>
            <a:off x="4322763" y="2205038"/>
            <a:ext cx="2193925" cy="3744912"/>
          </a:xfrm>
          <a:custGeom>
            <a:avLst/>
            <a:gdLst>
              <a:gd name="connsiteX0" fmla="*/ 0 w 2743200"/>
              <a:gd name="connsiteY0" fmla="*/ 0 h 3788229"/>
              <a:gd name="connsiteX1" fmla="*/ 356260 w 2743200"/>
              <a:gd name="connsiteY1" fmla="*/ 71252 h 3788229"/>
              <a:gd name="connsiteX2" fmla="*/ 807522 w 2743200"/>
              <a:gd name="connsiteY2" fmla="*/ 403761 h 3788229"/>
              <a:gd name="connsiteX3" fmla="*/ 1460665 w 2743200"/>
              <a:gd name="connsiteY3" fmla="*/ 1306286 h 3788229"/>
              <a:gd name="connsiteX4" fmla="*/ 1983179 w 2743200"/>
              <a:gd name="connsiteY4" fmla="*/ 2315688 h 3788229"/>
              <a:gd name="connsiteX5" fmla="*/ 2434442 w 2743200"/>
              <a:gd name="connsiteY5" fmla="*/ 3253839 h 3788229"/>
              <a:gd name="connsiteX6" fmla="*/ 2743200 w 2743200"/>
              <a:gd name="connsiteY6" fmla="*/ 3788229 h 37882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43200" h="3788229">
                <a:moveTo>
                  <a:pt x="0" y="0"/>
                </a:moveTo>
                <a:cubicBezTo>
                  <a:pt x="110836" y="1979"/>
                  <a:pt x="221673" y="3959"/>
                  <a:pt x="356260" y="71252"/>
                </a:cubicBezTo>
                <a:cubicBezTo>
                  <a:pt x="490847" y="138546"/>
                  <a:pt x="623455" y="197922"/>
                  <a:pt x="807522" y="403761"/>
                </a:cubicBezTo>
                <a:cubicBezTo>
                  <a:pt x="991590" y="609600"/>
                  <a:pt x="1264722" y="987632"/>
                  <a:pt x="1460665" y="1306286"/>
                </a:cubicBezTo>
                <a:cubicBezTo>
                  <a:pt x="1656608" y="1624941"/>
                  <a:pt x="1820883" y="1991096"/>
                  <a:pt x="1983179" y="2315688"/>
                </a:cubicBezTo>
                <a:cubicBezTo>
                  <a:pt x="2145475" y="2640280"/>
                  <a:pt x="2307772" y="3008416"/>
                  <a:pt x="2434442" y="3253839"/>
                </a:cubicBezTo>
                <a:cubicBezTo>
                  <a:pt x="2561112" y="3499262"/>
                  <a:pt x="2743200" y="3788229"/>
                  <a:pt x="2743200" y="3788229"/>
                </a:cubicBezTo>
              </a:path>
            </a:pathLst>
          </a:custGeom>
          <a:ln w="3810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marL="514350" indent="-514350">
              <a:spcBef>
                <a:spcPct val="0"/>
              </a:spcBef>
              <a:buFontTx/>
              <a:buNone/>
              <a:defRPr/>
            </a:pPr>
            <a:endParaRPr lang="en-GB" sz="2000">
              <a:solidFill>
                <a:srgbClr val="000000"/>
              </a:solidFill>
            </a:endParaRPr>
          </a:p>
        </p:txBody>
      </p:sp>
      <p:pic>
        <p:nvPicPr>
          <p:cNvPr id="197660" name="Picture 6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60350"/>
            <a:ext cx="1690687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" name="Freeform 56"/>
          <p:cNvSpPr/>
          <p:nvPr/>
        </p:nvSpPr>
        <p:spPr>
          <a:xfrm>
            <a:off x="2195513" y="1966913"/>
            <a:ext cx="4321175" cy="4105275"/>
          </a:xfrm>
          <a:custGeom>
            <a:avLst/>
            <a:gdLst>
              <a:gd name="connsiteX0" fmla="*/ 0 w 4120738"/>
              <a:gd name="connsiteY0" fmla="*/ 4249387 h 4261263"/>
              <a:gd name="connsiteX1" fmla="*/ 1294411 w 4120738"/>
              <a:gd name="connsiteY1" fmla="*/ 781792 h 4261263"/>
              <a:gd name="connsiteX2" fmla="*/ 2434442 w 4120738"/>
              <a:gd name="connsiteY2" fmla="*/ 579912 h 4261263"/>
              <a:gd name="connsiteX3" fmla="*/ 4120738 w 4120738"/>
              <a:gd name="connsiteY3" fmla="*/ 4261263 h 4261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0738" h="4261263">
                <a:moveTo>
                  <a:pt x="0" y="4249387"/>
                </a:moveTo>
                <a:cubicBezTo>
                  <a:pt x="444335" y="2821379"/>
                  <a:pt x="888671" y="1393371"/>
                  <a:pt x="1294411" y="781792"/>
                </a:cubicBezTo>
                <a:cubicBezTo>
                  <a:pt x="1700151" y="170213"/>
                  <a:pt x="1963388" y="0"/>
                  <a:pt x="2434442" y="579912"/>
                </a:cubicBezTo>
                <a:cubicBezTo>
                  <a:pt x="2905497" y="1159824"/>
                  <a:pt x="4120738" y="4261263"/>
                  <a:pt x="4120738" y="4261263"/>
                </a:cubicBezTo>
              </a:path>
            </a:pathLst>
          </a:custGeom>
          <a:ln w="38100">
            <a:solidFill>
              <a:srgbClr val="0033CC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marL="514350" indent="-514350">
              <a:spcBef>
                <a:spcPct val="0"/>
              </a:spcBef>
              <a:buFontTx/>
              <a:buNone/>
              <a:defRPr/>
            </a:pPr>
            <a:endParaRPr lang="en-GB" sz="2000">
              <a:solidFill>
                <a:srgbClr val="C00000"/>
              </a:solidFill>
            </a:endParaRPr>
          </a:p>
        </p:txBody>
      </p:sp>
      <p:sp>
        <p:nvSpPr>
          <p:cNvPr id="197662" name="Line 51"/>
          <p:cNvSpPr>
            <a:spLocks noChangeShapeType="1"/>
          </p:cNvSpPr>
          <p:nvPr/>
        </p:nvSpPr>
        <p:spPr bwMode="auto">
          <a:xfrm>
            <a:off x="0" y="850900"/>
            <a:ext cx="9144000" cy="0"/>
          </a:xfrm>
          <a:prstGeom prst="line">
            <a:avLst/>
          </a:prstGeom>
          <a:noFill/>
          <a:ln w="38100">
            <a:solidFill>
              <a:srgbClr val="16165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  <p:transition spd="slow">
    <p:cover dir="l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23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23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12593 " pathEditMode="relative" ptsTypes="AA">
                                      <p:cBhvr>
                                        <p:cTn id="20" dur="2000" fill="hold"/>
                                        <p:tgtEl>
                                          <p:spTgt spid="553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12593 " pathEditMode="relative" ptsTypes="AA">
                                      <p:cBhvr>
                                        <p:cTn id="22" dur="2000" fill="hold"/>
                                        <p:tgtEl>
                                          <p:spTgt spid="5530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12593 " pathEditMode="relative" ptsTypes="AA">
                                      <p:cBhvr>
                                        <p:cTn id="24" dur="2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5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12593 " pathEditMode="relative" ptsTypes="AA">
                                      <p:cBhvr>
                                        <p:cTn id="26" dur="2000" fill="hold"/>
                                        <p:tgtEl>
                                          <p:spTgt spid="5530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1000" fill="hold"/>
                                        <p:tgtEl>
                                          <p:spTgt spid="123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1000" fill="hold"/>
                                        <p:tgtEl>
                                          <p:spTgt spid="123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15" grpId="0"/>
      <p:bldP spid="12316" grpId="0"/>
      <p:bldP spid="55309" grpId="0"/>
      <p:bldP spid="55314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681" name="Rectangle 6"/>
          <p:cNvSpPr>
            <a:spLocks noChangeArrowheads="1"/>
          </p:cNvSpPr>
          <p:nvPr/>
        </p:nvSpPr>
        <p:spPr bwMode="auto">
          <a:xfrm>
            <a:off x="323850" y="1052513"/>
            <a:ext cx="8640763" cy="5329237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l">
              <a:spcBef>
                <a:spcPct val="0"/>
              </a:spcBef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99682" name="Rectangle 2"/>
          <p:cNvSpPr>
            <a:spLocks noChangeArrowheads="1"/>
          </p:cNvSpPr>
          <p:nvPr/>
        </p:nvSpPr>
        <p:spPr bwMode="auto">
          <a:xfrm>
            <a:off x="468313" y="260350"/>
            <a:ext cx="54356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l">
              <a:buFontTx/>
              <a:buNone/>
            </a:pPr>
            <a:r>
              <a:rPr lang="en-US" sz="2400" b="1">
                <a:solidFill>
                  <a:srgbClr val="16165D"/>
                </a:solidFill>
              </a:rPr>
              <a:t>Is drug development cost effective?</a:t>
            </a:r>
            <a:endParaRPr lang="en-GB" sz="2400" b="1">
              <a:solidFill>
                <a:srgbClr val="16165D"/>
              </a:solidFill>
            </a:endParaRPr>
          </a:p>
        </p:txBody>
      </p:sp>
      <p:pic>
        <p:nvPicPr>
          <p:cNvPr id="199683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59" r="7959" b="6323"/>
          <a:stretch>
            <a:fillRect/>
          </a:stretch>
        </p:blipFill>
        <p:spPr bwMode="auto">
          <a:xfrm>
            <a:off x="539750" y="1196975"/>
            <a:ext cx="4089400" cy="5056188"/>
          </a:xfrm>
          <a:prstGeom prst="rect">
            <a:avLst/>
          </a:prstGeom>
          <a:solidFill>
            <a:srgbClr val="FFFF99"/>
          </a:solidFill>
          <a:ln w="9525">
            <a:solidFill>
              <a:srgbClr val="003399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</p:pic>
      <p:pic>
        <p:nvPicPr>
          <p:cNvPr id="199684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53" t="1476" r="5600" b="1314"/>
          <a:stretch>
            <a:fillRect/>
          </a:stretch>
        </p:blipFill>
        <p:spPr bwMode="auto">
          <a:xfrm>
            <a:off x="4859338" y="1196975"/>
            <a:ext cx="3997325" cy="5049838"/>
          </a:xfrm>
          <a:prstGeom prst="rect">
            <a:avLst/>
          </a:prstGeom>
          <a:noFill/>
          <a:ln w="9525">
            <a:solidFill>
              <a:srgbClr val="003399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9685" name="Picture 6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60350"/>
            <a:ext cx="1690687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Line 51"/>
          <p:cNvSpPr>
            <a:spLocks noChangeShapeType="1"/>
          </p:cNvSpPr>
          <p:nvPr/>
        </p:nvSpPr>
        <p:spPr bwMode="auto">
          <a:xfrm>
            <a:off x="0" y="915988"/>
            <a:ext cx="9144000" cy="0"/>
          </a:xfrm>
          <a:prstGeom prst="line">
            <a:avLst/>
          </a:prstGeom>
          <a:noFill/>
          <a:ln w="38100" cmpd="sng">
            <a:solidFill>
              <a:schemeClr val="accent6">
                <a:lumMod val="50000"/>
              </a:schemeClr>
            </a:solidFill>
            <a:round/>
            <a:headEnd/>
            <a:tailEnd/>
          </a:ln>
        </p:spPr>
        <p:txBody>
          <a:bodyPr/>
          <a:lstStyle/>
          <a:p>
            <a:pPr algn="l">
              <a:spcBef>
                <a:spcPct val="0"/>
              </a:spcBef>
              <a:defRPr/>
            </a:pPr>
            <a:endParaRPr lang="en-GB">
              <a:solidFill>
                <a:srgbClr val="000000"/>
              </a:solidFill>
              <a:ea typeface="ＭＳ Ｐゴシック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705" name="Rectangle 2"/>
          <p:cNvSpPr>
            <a:spLocks noChangeArrowheads="1"/>
          </p:cNvSpPr>
          <p:nvPr/>
        </p:nvSpPr>
        <p:spPr bwMode="auto">
          <a:xfrm>
            <a:off x="323850" y="260350"/>
            <a:ext cx="7874000" cy="604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54864" anchor="b"/>
          <a:lstStyle/>
          <a:p>
            <a:pPr algn="l">
              <a:spcBef>
                <a:spcPct val="0"/>
              </a:spcBef>
              <a:buFontTx/>
              <a:buNone/>
            </a:pPr>
            <a:r>
              <a:rPr lang="en-GB" b="1">
                <a:solidFill>
                  <a:srgbClr val="16165D"/>
                </a:solidFill>
              </a:rPr>
              <a:t>	</a:t>
            </a:r>
            <a:r>
              <a:rPr lang="en-GB" sz="2400" b="1">
                <a:solidFill>
                  <a:srgbClr val="16165D"/>
                </a:solidFill>
              </a:rPr>
              <a:t>The drug development process</a:t>
            </a:r>
          </a:p>
        </p:txBody>
      </p:sp>
      <p:sp>
        <p:nvSpPr>
          <p:cNvPr id="200706" name="Text Box 3"/>
          <p:cNvSpPr txBox="1">
            <a:spLocks noChangeArrowheads="1"/>
          </p:cNvSpPr>
          <p:nvPr/>
        </p:nvSpPr>
        <p:spPr bwMode="auto">
          <a:xfrm>
            <a:off x="3567113" y="5562600"/>
            <a:ext cx="0" cy="176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200707" name="Rectangle 4"/>
          <p:cNvSpPr>
            <a:spLocks noChangeArrowheads="1"/>
          </p:cNvSpPr>
          <p:nvPr/>
        </p:nvSpPr>
        <p:spPr bwMode="auto">
          <a:xfrm>
            <a:off x="900113" y="1196975"/>
            <a:ext cx="7129462" cy="5327650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0708" name="Text Box 5"/>
          <p:cNvSpPr txBox="1">
            <a:spLocks noChangeArrowheads="1"/>
          </p:cNvSpPr>
          <p:nvPr/>
        </p:nvSpPr>
        <p:spPr bwMode="auto">
          <a:xfrm>
            <a:off x="1833563" y="6096000"/>
            <a:ext cx="6588125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US" sz="2000">
                <a:solidFill>
                  <a:srgbClr val="000000"/>
                </a:solidFill>
              </a:rPr>
              <a:t>  </a:t>
            </a:r>
            <a:r>
              <a:rPr lang="en-US" sz="2600">
                <a:solidFill>
                  <a:srgbClr val="000000"/>
                </a:solidFill>
              </a:rPr>
              <a:t>  </a:t>
            </a:r>
            <a:r>
              <a:rPr lang="en-US" sz="2000">
                <a:solidFill>
                  <a:srgbClr val="000000"/>
                </a:solidFill>
              </a:rPr>
              <a:t>                          4                8                12   years</a:t>
            </a:r>
          </a:p>
        </p:txBody>
      </p:sp>
      <p:sp>
        <p:nvSpPr>
          <p:cNvPr id="200709" name="Line 6"/>
          <p:cNvSpPr>
            <a:spLocks noChangeShapeType="1"/>
          </p:cNvSpPr>
          <p:nvPr/>
        </p:nvSpPr>
        <p:spPr bwMode="auto">
          <a:xfrm>
            <a:off x="2884488" y="1524000"/>
            <a:ext cx="0" cy="43434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200710" name="Line 7"/>
          <p:cNvSpPr>
            <a:spLocks noChangeShapeType="1"/>
          </p:cNvSpPr>
          <p:nvPr/>
        </p:nvSpPr>
        <p:spPr bwMode="auto">
          <a:xfrm>
            <a:off x="2884488" y="5867400"/>
            <a:ext cx="453866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200711" name="Freeform 8"/>
          <p:cNvSpPr>
            <a:spLocks/>
          </p:cNvSpPr>
          <p:nvPr/>
        </p:nvSpPr>
        <p:spPr bwMode="auto">
          <a:xfrm>
            <a:off x="2884488" y="2286000"/>
            <a:ext cx="3937000" cy="3543300"/>
          </a:xfrm>
          <a:custGeom>
            <a:avLst/>
            <a:gdLst>
              <a:gd name="T0" fmla="*/ 0 w 2790"/>
              <a:gd name="T1" fmla="*/ 2147483647 h 2232"/>
              <a:gd name="T2" fmla="*/ 2147483647 w 2790"/>
              <a:gd name="T3" fmla="*/ 2147483647 h 2232"/>
              <a:gd name="T4" fmla="*/ 2147483647 w 2790"/>
              <a:gd name="T5" fmla="*/ 2147483647 h 2232"/>
              <a:gd name="T6" fmla="*/ 2147483647 w 2790"/>
              <a:gd name="T7" fmla="*/ 2147483647 h 2232"/>
              <a:gd name="T8" fmla="*/ 2147483647 w 2790"/>
              <a:gd name="T9" fmla="*/ 2147483647 h 2232"/>
              <a:gd name="T10" fmla="*/ 2147483647 w 2790"/>
              <a:gd name="T11" fmla="*/ 2147483647 h 2232"/>
              <a:gd name="T12" fmla="*/ 2147483647 w 2790"/>
              <a:gd name="T13" fmla="*/ 2147483647 h 2232"/>
              <a:gd name="T14" fmla="*/ 2147483647 w 2790"/>
              <a:gd name="T15" fmla="*/ 0 h 223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790"/>
              <a:gd name="T25" fmla="*/ 0 h 2232"/>
              <a:gd name="T26" fmla="*/ 2790 w 2790"/>
              <a:gd name="T27" fmla="*/ 2232 h 223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790" h="2232">
                <a:moveTo>
                  <a:pt x="0" y="2232"/>
                </a:moveTo>
                <a:cubicBezTo>
                  <a:pt x="136" y="2220"/>
                  <a:pt x="586" y="2212"/>
                  <a:pt x="818" y="2162"/>
                </a:cubicBezTo>
                <a:cubicBezTo>
                  <a:pt x="1050" y="2112"/>
                  <a:pt x="1226" y="2037"/>
                  <a:pt x="1394" y="1933"/>
                </a:cubicBezTo>
                <a:cubicBezTo>
                  <a:pt x="1562" y="1829"/>
                  <a:pt x="1714" y="1698"/>
                  <a:pt x="1828" y="1539"/>
                </a:cubicBezTo>
                <a:cubicBezTo>
                  <a:pt x="1942" y="1380"/>
                  <a:pt x="2006" y="1153"/>
                  <a:pt x="2080" y="978"/>
                </a:cubicBezTo>
                <a:cubicBezTo>
                  <a:pt x="2154" y="803"/>
                  <a:pt x="2181" y="646"/>
                  <a:pt x="2246" y="513"/>
                </a:cubicBezTo>
                <a:cubicBezTo>
                  <a:pt x="2311" y="380"/>
                  <a:pt x="2376" y="267"/>
                  <a:pt x="2467" y="182"/>
                </a:cubicBezTo>
                <a:cubicBezTo>
                  <a:pt x="2558" y="97"/>
                  <a:pt x="2736" y="30"/>
                  <a:pt x="2790" y="0"/>
                </a:cubicBezTo>
              </a:path>
            </a:pathLst>
          </a:custGeom>
          <a:noFill/>
          <a:ln w="63500">
            <a:solidFill>
              <a:srgbClr val="0033C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200712" name="Line 9"/>
          <p:cNvSpPr>
            <a:spLocks noChangeShapeType="1"/>
          </p:cNvSpPr>
          <p:nvPr/>
        </p:nvSpPr>
        <p:spPr bwMode="auto">
          <a:xfrm>
            <a:off x="6338888" y="5867400"/>
            <a:ext cx="0" cy="1524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200713" name="Line 10"/>
          <p:cNvSpPr>
            <a:spLocks noChangeShapeType="1"/>
          </p:cNvSpPr>
          <p:nvPr/>
        </p:nvSpPr>
        <p:spPr bwMode="auto">
          <a:xfrm>
            <a:off x="7423150" y="5867400"/>
            <a:ext cx="0" cy="1524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200714" name="Line 11"/>
          <p:cNvSpPr>
            <a:spLocks noChangeShapeType="1"/>
          </p:cNvSpPr>
          <p:nvPr/>
        </p:nvSpPr>
        <p:spPr bwMode="auto">
          <a:xfrm flipH="1">
            <a:off x="2681288" y="3733800"/>
            <a:ext cx="2032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200715" name="Line 12"/>
          <p:cNvSpPr>
            <a:spLocks noChangeShapeType="1"/>
          </p:cNvSpPr>
          <p:nvPr/>
        </p:nvSpPr>
        <p:spPr bwMode="auto">
          <a:xfrm flipH="1">
            <a:off x="2681288" y="2590800"/>
            <a:ext cx="2032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200716" name="Line 13"/>
          <p:cNvSpPr>
            <a:spLocks noChangeShapeType="1"/>
          </p:cNvSpPr>
          <p:nvPr/>
        </p:nvSpPr>
        <p:spPr bwMode="auto">
          <a:xfrm flipH="1">
            <a:off x="2681288" y="1524000"/>
            <a:ext cx="2032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200717" name="Line 15"/>
          <p:cNvSpPr>
            <a:spLocks noChangeShapeType="1"/>
          </p:cNvSpPr>
          <p:nvPr/>
        </p:nvSpPr>
        <p:spPr bwMode="auto">
          <a:xfrm>
            <a:off x="2884488" y="2286000"/>
            <a:ext cx="3929062" cy="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200718" name="Line 16"/>
          <p:cNvSpPr>
            <a:spLocks noChangeShapeType="1"/>
          </p:cNvSpPr>
          <p:nvPr/>
        </p:nvSpPr>
        <p:spPr bwMode="auto">
          <a:xfrm>
            <a:off x="4103688" y="2286000"/>
            <a:ext cx="0" cy="358140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200719" name="Line 17"/>
          <p:cNvSpPr>
            <a:spLocks noChangeShapeType="1"/>
          </p:cNvSpPr>
          <p:nvPr/>
        </p:nvSpPr>
        <p:spPr bwMode="auto">
          <a:xfrm>
            <a:off x="4645025" y="2286000"/>
            <a:ext cx="0" cy="358140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200720" name="Rectangle 18"/>
          <p:cNvSpPr>
            <a:spLocks noChangeArrowheads="1"/>
          </p:cNvSpPr>
          <p:nvPr/>
        </p:nvSpPr>
        <p:spPr bwMode="auto">
          <a:xfrm>
            <a:off x="2884488" y="1752600"/>
            <a:ext cx="1219200" cy="2286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endParaRPr lang="en-US" sz="1800">
              <a:solidFill>
                <a:srgbClr val="0099FF"/>
              </a:solidFill>
            </a:endParaRPr>
          </a:p>
        </p:txBody>
      </p:sp>
      <p:sp>
        <p:nvSpPr>
          <p:cNvPr id="200721" name="Rectangle 19"/>
          <p:cNvSpPr>
            <a:spLocks noChangeArrowheads="1"/>
          </p:cNvSpPr>
          <p:nvPr/>
        </p:nvSpPr>
        <p:spPr bwMode="auto">
          <a:xfrm>
            <a:off x="4103688" y="1752600"/>
            <a:ext cx="541337" cy="228600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endParaRPr lang="en-US" sz="1800">
              <a:solidFill>
                <a:srgbClr val="0099FF"/>
              </a:solidFill>
            </a:endParaRPr>
          </a:p>
        </p:txBody>
      </p:sp>
      <p:sp>
        <p:nvSpPr>
          <p:cNvPr id="200722" name="Rectangle 20"/>
          <p:cNvSpPr>
            <a:spLocks noChangeArrowheads="1"/>
          </p:cNvSpPr>
          <p:nvPr/>
        </p:nvSpPr>
        <p:spPr bwMode="auto">
          <a:xfrm>
            <a:off x="5119688" y="1752600"/>
            <a:ext cx="1219200" cy="228600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endParaRPr lang="en-US" sz="1800">
              <a:solidFill>
                <a:srgbClr val="0099FF"/>
              </a:solidFill>
            </a:endParaRPr>
          </a:p>
        </p:txBody>
      </p:sp>
      <p:sp>
        <p:nvSpPr>
          <p:cNvPr id="200723" name="Rectangle 21"/>
          <p:cNvSpPr>
            <a:spLocks noChangeArrowheads="1"/>
          </p:cNvSpPr>
          <p:nvPr/>
        </p:nvSpPr>
        <p:spPr bwMode="auto">
          <a:xfrm>
            <a:off x="4645025" y="1752600"/>
            <a:ext cx="542925" cy="228600"/>
          </a:xfrm>
          <a:prstGeom prst="rect">
            <a:avLst/>
          </a:prstGeom>
          <a:solidFill>
            <a:srgbClr val="FFCC00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endParaRPr lang="en-US" sz="1800">
              <a:solidFill>
                <a:srgbClr val="0099FF"/>
              </a:solidFill>
            </a:endParaRPr>
          </a:p>
        </p:txBody>
      </p:sp>
      <p:sp>
        <p:nvSpPr>
          <p:cNvPr id="200724" name="Rectangle 22"/>
          <p:cNvSpPr>
            <a:spLocks noChangeArrowheads="1"/>
          </p:cNvSpPr>
          <p:nvPr/>
        </p:nvSpPr>
        <p:spPr bwMode="auto">
          <a:xfrm>
            <a:off x="6338888" y="1752600"/>
            <a:ext cx="609600" cy="228600"/>
          </a:xfrm>
          <a:prstGeom prst="rect">
            <a:avLst/>
          </a:prstGeom>
          <a:solidFill>
            <a:srgbClr val="00FF00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endParaRPr lang="en-US" sz="1800">
              <a:solidFill>
                <a:srgbClr val="0099FF"/>
              </a:solidFill>
            </a:endParaRPr>
          </a:p>
        </p:txBody>
      </p:sp>
      <p:sp>
        <p:nvSpPr>
          <p:cNvPr id="200725" name="Line 23"/>
          <p:cNvSpPr>
            <a:spLocks noChangeShapeType="1"/>
          </p:cNvSpPr>
          <p:nvPr/>
        </p:nvSpPr>
        <p:spPr bwMode="auto">
          <a:xfrm>
            <a:off x="5187950" y="2286000"/>
            <a:ext cx="0" cy="358140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200726" name="Line 24"/>
          <p:cNvSpPr>
            <a:spLocks noChangeShapeType="1"/>
          </p:cNvSpPr>
          <p:nvPr/>
        </p:nvSpPr>
        <p:spPr bwMode="auto">
          <a:xfrm>
            <a:off x="6338888" y="2286000"/>
            <a:ext cx="0" cy="358140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200727" name="Freeform 25"/>
          <p:cNvSpPr>
            <a:spLocks/>
          </p:cNvSpPr>
          <p:nvPr/>
        </p:nvSpPr>
        <p:spPr bwMode="auto">
          <a:xfrm>
            <a:off x="2916238" y="3213100"/>
            <a:ext cx="3887787" cy="2582863"/>
          </a:xfrm>
          <a:custGeom>
            <a:avLst/>
            <a:gdLst>
              <a:gd name="T0" fmla="*/ 0 w 2815"/>
              <a:gd name="T1" fmla="*/ 2147483647 h 1899"/>
              <a:gd name="T2" fmla="*/ 2147483647 w 2815"/>
              <a:gd name="T3" fmla="*/ 2147483647 h 1899"/>
              <a:gd name="T4" fmla="*/ 2147483647 w 2815"/>
              <a:gd name="T5" fmla="*/ 2147483647 h 1899"/>
              <a:gd name="T6" fmla="*/ 2147483647 w 2815"/>
              <a:gd name="T7" fmla="*/ 2147483647 h 1899"/>
              <a:gd name="T8" fmla="*/ 2147483647 w 2815"/>
              <a:gd name="T9" fmla="*/ 2147483647 h 1899"/>
              <a:gd name="T10" fmla="*/ 2147483647 w 2815"/>
              <a:gd name="T11" fmla="*/ 2147483647 h 1899"/>
              <a:gd name="T12" fmla="*/ 2147483647 w 2815"/>
              <a:gd name="T13" fmla="*/ 2147483647 h 1899"/>
              <a:gd name="T14" fmla="*/ 2147483647 w 2815"/>
              <a:gd name="T15" fmla="*/ 0 h 189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815"/>
              <a:gd name="T25" fmla="*/ 0 h 1899"/>
              <a:gd name="T26" fmla="*/ 2815 w 2815"/>
              <a:gd name="T27" fmla="*/ 1899 h 189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815" h="1899">
                <a:moveTo>
                  <a:pt x="0" y="1899"/>
                </a:moveTo>
                <a:cubicBezTo>
                  <a:pt x="113" y="1882"/>
                  <a:pt x="462" y="1871"/>
                  <a:pt x="684" y="1798"/>
                </a:cubicBezTo>
                <a:cubicBezTo>
                  <a:pt x="906" y="1725"/>
                  <a:pt x="1154" y="1581"/>
                  <a:pt x="1332" y="1458"/>
                </a:cubicBezTo>
                <a:cubicBezTo>
                  <a:pt x="1510" y="1335"/>
                  <a:pt x="1638" y="1192"/>
                  <a:pt x="1752" y="1062"/>
                </a:cubicBezTo>
                <a:cubicBezTo>
                  <a:pt x="1866" y="932"/>
                  <a:pt x="1931" y="797"/>
                  <a:pt x="2016" y="676"/>
                </a:cubicBezTo>
                <a:lnTo>
                  <a:pt x="2184" y="424"/>
                </a:lnTo>
                <a:cubicBezTo>
                  <a:pt x="2266" y="331"/>
                  <a:pt x="2403" y="191"/>
                  <a:pt x="2508" y="120"/>
                </a:cubicBezTo>
                <a:cubicBezTo>
                  <a:pt x="2613" y="49"/>
                  <a:pt x="2751" y="25"/>
                  <a:pt x="2815" y="0"/>
                </a:cubicBezTo>
              </a:path>
            </a:pathLst>
          </a:custGeom>
          <a:noFill/>
          <a:ln w="63500">
            <a:solidFill>
              <a:srgbClr val="FF0000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200728" name="Rectangle 27"/>
          <p:cNvSpPr>
            <a:spLocks noChangeArrowheads="1"/>
          </p:cNvSpPr>
          <p:nvPr/>
        </p:nvSpPr>
        <p:spPr bwMode="auto">
          <a:xfrm>
            <a:off x="4140200" y="1484313"/>
            <a:ext cx="9874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GB" sz="1800">
                <a:solidFill>
                  <a:srgbClr val="000000"/>
                </a:solidFill>
              </a:rPr>
              <a:t>Phase I-II</a:t>
            </a:r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200729" name="Rectangle 28"/>
          <p:cNvSpPr>
            <a:spLocks noChangeArrowheads="1"/>
          </p:cNvSpPr>
          <p:nvPr/>
        </p:nvSpPr>
        <p:spPr bwMode="auto">
          <a:xfrm>
            <a:off x="5292725" y="1484313"/>
            <a:ext cx="9112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GB" sz="1800">
                <a:solidFill>
                  <a:srgbClr val="000000"/>
                </a:solidFill>
              </a:rPr>
              <a:t>Phase III</a:t>
            </a:r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200730" name="Rectangle 29"/>
          <p:cNvSpPr>
            <a:spLocks noChangeArrowheads="1"/>
          </p:cNvSpPr>
          <p:nvPr/>
        </p:nvSpPr>
        <p:spPr bwMode="auto">
          <a:xfrm>
            <a:off x="6372225" y="1484313"/>
            <a:ext cx="487363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GB" sz="1800">
                <a:solidFill>
                  <a:srgbClr val="000000"/>
                </a:solidFill>
              </a:rPr>
              <a:t>Reg.</a:t>
            </a:r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200731" name="Line 31"/>
          <p:cNvSpPr>
            <a:spLocks noChangeShapeType="1"/>
          </p:cNvSpPr>
          <p:nvPr/>
        </p:nvSpPr>
        <p:spPr bwMode="auto">
          <a:xfrm>
            <a:off x="4103688" y="5867400"/>
            <a:ext cx="0" cy="1524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200732" name="Line 32"/>
          <p:cNvSpPr>
            <a:spLocks noChangeShapeType="1"/>
          </p:cNvSpPr>
          <p:nvPr/>
        </p:nvSpPr>
        <p:spPr bwMode="auto">
          <a:xfrm>
            <a:off x="2884488" y="5867400"/>
            <a:ext cx="0" cy="1524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200733" name="Line 33"/>
          <p:cNvSpPr>
            <a:spLocks noChangeShapeType="1"/>
          </p:cNvSpPr>
          <p:nvPr/>
        </p:nvSpPr>
        <p:spPr bwMode="auto">
          <a:xfrm>
            <a:off x="5187950" y="5867400"/>
            <a:ext cx="0" cy="1524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200734" name="Line 34"/>
          <p:cNvSpPr>
            <a:spLocks noChangeShapeType="1"/>
          </p:cNvSpPr>
          <p:nvPr/>
        </p:nvSpPr>
        <p:spPr bwMode="auto">
          <a:xfrm flipH="1">
            <a:off x="2681288" y="5867400"/>
            <a:ext cx="2032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200735" name="Line 35"/>
          <p:cNvSpPr>
            <a:spLocks noChangeShapeType="1"/>
          </p:cNvSpPr>
          <p:nvPr/>
        </p:nvSpPr>
        <p:spPr bwMode="auto">
          <a:xfrm flipH="1">
            <a:off x="2681288" y="4876800"/>
            <a:ext cx="2032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200736" name="Text Box 46"/>
          <p:cNvSpPr txBox="1">
            <a:spLocks noChangeArrowheads="1"/>
          </p:cNvSpPr>
          <p:nvPr/>
        </p:nvSpPr>
        <p:spPr bwMode="auto">
          <a:xfrm>
            <a:off x="1665288" y="5715000"/>
            <a:ext cx="101600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US" sz="2000">
                <a:solidFill>
                  <a:srgbClr val="000000"/>
                </a:solidFill>
              </a:rPr>
              <a:t>0</a:t>
            </a:r>
          </a:p>
        </p:txBody>
      </p:sp>
      <p:grpSp>
        <p:nvGrpSpPr>
          <p:cNvPr id="200737" name="Group 68"/>
          <p:cNvGrpSpPr>
            <a:grpSpLocks/>
          </p:cNvGrpSpPr>
          <p:nvPr/>
        </p:nvGrpSpPr>
        <p:grpSpPr bwMode="auto">
          <a:xfrm>
            <a:off x="2916238" y="2420938"/>
            <a:ext cx="2798762" cy="1584325"/>
            <a:chOff x="2653" y="1661"/>
            <a:chExt cx="862" cy="998"/>
          </a:xfrm>
        </p:grpSpPr>
        <p:sp>
          <p:nvSpPr>
            <p:cNvPr id="200743" name="AutoShape 50"/>
            <p:cNvSpPr>
              <a:spLocks noChangeArrowheads="1"/>
            </p:cNvSpPr>
            <p:nvPr/>
          </p:nvSpPr>
          <p:spPr bwMode="auto">
            <a:xfrm>
              <a:off x="2653" y="1661"/>
              <a:ext cx="862" cy="998"/>
            </a:xfrm>
            <a:prstGeom prst="downArrowCallout">
              <a:avLst>
                <a:gd name="adj1" fmla="val 25000"/>
                <a:gd name="adj2" fmla="val 25000"/>
                <a:gd name="adj3" fmla="val 19296"/>
                <a:gd name="adj4" fmla="val 66667"/>
              </a:avLst>
            </a:prstGeom>
            <a:solidFill>
              <a:srgbClr val="FF7C8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0"/>
                </a:spcBef>
                <a:buFontTx/>
                <a:buNone/>
              </a:pPr>
              <a:endParaRPr lang="en-US" sz="2000">
                <a:solidFill>
                  <a:srgbClr val="0033CC"/>
                </a:solidFill>
              </a:endParaRPr>
            </a:p>
          </p:txBody>
        </p:sp>
        <p:sp>
          <p:nvSpPr>
            <p:cNvPr id="200744" name="Rectangle 26"/>
            <p:cNvSpPr>
              <a:spLocks noChangeArrowheads="1"/>
            </p:cNvSpPr>
            <p:nvPr/>
          </p:nvSpPr>
          <p:spPr bwMode="auto">
            <a:xfrm>
              <a:off x="2653" y="1706"/>
              <a:ext cx="862" cy="5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>
                <a:lnSpc>
                  <a:spcPct val="95000"/>
                </a:lnSpc>
                <a:spcBef>
                  <a:spcPct val="0"/>
                </a:spcBef>
                <a:buFontTx/>
                <a:buNone/>
              </a:pPr>
              <a:r>
                <a:rPr lang="en-GB" sz="1400" b="1">
                  <a:solidFill>
                    <a:srgbClr val="2D2DB9"/>
                  </a:solidFill>
                </a:rPr>
                <a:t>Most DD programs </a:t>
              </a:r>
              <a:r>
                <a:rPr lang="en-GB" altLang="en-US" sz="1400" b="1">
                  <a:solidFill>
                    <a:srgbClr val="2D2DB9"/>
                  </a:solidFill>
                </a:rPr>
                <a:t>‘</a:t>
              </a:r>
              <a:r>
                <a:rPr lang="en-GB" sz="1400" b="1">
                  <a:solidFill>
                    <a:srgbClr val="2D2DB9"/>
                  </a:solidFill>
                </a:rPr>
                <a:t>fail</a:t>
              </a:r>
              <a:r>
                <a:rPr lang="en-GB" altLang="en-US" sz="1400" b="1">
                  <a:solidFill>
                    <a:srgbClr val="2D2DB9"/>
                  </a:solidFill>
                </a:rPr>
                <a:t>’</a:t>
              </a:r>
              <a:r>
                <a:rPr lang="en-GB" sz="1400" b="1">
                  <a:solidFill>
                    <a:srgbClr val="2D2DB9"/>
                  </a:solidFill>
                </a:rPr>
                <a:t> in Phase I-IIa, with an attrition rate of 85-90% due to lack of safety or efficacy</a:t>
              </a:r>
              <a:endParaRPr lang="en-US" sz="1400" b="1">
                <a:solidFill>
                  <a:srgbClr val="2D2DB9"/>
                </a:solidFill>
              </a:endParaRPr>
            </a:p>
          </p:txBody>
        </p:sp>
      </p:grpSp>
      <p:sp>
        <p:nvSpPr>
          <p:cNvPr id="200738" name="Rectangle 70"/>
          <p:cNvSpPr>
            <a:spLocks noChangeArrowheads="1"/>
          </p:cNvSpPr>
          <p:nvPr/>
        </p:nvSpPr>
        <p:spPr bwMode="auto">
          <a:xfrm>
            <a:off x="2987675" y="1484313"/>
            <a:ext cx="10509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GB" sz="1800">
                <a:solidFill>
                  <a:srgbClr val="000000"/>
                </a:solidFill>
              </a:rPr>
              <a:t>Preclinical</a:t>
            </a:r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41" name="Line 51"/>
          <p:cNvSpPr>
            <a:spLocks noChangeShapeType="1"/>
          </p:cNvSpPr>
          <p:nvPr/>
        </p:nvSpPr>
        <p:spPr bwMode="auto">
          <a:xfrm>
            <a:off x="0" y="998538"/>
            <a:ext cx="9144000" cy="0"/>
          </a:xfrm>
          <a:prstGeom prst="line">
            <a:avLst/>
          </a:prstGeom>
          <a:noFill/>
          <a:ln w="38100" cmpd="sng">
            <a:solidFill>
              <a:schemeClr val="accent6">
                <a:lumMod val="50000"/>
              </a:schemeClr>
            </a:solidFill>
            <a:round/>
            <a:headEnd/>
            <a:tailEnd/>
          </a:ln>
        </p:spPr>
        <p:txBody>
          <a:bodyPr/>
          <a:lstStyle/>
          <a:p>
            <a:pPr algn="l">
              <a:spcBef>
                <a:spcPct val="0"/>
              </a:spcBef>
              <a:defRPr/>
            </a:pPr>
            <a:endParaRPr lang="en-GB">
              <a:solidFill>
                <a:srgbClr val="000000"/>
              </a:solidFill>
              <a:ea typeface="ＭＳ Ｐゴシック" charset="0"/>
            </a:endParaRPr>
          </a:p>
        </p:txBody>
      </p:sp>
      <p:pic>
        <p:nvPicPr>
          <p:cNvPr id="200740" name="Picture 6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49238"/>
            <a:ext cx="1690687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0741" name="Text Box 14"/>
          <p:cNvSpPr txBox="1">
            <a:spLocks noChangeArrowheads="1"/>
          </p:cNvSpPr>
          <p:nvPr/>
        </p:nvSpPr>
        <p:spPr bwMode="auto">
          <a:xfrm>
            <a:off x="1692275" y="2420938"/>
            <a:ext cx="101600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US" sz="2000">
                <a:solidFill>
                  <a:srgbClr val="000000"/>
                </a:solidFill>
              </a:rPr>
              <a:t>£1-2 Bn</a:t>
            </a:r>
          </a:p>
        </p:txBody>
      </p:sp>
      <p:sp>
        <p:nvSpPr>
          <p:cNvPr id="200742" name="Rectangle 4"/>
          <p:cNvSpPr>
            <a:spLocks noChangeArrowheads="1"/>
          </p:cNvSpPr>
          <p:nvPr/>
        </p:nvSpPr>
        <p:spPr bwMode="auto">
          <a:xfrm>
            <a:off x="6689725" y="2852738"/>
            <a:ext cx="1292225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514350" indent="-514350"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GB" sz="1400" b="1">
                <a:solidFill>
                  <a:srgbClr val="FF0000"/>
                </a:solidFill>
              </a:rPr>
              <a:t>Translational</a:t>
            </a:r>
          </a:p>
          <a:p>
            <a:pPr marL="514350" indent="-514350"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GB" sz="1400" b="1">
                <a:solidFill>
                  <a:srgbClr val="FF0000"/>
                </a:solidFill>
              </a:rPr>
              <a:t>Medicine</a:t>
            </a:r>
            <a:endParaRPr lang="en-US" sz="1400" b="1">
              <a:solidFill>
                <a:srgbClr val="FF0000"/>
              </a:solidFill>
            </a:endParaRPr>
          </a:p>
        </p:txBody>
      </p:sp>
    </p:spTree>
  </p:cSld>
  <p:clrMapOvr>
    <a:masterClrMapping/>
  </p:clrMapOvr>
  <p:transition spd="slow">
    <p:cover dir="ld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753" name="Rectangle 4"/>
          <p:cNvSpPr>
            <a:spLocks noChangeArrowheads="1"/>
          </p:cNvSpPr>
          <p:nvPr/>
        </p:nvSpPr>
        <p:spPr bwMode="auto">
          <a:xfrm>
            <a:off x="785813" y="214313"/>
            <a:ext cx="771525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l">
              <a:spcBef>
                <a:spcPct val="0"/>
              </a:spcBef>
              <a:buFontTx/>
              <a:buNone/>
            </a:pPr>
            <a:r>
              <a:rPr lang="en-GB" b="1">
                <a:solidFill>
                  <a:srgbClr val="2D2DB9"/>
                </a:solidFill>
                <a:cs typeface="Arial" pitchFamily="34" charset="0"/>
              </a:rPr>
              <a:t>Translational Medicine</a:t>
            </a:r>
            <a:endParaRPr lang="en-GB" sz="2400" b="1">
              <a:solidFill>
                <a:srgbClr val="2D2DB9"/>
              </a:solidFill>
              <a:cs typeface="Arial" pitchFamily="34" charset="0"/>
            </a:endParaRPr>
          </a:p>
        </p:txBody>
      </p:sp>
      <p:sp>
        <p:nvSpPr>
          <p:cNvPr id="100354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430213" y="1214438"/>
            <a:ext cx="8713787" cy="4114800"/>
          </a:xfrm>
          <a:solidFill>
            <a:srgbClr val="FFFFFF"/>
          </a:solidFill>
        </p:spPr>
        <p:txBody>
          <a:bodyPr rtlCol="0">
            <a:normAutofit lnSpcReduction="10000"/>
          </a:bodyPr>
          <a:lstStyle/>
          <a:p>
            <a:pPr marL="457200" indent="-457200" eaLnBrk="1" fontAlgn="auto" hangingPunct="1">
              <a:spcBef>
                <a:spcPct val="0"/>
              </a:spcBef>
              <a:spcAft>
                <a:spcPts val="0"/>
              </a:spcAft>
              <a:buFontTx/>
              <a:buNone/>
              <a:defRPr/>
            </a:pPr>
            <a:r>
              <a:rPr lang="en-GB" sz="2400" smtClean="0">
                <a:solidFill>
                  <a:srgbClr val="0000FF"/>
                </a:solidFill>
                <a:latin typeface="Times New Roman" charset="0"/>
                <a:ea typeface="+mn-ea"/>
                <a:cs typeface="+mn-cs"/>
              </a:rPr>
              <a:t>	</a:t>
            </a:r>
            <a:r>
              <a:rPr lang="en-GB" sz="2400" smtClean="0">
                <a:solidFill>
                  <a:srgbClr val="0000FF"/>
                </a:solidFill>
                <a:latin typeface="Arial" charset="0"/>
                <a:ea typeface="+mn-ea"/>
                <a:cs typeface="+mn-cs"/>
              </a:rPr>
              <a:t>Set up common strategy plans for investigating animal and human pharmacology </a:t>
            </a:r>
          </a:p>
          <a:p>
            <a:pPr marL="457200" indent="-457200" eaLnBrk="1" fontAlgn="auto" hangingPunct="1">
              <a:spcBef>
                <a:spcPct val="0"/>
              </a:spcBef>
              <a:spcAft>
                <a:spcPts val="0"/>
              </a:spcAft>
              <a:buFont typeface="Arial"/>
              <a:buChar char="•"/>
              <a:defRPr/>
            </a:pPr>
            <a:endParaRPr lang="en-GB" sz="2400" smtClean="0">
              <a:solidFill>
                <a:srgbClr val="0000FF"/>
              </a:solidFill>
              <a:latin typeface="Arial" charset="0"/>
              <a:ea typeface="+mn-ea"/>
              <a:cs typeface="+mn-cs"/>
            </a:endParaRPr>
          </a:p>
          <a:p>
            <a:pPr marL="457200" indent="-457200" eaLnBrk="1" fontAlgn="auto" hangingPunct="1">
              <a:spcBef>
                <a:spcPct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2400" smtClean="0">
                <a:latin typeface="Arial" charset="0"/>
                <a:ea typeface="+mn-ea"/>
                <a:cs typeface="+mn-cs"/>
              </a:rPr>
              <a:t>Pharmacological activity in humans that is similar in type and magnitude to that observed in non-clinical efficacy models.</a:t>
            </a:r>
          </a:p>
          <a:p>
            <a:pPr marL="457200" indent="-457200" eaLnBrk="1" fontAlgn="auto" hangingPunct="1">
              <a:spcBef>
                <a:spcPct val="0"/>
              </a:spcBef>
              <a:spcAft>
                <a:spcPts val="0"/>
              </a:spcAft>
              <a:buFont typeface="Arial"/>
              <a:buChar char="•"/>
              <a:defRPr/>
            </a:pPr>
            <a:endParaRPr lang="en-US" sz="2400" smtClean="0">
              <a:latin typeface="Arial" charset="0"/>
              <a:ea typeface="+mn-ea"/>
              <a:cs typeface="+mn-cs"/>
            </a:endParaRPr>
          </a:p>
          <a:p>
            <a:pPr marL="457200" indent="-457200" eaLnBrk="1" fontAlgn="auto" hangingPunct="1">
              <a:spcBef>
                <a:spcPct val="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sz="2400" smtClean="0">
                <a:latin typeface="Arial" charset="0"/>
                <a:ea typeface="+mn-ea"/>
                <a:cs typeface="+mn-cs"/>
              </a:rPr>
              <a:t>Pharmacological activity that, if clinical trials are negative, </a:t>
            </a:r>
          </a:p>
          <a:p>
            <a:pPr marL="457200" indent="-457200" eaLnBrk="1" fontAlgn="auto" hangingPunct="1">
              <a:spcBef>
                <a:spcPct val="0"/>
              </a:spcBef>
              <a:spcAft>
                <a:spcPts val="0"/>
              </a:spcAft>
              <a:buFontTx/>
              <a:buNone/>
              <a:defRPr/>
            </a:pPr>
            <a:r>
              <a:rPr lang="en-US" sz="2400" smtClean="0">
                <a:latin typeface="Arial" charset="0"/>
                <a:ea typeface="+mn-ea"/>
                <a:cs typeface="+mn-cs"/>
              </a:rPr>
              <a:t>	would disprove the target hypothesis for moving to further development.</a:t>
            </a:r>
          </a:p>
          <a:p>
            <a:pPr marL="457200" indent="-457200" eaLnBrk="1" fontAlgn="auto" hangingPunct="1">
              <a:spcBef>
                <a:spcPct val="0"/>
              </a:spcBef>
              <a:spcAft>
                <a:spcPts val="0"/>
              </a:spcAft>
              <a:buFont typeface="Arial"/>
              <a:buChar char="•"/>
              <a:defRPr/>
            </a:pPr>
            <a:endParaRPr lang="en-US" sz="2400" smtClean="0">
              <a:latin typeface="Arial" charset="0"/>
              <a:ea typeface="+mn-ea"/>
              <a:cs typeface="+mn-cs"/>
            </a:endParaRPr>
          </a:p>
          <a:p>
            <a:pPr marL="457200" indent="-457200" eaLnBrk="1" fontAlgn="auto" hangingPunct="1">
              <a:spcBef>
                <a:spcPct val="0"/>
              </a:spcBef>
              <a:spcAft>
                <a:spcPts val="0"/>
              </a:spcAft>
              <a:buFontTx/>
              <a:buNone/>
              <a:defRPr/>
            </a:pPr>
            <a:r>
              <a:rPr lang="en-GB" sz="2400" smtClean="0">
                <a:latin typeface="Arial" charset="0"/>
                <a:ea typeface="+mn-ea"/>
                <a:cs typeface="+mn-cs"/>
              </a:rPr>
              <a:t>		</a:t>
            </a:r>
            <a:r>
              <a:rPr lang="en-GB" sz="2400" smtClean="0">
                <a:solidFill>
                  <a:srgbClr val="FF3300"/>
                </a:solidFill>
                <a:latin typeface="Arial" charset="0"/>
                <a:ea typeface="+mn-ea"/>
                <a:cs typeface="+mn-cs"/>
              </a:rPr>
              <a:t>Novel targets may require novel markers/models</a:t>
            </a:r>
          </a:p>
          <a:p>
            <a:pPr marL="457200" indent="-457200" eaLnBrk="1" fontAlgn="auto" hangingPunct="1">
              <a:spcBef>
                <a:spcPct val="0"/>
              </a:spcBef>
              <a:spcAft>
                <a:spcPts val="0"/>
              </a:spcAft>
              <a:buFont typeface="Arial"/>
              <a:buChar char="•"/>
              <a:defRPr/>
            </a:pPr>
            <a:endParaRPr lang="en-GB" sz="2400" smtClean="0">
              <a:latin typeface="Times New Roman" charset="0"/>
              <a:ea typeface="+mn-ea"/>
              <a:cs typeface="+mn-cs"/>
            </a:endParaRPr>
          </a:p>
          <a:p>
            <a:pPr marL="457200" indent="-457200" eaLnBrk="1" fontAlgn="auto" hangingPunct="1">
              <a:spcBef>
                <a:spcPct val="0"/>
              </a:spcBef>
              <a:spcAft>
                <a:spcPts val="0"/>
              </a:spcAft>
              <a:buFontTx/>
              <a:buNone/>
              <a:defRPr/>
            </a:pPr>
            <a:endParaRPr lang="en-GB" sz="2000" b="1" smtClean="0">
              <a:latin typeface="Times New Roman" charset="0"/>
              <a:ea typeface="+mn-ea"/>
              <a:cs typeface="+mn-cs"/>
            </a:endParaRPr>
          </a:p>
          <a:p>
            <a:pPr marL="457200" indent="-457200" eaLnBrk="1" fontAlgn="auto" hangingPunct="1">
              <a:spcBef>
                <a:spcPct val="0"/>
              </a:spcBef>
              <a:spcAft>
                <a:spcPts val="0"/>
              </a:spcAft>
              <a:buFontTx/>
              <a:buNone/>
              <a:defRPr/>
            </a:pPr>
            <a:endParaRPr lang="en-GB" sz="2000" b="1" smtClean="0">
              <a:latin typeface="Times New Roman" charset="0"/>
              <a:ea typeface="+mn-ea"/>
              <a:cs typeface="+mn-cs"/>
            </a:endParaRPr>
          </a:p>
        </p:txBody>
      </p:sp>
      <p:cxnSp>
        <p:nvCxnSpPr>
          <p:cNvPr id="202755" name="Straight Connector 5"/>
          <p:cNvCxnSpPr>
            <a:cxnSpLocks noChangeShapeType="1"/>
          </p:cNvCxnSpPr>
          <p:nvPr/>
        </p:nvCxnSpPr>
        <p:spPr bwMode="auto">
          <a:xfrm>
            <a:off x="0" y="1052513"/>
            <a:ext cx="91440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202756" name="Picture 6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60350"/>
            <a:ext cx="1690687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>
    <p:pull dir="ld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777" name="Freeform 2"/>
          <p:cNvSpPr>
            <a:spLocks noEditPoints="1"/>
          </p:cNvSpPr>
          <p:nvPr/>
        </p:nvSpPr>
        <p:spPr bwMode="auto">
          <a:xfrm>
            <a:off x="1655763" y="1192213"/>
            <a:ext cx="4248150" cy="142875"/>
          </a:xfrm>
          <a:custGeom>
            <a:avLst/>
            <a:gdLst>
              <a:gd name="T0" fmla="*/ 2147483647 w 3354"/>
              <a:gd name="T1" fmla="*/ 2147483647 h 96"/>
              <a:gd name="T2" fmla="*/ 2147483647 w 3354"/>
              <a:gd name="T3" fmla="*/ 2147483647 h 96"/>
              <a:gd name="T4" fmla="*/ 2147483647 w 3354"/>
              <a:gd name="T5" fmla="*/ 2147483647 h 96"/>
              <a:gd name="T6" fmla="*/ 2147483647 w 3354"/>
              <a:gd name="T7" fmla="*/ 2147483647 h 96"/>
              <a:gd name="T8" fmla="*/ 2147483647 w 3354"/>
              <a:gd name="T9" fmla="*/ 2147483647 h 96"/>
              <a:gd name="T10" fmla="*/ 2147483647 w 3354"/>
              <a:gd name="T11" fmla="*/ 2147483647 h 96"/>
              <a:gd name="T12" fmla="*/ 2147483647 w 3354"/>
              <a:gd name="T13" fmla="*/ 2147483647 h 96"/>
              <a:gd name="T14" fmla="*/ 2147483647 w 3354"/>
              <a:gd name="T15" fmla="*/ 2147483647 h 96"/>
              <a:gd name="T16" fmla="*/ 2147483647 w 3354"/>
              <a:gd name="T17" fmla="*/ 2147483647 h 96"/>
              <a:gd name="T18" fmla="*/ 2147483647 w 3354"/>
              <a:gd name="T19" fmla="*/ 2147483647 h 96"/>
              <a:gd name="T20" fmla="*/ 2147483647 w 3354"/>
              <a:gd name="T21" fmla="*/ 2147483647 h 96"/>
              <a:gd name="T22" fmla="*/ 2147483647 w 3354"/>
              <a:gd name="T23" fmla="*/ 2147483647 h 96"/>
              <a:gd name="T24" fmla="*/ 2147483647 w 3354"/>
              <a:gd name="T25" fmla="*/ 2147483647 h 96"/>
              <a:gd name="T26" fmla="*/ 2147483647 w 3354"/>
              <a:gd name="T27" fmla="*/ 2147483647 h 96"/>
              <a:gd name="T28" fmla="*/ 2147483647 w 3354"/>
              <a:gd name="T29" fmla="*/ 2147483647 h 96"/>
              <a:gd name="T30" fmla="*/ 2147483647 w 3354"/>
              <a:gd name="T31" fmla="*/ 2147483647 h 96"/>
              <a:gd name="T32" fmla="*/ 2147483647 w 3354"/>
              <a:gd name="T33" fmla="*/ 2147483647 h 96"/>
              <a:gd name="T34" fmla="*/ 2147483647 w 3354"/>
              <a:gd name="T35" fmla="*/ 2147483647 h 96"/>
              <a:gd name="T36" fmla="*/ 2147483647 w 3354"/>
              <a:gd name="T37" fmla="*/ 2147483647 h 96"/>
              <a:gd name="T38" fmla="*/ 2147483647 w 3354"/>
              <a:gd name="T39" fmla="*/ 2147483647 h 96"/>
              <a:gd name="T40" fmla="*/ 2147483647 w 3354"/>
              <a:gd name="T41" fmla="*/ 2147483647 h 96"/>
              <a:gd name="T42" fmla="*/ 2147483647 w 3354"/>
              <a:gd name="T43" fmla="*/ 2147483647 h 96"/>
              <a:gd name="T44" fmla="*/ 2147483647 w 3354"/>
              <a:gd name="T45" fmla="*/ 2147483647 h 96"/>
              <a:gd name="T46" fmla="*/ 2147483647 w 3354"/>
              <a:gd name="T47" fmla="*/ 2147483647 h 96"/>
              <a:gd name="T48" fmla="*/ 2147483647 w 3354"/>
              <a:gd name="T49" fmla="*/ 2147483647 h 96"/>
              <a:gd name="T50" fmla="*/ 2147483647 w 3354"/>
              <a:gd name="T51" fmla="*/ 2147483647 h 96"/>
              <a:gd name="T52" fmla="*/ 2147483647 w 3354"/>
              <a:gd name="T53" fmla="*/ 2147483647 h 96"/>
              <a:gd name="T54" fmla="*/ 2147483647 w 3354"/>
              <a:gd name="T55" fmla="*/ 2147483647 h 96"/>
              <a:gd name="T56" fmla="*/ 2147483647 w 3354"/>
              <a:gd name="T57" fmla="*/ 2147483647 h 96"/>
              <a:gd name="T58" fmla="*/ 2147483647 w 3354"/>
              <a:gd name="T59" fmla="*/ 2147483647 h 96"/>
              <a:gd name="T60" fmla="*/ 2147483647 w 3354"/>
              <a:gd name="T61" fmla="*/ 2147483647 h 96"/>
              <a:gd name="T62" fmla="*/ 2147483647 w 3354"/>
              <a:gd name="T63" fmla="*/ 2147483647 h 96"/>
              <a:gd name="T64" fmla="*/ 2147483647 w 3354"/>
              <a:gd name="T65" fmla="*/ 2147483647 h 96"/>
              <a:gd name="T66" fmla="*/ 2147483647 w 3354"/>
              <a:gd name="T67" fmla="*/ 2147483647 h 96"/>
              <a:gd name="T68" fmla="*/ 2147483647 w 3354"/>
              <a:gd name="T69" fmla="*/ 2147483647 h 96"/>
              <a:gd name="T70" fmla="*/ 2147483647 w 3354"/>
              <a:gd name="T71" fmla="*/ 2147483647 h 96"/>
              <a:gd name="T72" fmla="*/ 2147483647 w 3354"/>
              <a:gd name="T73" fmla="*/ 2147483647 h 96"/>
              <a:gd name="T74" fmla="*/ 2147483647 w 3354"/>
              <a:gd name="T75" fmla="*/ 2147483647 h 96"/>
              <a:gd name="T76" fmla="*/ 2147483647 w 3354"/>
              <a:gd name="T77" fmla="*/ 2147483647 h 96"/>
              <a:gd name="T78" fmla="*/ 2147483647 w 3354"/>
              <a:gd name="T79" fmla="*/ 2147483647 h 96"/>
              <a:gd name="T80" fmla="*/ 2147483647 w 3354"/>
              <a:gd name="T81" fmla="*/ 2147483647 h 96"/>
              <a:gd name="T82" fmla="*/ 2147483647 w 3354"/>
              <a:gd name="T83" fmla="*/ 2147483647 h 96"/>
              <a:gd name="T84" fmla="*/ 2147483647 w 3354"/>
              <a:gd name="T85" fmla="*/ 2147483647 h 96"/>
              <a:gd name="T86" fmla="*/ 2147483647 w 3354"/>
              <a:gd name="T87" fmla="*/ 2147483647 h 96"/>
              <a:gd name="T88" fmla="*/ 2147483647 w 3354"/>
              <a:gd name="T89" fmla="*/ 0 h 96"/>
              <a:gd name="T90" fmla="*/ 2147483647 w 3354"/>
              <a:gd name="T91" fmla="*/ 2147483647 h 96"/>
              <a:gd name="T92" fmla="*/ 2147483647 w 3354"/>
              <a:gd name="T93" fmla="*/ 2147483647 h 96"/>
              <a:gd name="T94" fmla="*/ 2147483647 w 3354"/>
              <a:gd name="T95" fmla="*/ 2147483647 h 96"/>
              <a:gd name="T96" fmla="*/ 2147483647 w 3354"/>
              <a:gd name="T97" fmla="*/ 2147483647 h 9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3354"/>
              <a:gd name="T148" fmla="*/ 0 h 96"/>
              <a:gd name="T149" fmla="*/ 3354 w 3354"/>
              <a:gd name="T150" fmla="*/ 96 h 9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3354" h="96">
                <a:moveTo>
                  <a:pt x="3354" y="54"/>
                </a:moveTo>
                <a:lnTo>
                  <a:pt x="3296" y="54"/>
                </a:lnTo>
                <a:lnTo>
                  <a:pt x="3296" y="42"/>
                </a:lnTo>
                <a:lnTo>
                  <a:pt x="3354" y="42"/>
                </a:lnTo>
                <a:lnTo>
                  <a:pt x="3354" y="54"/>
                </a:lnTo>
                <a:close/>
                <a:moveTo>
                  <a:pt x="3254" y="54"/>
                </a:moveTo>
                <a:lnTo>
                  <a:pt x="3200" y="54"/>
                </a:lnTo>
                <a:lnTo>
                  <a:pt x="3200" y="42"/>
                </a:lnTo>
                <a:lnTo>
                  <a:pt x="3254" y="42"/>
                </a:lnTo>
                <a:lnTo>
                  <a:pt x="3254" y="54"/>
                </a:lnTo>
                <a:close/>
                <a:moveTo>
                  <a:pt x="3158" y="54"/>
                </a:moveTo>
                <a:lnTo>
                  <a:pt x="3101" y="54"/>
                </a:lnTo>
                <a:lnTo>
                  <a:pt x="3101" y="42"/>
                </a:lnTo>
                <a:lnTo>
                  <a:pt x="3158" y="42"/>
                </a:lnTo>
                <a:lnTo>
                  <a:pt x="3158" y="54"/>
                </a:lnTo>
                <a:close/>
                <a:moveTo>
                  <a:pt x="3058" y="54"/>
                </a:moveTo>
                <a:lnTo>
                  <a:pt x="3005" y="54"/>
                </a:lnTo>
                <a:lnTo>
                  <a:pt x="3005" y="42"/>
                </a:lnTo>
                <a:lnTo>
                  <a:pt x="3058" y="42"/>
                </a:lnTo>
                <a:lnTo>
                  <a:pt x="3058" y="54"/>
                </a:lnTo>
                <a:close/>
                <a:moveTo>
                  <a:pt x="2963" y="54"/>
                </a:moveTo>
                <a:lnTo>
                  <a:pt x="2905" y="54"/>
                </a:lnTo>
                <a:lnTo>
                  <a:pt x="2905" y="42"/>
                </a:lnTo>
                <a:lnTo>
                  <a:pt x="2963" y="42"/>
                </a:lnTo>
                <a:lnTo>
                  <a:pt x="2963" y="54"/>
                </a:lnTo>
                <a:close/>
                <a:moveTo>
                  <a:pt x="2863" y="54"/>
                </a:moveTo>
                <a:lnTo>
                  <a:pt x="2809" y="54"/>
                </a:lnTo>
                <a:lnTo>
                  <a:pt x="2809" y="42"/>
                </a:lnTo>
                <a:lnTo>
                  <a:pt x="2863" y="42"/>
                </a:lnTo>
                <a:lnTo>
                  <a:pt x="2863" y="54"/>
                </a:lnTo>
                <a:close/>
                <a:moveTo>
                  <a:pt x="2767" y="54"/>
                </a:moveTo>
                <a:lnTo>
                  <a:pt x="2709" y="54"/>
                </a:lnTo>
                <a:lnTo>
                  <a:pt x="2709" y="42"/>
                </a:lnTo>
                <a:lnTo>
                  <a:pt x="2767" y="42"/>
                </a:lnTo>
                <a:lnTo>
                  <a:pt x="2767" y="54"/>
                </a:lnTo>
                <a:close/>
                <a:moveTo>
                  <a:pt x="2667" y="54"/>
                </a:moveTo>
                <a:lnTo>
                  <a:pt x="2613" y="54"/>
                </a:lnTo>
                <a:lnTo>
                  <a:pt x="2613" y="42"/>
                </a:lnTo>
                <a:lnTo>
                  <a:pt x="2667" y="42"/>
                </a:lnTo>
                <a:lnTo>
                  <a:pt x="2667" y="54"/>
                </a:lnTo>
                <a:close/>
                <a:moveTo>
                  <a:pt x="2571" y="54"/>
                </a:moveTo>
                <a:lnTo>
                  <a:pt x="2514" y="54"/>
                </a:lnTo>
                <a:lnTo>
                  <a:pt x="2514" y="42"/>
                </a:lnTo>
                <a:lnTo>
                  <a:pt x="2571" y="42"/>
                </a:lnTo>
                <a:lnTo>
                  <a:pt x="2571" y="54"/>
                </a:lnTo>
                <a:close/>
                <a:moveTo>
                  <a:pt x="2471" y="54"/>
                </a:moveTo>
                <a:lnTo>
                  <a:pt x="2418" y="54"/>
                </a:lnTo>
                <a:lnTo>
                  <a:pt x="2418" y="42"/>
                </a:lnTo>
                <a:lnTo>
                  <a:pt x="2471" y="42"/>
                </a:lnTo>
                <a:lnTo>
                  <a:pt x="2471" y="54"/>
                </a:lnTo>
                <a:close/>
                <a:moveTo>
                  <a:pt x="2375" y="54"/>
                </a:moveTo>
                <a:lnTo>
                  <a:pt x="2318" y="54"/>
                </a:lnTo>
                <a:lnTo>
                  <a:pt x="2318" y="42"/>
                </a:lnTo>
                <a:lnTo>
                  <a:pt x="2375" y="42"/>
                </a:lnTo>
                <a:lnTo>
                  <a:pt x="2375" y="54"/>
                </a:lnTo>
                <a:close/>
                <a:moveTo>
                  <a:pt x="2276" y="54"/>
                </a:moveTo>
                <a:lnTo>
                  <a:pt x="2222" y="54"/>
                </a:lnTo>
                <a:lnTo>
                  <a:pt x="2222" y="42"/>
                </a:lnTo>
                <a:lnTo>
                  <a:pt x="2276" y="42"/>
                </a:lnTo>
                <a:lnTo>
                  <a:pt x="2276" y="54"/>
                </a:lnTo>
                <a:close/>
                <a:moveTo>
                  <a:pt x="2180" y="54"/>
                </a:moveTo>
                <a:lnTo>
                  <a:pt x="2122" y="54"/>
                </a:lnTo>
                <a:lnTo>
                  <a:pt x="2122" y="42"/>
                </a:lnTo>
                <a:lnTo>
                  <a:pt x="2180" y="42"/>
                </a:lnTo>
                <a:lnTo>
                  <a:pt x="2180" y="54"/>
                </a:lnTo>
                <a:close/>
                <a:moveTo>
                  <a:pt x="2080" y="54"/>
                </a:moveTo>
                <a:lnTo>
                  <a:pt x="2026" y="54"/>
                </a:lnTo>
                <a:lnTo>
                  <a:pt x="2026" y="42"/>
                </a:lnTo>
                <a:lnTo>
                  <a:pt x="2080" y="42"/>
                </a:lnTo>
                <a:lnTo>
                  <a:pt x="2080" y="54"/>
                </a:lnTo>
                <a:close/>
                <a:moveTo>
                  <a:pt x="1984" y="54"/>
                </a:moveTo>
                <a:lnTo>
                  <a:pt x="1926" y="54"/>
                </a:lnTo>
                <a:lnTo>
                  <a:pt x="1926" y="42"/>
                </a:lnTo>
                <a:lnTo>
                  <a:pt x="1984" y="42"/>
                </a:lnTo>
                <a:lnTo>
                  <a:pt x="1984" y="54"/>
                </a:lnTo>
                <a:close/>
                <a:moveTo>
                  <a:pt x="1884" y="54"/>
                </a:moveTo>
                <a:lnTo>
                  <a:pt x="1827" y="54"/>
                </a:lnTo>
                <a:lnTo>
                  <a:pt x="1827" y="42"/>
                </a:lnTo>
                <a:lnTo>
                  <a:pt x="1884" y="42"/>
                </a:lnTo>
                <a:lnTo>
                  <a:pt x="1884" y="54"/>
                </a:lnTo>
                <a:close/>
                <a:moveTo>
                  <a:pt x="1788" y="54"/>
                </a:moveTo>
                <a:lnTo>
                  <a:pt x="1731" y="54"/>
                </a:lnTo>
                <a:lnTo>
                  <a:pt x="1731" y="42"/>
                </a:lnTo>
                <a:lnTo>
                  <a:pt x="1788" y="42"/>
                </a:lnTo>
                <a:lnTo>
                  <a:pt x="1788" y="54"/>
                </a:lnTo>
                <a:close/>
                <a:moveTo>
                  <a:pt x="1689" y="54"/>
                </a:moveTo>
                <a:lnTo>
                  <a:pt x="1631" y="54"/>
                </a:lnTo>
                <a:lnTo>
                  <a:pt x="1631" y="42"/>
                </a:lnTo>
                <a:lnTo>
                  <a:pt x="1689" y="42"/>
                </a:lnTo>
                <a:lnTo>
                  <a:pt x="1689" y="54"/>
                </a:lnTo>
                <a:close/>
                <a:moveTo>
                  <a:pt x="1589" y="54"/>
                </a:moveTo>
                <a:lnTo>
                  <a:pt x="1535" y="54"/>
                </a:lnTo>
                <a:lnTo>
                  <a:pt x="1535" y="42"/>
                </a:lnTo>
                <a:lnTo>
                  <a:pt x="1589" y="42"/>
                </a:lnTo>
                <a:lnTo>
                  <a:pt x="1589" y="54"/>
                </a:lnTo>
                <a:close/>
                <a:moveTo>
                  <a:pt x="1493" y="54"/>
                </a:moveTo>
                <a:lnTo>
                  <a:pt x="1435" y="54"/>
                </a:lnTo>
                <a:lnTo>
                  <a:pt x="1435" y="42"/>
                </a:lnTo>
                <a:lnTo>
                  <a:pt x="1493" y="42"/>
                </a:lnTo>
                <a:lnTo>
                  <a:pt x="1493" y="54"/>
                </a:lnTo>
                <a:close/>
                <a:moveTo>
                  <a:pt x="1393" y="54"/>
                </a:moveTo>
                <a:lnTo>
                  <a:pt x="1339" y="54"/>
                </a:lnTo>
                <a:lnTo>
                  <a:pt x="1339" y="42"/>
                </a:lnTo>
                <a:lnTo>
                  <a:pt x="1393" y="42"/>
                </a:lnTo>
                <a:lnTo>
                  <a:pt x="1393" y="54"/>
                </a:lnTo>
                <a:close/>
                <a:moveTo>
                  <a:pt x="1297" y="54"/>
                </a:moveTo>
                <a:lnTo>
                  <a:pt x="1240" y="54"/>
                </a:lnTo>
                <a:lnTo>
                  <a:pt x="1240" y="42"/>
                </a:lnTo>
                <a:lnTo>
                  <a:pt x="1297" y="42"/>
                </a:lnTo>
                <a:lnTo>
                  <a:pt x="1297" y="54"/>
                </a:lnTo>
                <a:close/>
                <a:moveTo>
                  <a:pt x="1197" y="54"/>
                </a:moveTo>
                <a:lnTo>
                  <a:pt x="1144" y="54"/>
                </a:lnTo>
                <a:lnTo>
                  <a:pt x="1144" y="42"/>
                </a:lnTo>
                <a:lnTo>
                  <a:pt x="1197" y="42"/>
                </a:lnTo>
                <a:lnTo>
                  <a:pt x="1197" y="54"/>
                </a:lnTo>
                <a:close/>
                <a:moveTo>
                  <a:pt x="1101" y="54"/>
                </a:moveTo>
                <a:lnTo>
                  <a:pt x="1044" y="54"/>
                </a:lnTo>
                <a:lnTo>
                  <a:pt x="1044" y="42"/>
                </a:lnTo>
                <a:lnTo>
                  <a:pt x="1101" y="42"/>
                </a:lnTo>
                <a:lnTo>
                  <a:pt x="1101" y="54"/>
                </a:lnTo>
                <a:close/>
                <a:moveTo>
                  <a:pt x="1002" y="54"/>
                </a:moveTo>
                <a:lnTo>
                  <a:pt x="948" y="54"/>
                </a:lnTo>
                <a:lnTo>
                  <a:pt x="948" y="42"/>
                </a:lnTo>
                <a:lnTo>
                  <a:pt x="1002" y="42"/>
                </a:lnTo>
                <a:lnTo>
                  <a:pt x="1002" y="54"/>
                </a:lnTo>
                <a:close/>
                <a:moveTo>
                  <a:pt x="906" y="54"/>
                </a:moveTo>
                <a:lnTo>
                  <a:pt x="848" y="54"/>
                </a:lnTo>
                <a:lnTo>
                  <a:pt x="848" y="42"/>
                </a:lnTo>
                <a:lnTo>
                  <a:pt x="906" y="42"/>
                </a:lnTo>
                <a:lnTo>
                  <a:pt x="906" y="54"/>
                </a:lnTo>
                <a:close/>
                <a:moveTo>
                  <a:pt x="806" y="54"/>
                </a:moveTo>
                <a:lnTo>
                  <a:pt x="752" y="54"/>
                </a:lnTo>
                <a:lnTo>
                  <a:pt x="752" y="42"/>
                </a:lnTo>
                <a:lnTo>
                  <a:pt x="806" y="42"/>
                </a:lnTo>
                <a:lnTo>
                  <a:pt x="806" y="54"/>
                </a:lnTo>
                <a:close/>
                <a:moveTo>
                  <a:pt x="710" y="54"/>
                </a:moveTo>
                <a:lnTo>
                  <a:pt x="652" y="54"/>
                </a:lnTo>
                <a:lnTo>
                  <a:pt x="652" y="42"/>
                </a:lnTo>
                <a:lnTo>
                  <a:pt x="710" y="42"/>
                </a:lnTo>
                <a:lnTo>
                  <a:pt x="710" y="54"/>
                </a:lnTo>
                <a:close/>
                <a:moveTo>
                  <a:pt x="610" y="54"/>
                </a:moveTo>
                <a:lnTo>
                  <a:pt x="556" y="54"/>
                </a:lnTo>
                <a:lnTo>
                  <a:pt x="556" y="42"/>
                </a:lnTo>
                <a:lnTo>
                  <a:pt x="610" y="42"/>
                </a:lnTo>
                <a:lnTo>
                  <a:pt x="610" y="54"/>
                </a:lnTo>
                <a:close/>
                <a:moveTo>
                  <a:pt x="514" y="54"/>
                </a:moveTo>
                <a:lnTo>
                  <a:pt x="457" y="54"/>
                </a:lnTo>
                <a:lnTo>
                  <a:pt x="457" y="42"/>
                </a:lnTo>
                <a:lnTo>
                  <a:pt x="514" y="42"/>
                </a:lnTo>
                <a:lnTo>
                  <a:pt x="514" y="54"/>
                </a:lnTo>
                <a:close/>
                <a:moveTo>
                  <a:pt x="414" y="54"/>
                </a:moveTo>
                <a:lnTo>
                  <a:pt x="361" y="54"/>
                </a:lnTo>
                <a:lnTo>
                  <a:pt x="361" y="42"/>
                </a:lnTo>
                <a:lnTo>
                  <a:pt x="414" y="42"/>
                </a:lnTo>
                <a:lnTo>
                  <a:pt x="414" y="54"/>
                </a:lnTo>
                <a:close/>
                <a:moveTo>
                  <a:pt x="319" y="54"/>
                </a:moveTo>
                <a:lnTo>
                  <a:pt x="261" y="54"/>
                </a:lnTo>
                <a:lnTo>
                  <a:pt x="261" y="42"/>
                </a:lnTo>
                <a:lnTo>
                  <a:pt x="319" y="42"/>
                </a:lnTo>
                <a:lnTo>
                  <a:pt x="319" y="54"/>
                </a:lnTo>
                <a:close/>
                <a:moveTo>
                  <a:pt x="219" y="54"/>
                </a:moveTo>
                <a:lnTo>
                  <a:pt x="165" y="54"/>
                </a:lnTo>
                <a:lnTo>
                  <a:pt x="165" y="42"/>
                </a:lnTo>
                <a:lnTo>
                  <a:pt x="219" y="42"/>
                </a:lnTo>
                <a:lnTo>
                  <a:pt x="219" y="54"/>
                </a:lnTo>
                <a:close/>
                <a:moveTo>
                  <a:pt x="123" y="54"/>
                </a:moveTo>
                <a:lnTo>
                  <a:pt x="65" y="54"/>
                </a:lnTo>
                <a:lnTo>
                  <a:pt x="65" y="42"/>
                </a:lnTo>
                <a:lnTo>
                  <a:pt x="123" y="42"/>
                </a:lnTo>
                <a:lnTo>
                  <a:pt x="123" y="54"/>
                </a:lnTo>
                <a:close/>
                <a:moveTo>
                  <a:pt x="23" y="54"/>
                </a:moveTo>
                <a:lnTo>
                  <a:pt x="15" y="54"/>
                </a:lnTo>
                <a:lnTo>
                  <a:pt x="15" y="42"/>
                </a:lnTo>
                <a:lnTo>
                  <a:pt x="23" y="42"/>
                </a:lnTo>
                <a:lnTo>
                  <a:pt x="23" y="54"/>
                </a:lnTo>
                <a:close/>
                <a:moveTo>
                  <a:pt x="84" y="96"/>
                </a:moveTo>
                <a:lnTo>
                  <a:pt x="0" y="50"/>
                </a:lnTo>
                <a:lnTo>
                  <a:pt x="84" y="4"/>
                </a:lnTo>
                <a:lnTo>
                  <a:pt x="88" y="0"/>
                </a:lnTo>
                <a:lnTo>
                  <a:pt x="92" y="4"/>
                </a:lnTo>
                <a:lnTo>
                  <a:pt x="96" y="8"/>
                </a:lnTo>
                <a:lnTo>
                  <a:pt x="96" y="12"/>
                </a:lnTo>
                <a:lnTo>
                  <a:pt x="92" y="12"/>
                </a:lnTo>
                <a:lnTo>
                  <a:pt x="92" y="16"/>
                </a:lnTo>
                <a:lnTo>
                  <a:pt x="19" y="54"/>
                </a:lnTo>
                <a:lnTo>
                  <a:pt x="19" y="42"/>
                </a:lnTo>
                <a:lnTo>
                  <a:pt x="92" y="81"/>
                </a:lnTo>
                <a:lnTo>
                  <a:pt x="92" y="85"/>
                </a:lnTo>
                <a:lnTo>
                  <a:pt x="96" y="88"/>
                </a:lnTo>
                <a:lnTo>
                  <a:pt x="92" y="92"/>
                </a:lnTo>
                <a:lnTo>
                  <a:pt x="88" y="96"/>
                </a:lnTo>
                <a:lnTo>
                  <a:pt x="84" y="96"/>
                </a:lnTo>
                <a:close/>
              </a:path>
            </a:pathLst>
          </a:custGeom>
          <a:solidFill>
            <a:srgbClr val="3399FF"/>
          </a:solidFill>
          <a:ln w="6350">
            <a:solidFill>
              <a:srgbClr val="3399FF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3778" name="Rectangle 3"/>
          <p:cNvSpPr>
            <a:spLocks noChangeArrowheads="1"/>
          </p:cNvSpPr>
          <p:nvPr/>
        </p:nvSpPr>
        <p:spPr bwMode="auto">
          <a:xfrm>
            <a:off x="7812088" y="1484313"/>
            <a:ext cx="996950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>
              <a:spcBef>
                <a:spcPct val="0"/>
              </a:spcBef>
              <a:buFontTx/>
              <a:buNone/>
            </a:pPr>
            <a:r>
              <a:rPr lang="en-GB" altLang="en-US" i="1">
                <a:solidFill>
                  <a:srgbClr val="FF0000"/>
                </a:solidFill>
                <a:latin typeface="Cambria" pitchFamily="18" charset="0"/>
              </a:rPr>
              <a:t>‘</a:t>
            </a:r>
            <a:r>
              <a:rPr lang="en-GB" i="1">
                <a:solidFill>
                  <a:srgbClr val="FF0000"/>
                </a:solidFill>
                <a:latin typeface="Cambria" pitchFamily="18" charset="0"/>
              </a:rPr>
              <a:t>Ideal</a:t>
            </a:r>
            <a:r>
              <a:rPr lang="en-GB" altLang="en-US" i="1">
                <a:solidFill>
                  <a:srgbClr val="FF0000"/>
                </a:solidFill>
                <a:latin typeface="Cambria" pitchFamily="18" charset="0"/>
              </a:rPr>
              <a:t>’</a:t>
            </a:r>
            <a:endParaRPr lang="en-GB" i="1">
              <a:solidFill>
                <a:srgbClr val="FF0000"/>
              </a:solidFill>
              <a:latin typeface="Cambria" pitchFamily="18" charset="0"/>
            </a:endParaRPr>
          </a:p>
        </p:txBody>
      </p:sp>
      <p:sp>
        <p:nvSpPr>
          <p:cNvPr id="203779" name="Freeform 4"/>
          <p:cNvSpPr>
            <a:spLocks noEditPoints="1"/>
          </p:cNvSpPr>
          <p:nvPr/>
        </p:nvSpPr>
        <p:spPr bwMode="auto">
          <a:xfrm>
            <a:off x="1584325" y="6118225"/>
            <a:ext cx="6694488" cy="176213"/>
          </a:xfrm>
          <a:custGeom>
            <a:avLst/>
            <a:gdLst>
              <a:gd name="T0" fmla="*/ 0 w 4217"/>
              <a:gd name="T1" fmla="*/ 2147483647 h 111"/>
              <a:gd name="T2" fmla="*/ 2147483647 w 4217"/>
              <a:gd name="T3" fmla="*/ 2147483647 h 111"/>
              <a:gd name="T4" fmla="*/ 2147483647 w 4217"/>
              <a:gd name="T5" fmla="*/ 2147483647 h 111"/>
              <a:gd name="T6" fmla="*/ 0 w 4217"/>
              <a:gd name="T7" fmla="*/ 2147483647 h 111"/>
              <a:gd name="T8" fmla="*/ 0 w 4217"/>
              <a:gd name="T9" fmla="*/ 2147483647 h 111"/>
              <a:gd name="T10" fmla="*/ 2147483647 w 4217"/>
              <a:gd name="T11" fmla="*/ 2147483647 h 111"/>
              <a:gd name="T12" fmla="*/ 2147483647 w 4217"/>
              <a:gd name="T13" fmla="*/ 2147483647 h 111"/>
              <a:gd name="T14" fmla="*/ 2147483647 w 4217"/>
              <a:gd name="T15" fmla="*/ 2147483647 h 111"/>
              <a:gd name="T16" fmla="*/ 2147483647 w 4217"/>
              <a:gd name="T17" fmla="*/ 2147483647 h 111"/>
              <a:gd name="T18" fmla="*/ 2147483647 w 4217"/>
              <a:gd name="T19" fmla="*/ 2147483647 h 111"/>
              <a:gd name="T20" fmla="*/ 2147483647 w 4217"/>
              <a:gd name="T21" fmla="*/ 2147483647 h 111"/>
              <a:gd name="T22" fmla="*/ 2147483647 w 4217"/>
              <a:gd name="T23" fmla="*/ 2147483647 h 111"/>
              <a:gd name="T24" fmla="*/ 2147483647 w 4217"/>
              <a:gd name="T25" fmla="*/ 2147483647 h 111"/>
              <a:gd name="T26" fmla="*/ 2147483647 w 4217"/>
              <a:gd name="T27" fmla="*/ 2147483647 h 111"/>
              <a:gd name="T28" fmla="*/ 2147483647 w 4217"/>
              <a:gd name="T29" fmla="*/ 2147483647 h 111"/>
              <a:gd name="T30" fmla="*/ 2147483647 w 4217"/>
              <a:gd name="T31" fmla="*/ 2147483647 h 111"/>
              <a:gd name="T32" fmla="*/ 2147483647 w 4217"/>
              <a:gd name="T33" fmla="*/ 2147483647 h 111"/>
              <a:gd name="T34" fmla="*/ 2147483647 w 4217"/>
              <a:gd name="T35" fmla="*/ 2147483647 h 111"/>
              <a:gd name="T36" fmla="*/ 2147483647 w 4217"/>
              <a:gd name="T37" fmla="*/ 2147483647 h 111"/>
              <a:gd name="T38" fmla="*/ 2147483647 w 4217"/>
              <a:gd name="T39" fmla="*/ 2147483647 h 111"/>
              <a:gd name="T40" fmla="*/ 2147483647 w 4217"/>
              <a:gd name="T41" fmla="*/ 2147483647 h 111"/>
              <a:gd name="T42" fmla="*/ 2147483647 w 4217"/>
              <a:gd name="T43" fmla="*/ 2147483647 h 111"/>
              <a:gd name="T44" fmla="*/ 2147483647 w 4217"/>
              <a:gd name="T45" fmla="*/ 2147483647 h 111"/>
              <a:gd name="T46" fmla="*/ 2147483647 w 4217"/>
              <a:gd name="T47" fmla="*/ 2147483647 h 111"/>
              <a:gd name="T48" fmla="*/ 2147483647 w 4217"/>
              <a:gd name="T49" fmla="*/ 2147483647 h 111"/>
              <a:gd name="T50" fmla="*/ 2147483647 w 4217"/>
              <a:gd name="T51" fmla="*/ 0 h 111"/>
              <a:gd name="T52" fmla="*/ 2147483647 w 4217"/>
              <a:gd name="T53" fmla="*/ 2147483647 h 111"/>
              <a:gd name="T54" fmla="*/ 2147483647 w 4217"/>
              <a:gd name="T55" fmla="*/ 2147483647 h 111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4217"/>
              <a:gd name="T85" fmla="*/ 0 h 111"/>
              <a:gd name="T86" fmla="*/ 4217 w 4217"/>
              <a:gd name="T87" fmla="*/ 111 h 111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4217" h="111">
                <a:moveTo>
                  <a:pt x="0" y="46"/>
                </a:moveTo>
                <a:lnTo>
                  <a:pt x="4198" y="46"/>
                </a:lnTo>
                <a:lnTo>
                  <a:pt x="4198" y="65"/>
                </a:lnTo>
                <a:lnTo>
                  <a:pt x="0" y="65"/>
                </a:lnTo>
                <a:lnTo>
                  <a:pt x="0" y="46"/>
                </a:lnTo>
                <a:close/>
                <a:moveTo>
                  <a:pt x="4121" y="4"/>
                </a:moveTo>
                <a:lnTo>
                  <a:pt x="4217" y="58"/>
                </a:lnTo>
                <a:lnTo>
                  <a:pt x="4121" y="107"/>
                </a:lnTo>
                <a:lnTo>
                  <a:pt x="4117" y="111"/>
                </a:lnTo>
                <a:lnTo>
                  <a:pt x="4114" y="107"/>
                </a:lnTo>
                <a:lnTo>
                  <a:pt x="4110" y="104"/>
                </a:lnTo>
                <a:lnTo>
                  <a:pt x="4110" y="100"/>
                </a:lnTo>
                <a:lnTo>
                  <a:pt x="4110" y="96"/>
                </a:lnTo>
                <a:lnTo>
                  <a:pt x="4114" y="92"/>
                </a:lnTo>
                <a:lnTo>
                  <a:pt x="4194" y="50"/>
                </a:lnTo>
                <a:lnTo>
                  <a:pt x="4194" y="65"/>
                </a:lnTo>
                <a:lnTo>
                  <a:pt x="4114" y="19"/>
                </a:lnTo>
                <a:lnTo>
                  <a:pt x="4110" y="15"/>
                </a:lnTo>
                <a:lnTo>
                  <a:pt x="4110" y="11"/>
                </a:lnTo>
                <a:lnTo>
                  <a:pt x="4110" y="8"/>
                </a:lnTo>
                <a:lnTo>
                  <a:pt x="4114" y="4"/>
                </a:lnTo>
                <a:lnTo>
                  <a:pt x="4117" y="4"/>
                </a:lnTo>
                <a:lnTo>
                  <a:pt x="4117" y="0"/>
                </a:lnTo>
                <a:lnTo>
                  <a:pt x="4121" y="4"/>
                </a:lnTo>
                <a:close/>
              </a:path>
            </a:pathLst>
          </a:custGeom>
          <a:solidFill>
            <a:srgbClr val="000000"/>
          </a:solidFill>
          <a:ln w="6350">
            <a:solidFill>
              <a:srgbClr val="FFCC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3780" name="Rectangle 5"/>
          <p:cNvSpPr>
            <a:spLocks noChangeArrowheads="1"/>
          </p:cNvSpPr>
          <p:nvPr/>
        </p:nvSpPr>
        <p:spPr bwMode="auto">
          <a:xfrm>
            <a:off x="4932363" y="6308725"/>
            <a:ext cx="316388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>
              <a:spcBef>
                <a:spcPct val="0"/>
              </a:spcBef>
              <a:buFontTx/>
              <a:buNone/>
            </a:pPr>
            <a:r>
              <a:rPr lang="en-GB" sz="2400">
                <a:solidFill>
                  <a:srgbClr val="000000"/>
                </a:solidFill>
              </a:rPr>
              <a:t>Translational Evidence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203781" name="Rectangle 6"/>
          <p:cNvSpPr>
            <a:spLocks noChangeArrowheads="1"/>
          </p:cNvSpPr>
          <p:nvPr/>
        </p:nvSpPr>
        <p:spPr bwMode="auto">
          <a:xfrm>
            <a:off x="5940425" y="1052513"/>
            <a:ext cx="1370013" cy="420687"/>
          </a:xfrm>
          <a:prstGeom prst="rect">
            <a:avLst/>
          </a:prstGeom>
          <a:solidFill>
            <a:srgbClr val="FF0000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/>
          <a:lstStyle/>
          <a:p>
            <a:pPr>
              <a:buFontTx/>
              <a:buNone/>
            </a:pPr>
            <a:endParaRPr lang="en-GB">
              <a:solidFill>
                <a:srgbClr val="FFFF00"/>
              </a:solidFill>
            </a:endParaRPr>
          </a:p>
        </p:txBody>
      </p:sp>
      <p:sp>
        <p:nvSpPr>
          <p:cNvPr id="203782" name="Rectangle 7"/>
          <p:cNvSpPr>
            <a:spLocks noChangeArrowheads="1"/>
          </p:cNvSpPr>
          <p:nvPr/>
        </p:nvSpPr>
        <p:spPr bwMode="auto">
          <a:xfrm>
            <a:off x="5940425" y="1052513"/>
            <a:ext cx="1370013" cy="420687"/>
          </a:xfrm>
          <a:prstGeom prst="rect">
            <a:avLst/>
          </a:prstGeom>
          <a:noFill/>
          <a:ln w="23813">
            <a:solidFill>
              <a:srgbClr val="3333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>
              <a:buFontTx/>
              <a:buNone/>
            </a:pPr>
            <a:endParaRPr lang="en-GB">
              <a:solidFill>
                <a:srgbClr val="FFFF00"/>
              </a:solidFill>
            </a:endParaRPr>
          </a:p>
        </p:txBody>
      </p:sp>
      <p:sp>
        <p:nvSpPr>
          <p:cNvPr id="203783" name="Rectangle 8"/>
          <p:cNvSpPr>
            <a:spLocks noChangeArrowheads="1"/>
          </p:cNvSpPr>
          <p:nvPr/>
        </p:nvSpPr>
        <p:spPr bwMode="auto">
          <a:xfrm>
            <a:off x="6048375" y="1192213"/>
            <a:ext cx="1068388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>
              <a:spcBef>
                <a:spcPct val="0"/>
              </a:spcBef>
              <a:buFontTx/>
              <a:buNone/>
            </a:pPr>
            <a:r>
              <a:rPr lang="en-GB" sz="1000" b="1">
                <a:solidFill>
                  <a:srgbClr val="FFFF00"/>
                </a:solidFill>
              </a:rPr>
              <a:t>Surrogate marker</a:t>
            </a:r>
            <a:endParaRPr lang="en-GB">
              <a:solidFill>
                <a:srgbClr val="FFFF00"/>
              </a:solidFill>
            </a:endParaRPr>
          </a:p>
        </p:txBody>
      </p:sp>
      <p:sp>
        <p:nvSpPr>
          <p:cNvPr id="203784" name="Rectangle 9"/>
          <p:cNvSpPr>
            <a:spLocks noChangeArrowheads="1"/>
          </p:cNvSpPr>
          <p:nvPr/>
        </p:nvSpPr>
        <p:spPr bwMode="auto">
          <a:xfrm>
            <a:off x="3908425" y="5162550"/>
            <a:ext cx="914400" cy="419100"/>
          </a:xfrm>
          <a:prstGeom prst="rect">
            <a:avLst/>
          </a:prstGeom>
          <a:solidFill>
            <a:srgbClr val="000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FontTx/>
              <a:buNone/>
            </a:pPr>
            <a:endParaRPr lang="en-GB">
              <a:solidFill>
                <a:srgbClr val="FFFF00"/>
              </a:solidFill>
            </a:endParaRPr>
          </a:p>
        </p:txBody>
      </p:sp>
      <p:sp>
        <p:nvSpPr>
          <p:cNvPr id="203785" name="Rectangle 10"/>
          <p:cNvSpPr>
            <a:spLocks noChangeArrowheads="1"/>
          </p:cNvSpPr>
          <p:nvPr/>
        </p:nvSpPr>
        <p:spPr bwMode="auto">
          <a:xfrm>
            <a:off x="3908425" y="5162550"/>
            <a:ext cx="914400" cy="419100"/>
          </a:xfrm>
          <a:prstGeom prst="rect">
            <a:avLst/>
          </a:prstGeom>
          <a:noFill/>
          <a:ln w="23813">
            <a:solidFill>
              <a:srgbClr val="3333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>
              <a:buFontTx/>
              <a:buNone/>
            </a:pPr>
            <a:endParaRPr lang="en-GB">
              <a:solidFill>
                <a:srgbClr val="FFFF00"/>
              </a:solidFill>
            </a:endParaRPr>
          </a:p>
        </p:txBody>
      </p:sp>
      <p:sp>
        <p:nvSpPr>
          <p:cNvPr id="203786" name="Rectangle 11"/>
          <p:cNvSpPr>
            <a:spLocks noChangeArrowheads="1"/>
          </p:cNvSpPr>
          <p:nvPr/>
        </p:nvSpPr>
        <p:spPr bwMode="auto">
          <a:xfrm>
            <a:off x="3063875" y="5216525"/>
            <a:ext cx="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>
              <a:spcBef>
                <a:spcPct val="0"/>
              </a:spcBef>
              <a:buFontTx/>
              <a:buNone/>
            </a:pPr>
            <a:endParaRPr lang="en-GB">
              <a:solidFill>
                <a:srgbClr val="FFFF00"/>
              </a:solidFill>
            </a:endParaRPr>
          </a:p>
        </p:txBody>
      </p:sp>
      <p:sp>
        <p:nvSpPr>
          <p:cNvPr id="203787" name="Rectangle 12"/>
          <p:cNvSpPr>
            <a:spLocks noChangeArrowheads="1"/>
          </p:cNvSpPr>
          <p:nvPr/>
        </p:nvSpPr>
        <p:spPr bwMode="auto">
          <a:xfrm>
            <a:off x="4700588" y="4583113"/>
            <a:ext cx="596900" cy="427037"/>
          </a:xfrm>
          <a:prstGeom prst="rect">
            <a:avLst/>
          </a:prstGeom>
          <a:solidFill>
            <a:srgbClr val="000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FontTx/>
              <a:buNone/>
            </a:pPr>
            <a:endParaRPr lang="en-GB">
              <a:solidFill>
                <a:srgbClr val="FFFF00"/>
              </a:solidFill>
            </a:endParaRPr>
          </a:p>
        </p:txBody>
      </p:sp>
      <p:sp>
        <p:nvSpPr>
          <p:cNvPr id="203788" name="Rectangle 13"/>
          <p:cNvSpPr>
            <a:spLocks noChangeArrowheads="1"/>
          </p:cNvSpPr>
          <p:nvPr/>
        </p:nvSpPr>
        <p:spPr bwMode="auto">
          <a:xfrm>
            <a:off x="4700588" y="4583113"/>
            <a:ext cx="596900" cy="427037"/>
          </a:xfrm>
          <a:prstGeom prst="rect">
            <a:avLst/>
          </a:prstGeom>
          <a:noFill/>
          <a:ln w="23813">
            <a:solidFill>
              <a:srgbClr val="3333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>
              <a:buFontTx/>
              <a:buNone/>
            </a:pPr>
            <a:endParaRPr lang="en-GB">
              <a:solidFill>
                <a:srgbClr val="FFFF00"/>
              </a:solidFill>
            </a:endParaRPr>
          </a:p>
        </p:txBody>
      </p:sp>
      <p:sp>
        <p:nvSpPr>
          <p:cNvPr id="203789" name="Rectangle 14"/>
          <p:cNvSpPr>
            <a:spLocks noChangeArrowheads="1"/>
          </p:cNvSpPr>
          <p:nvPr/>
        </p:nvSpPr>
        <p:spPr bwMode="auto">
          <a:xfrm>
            <a:off x="4810125" y="4656138"/>
            <a:ext cx="392113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>
              <a:spcBef>
                <a:spcPct val="0"/>
              </a:spcBef>
              <a:buFontTx/>
              <a:buNone/>
            </a:pPr>
            <a:r>
              <a:rPr lang="en-GB" sz="1000" b="1">
                <a:solidFill>
                  <a:srgbClr val="FFFF00"/>
                </a:solidFill>
              </a:rPr>
              <a:t>PK/PD</a:t>
            </a:r>
            <a:endParaRPr lang="en-GB">
              <a:solidFill>
                <a:srgbClr val="FFFF00"/>
              </a:solidFill>
            </a:endParaRPr>
          </a:p>
        </p:txBody>
      </p:sp>
      <p:sp>
        <p:nvSpPr>
          <p:cNvPr id="203790" name="Rectangle 15"/>
          <p:cNvSpPr>
            <a:spLocks noChangeArrowheads="1"/>
          </p:cNvSpPr>
          <p:nvPr/>
        </p:nvSpPr>
        <p:spPr bwMode="auto">
          <a:xfrm>
            <a:off x="4816475" y="4808538"/>
            <a:ext cx="369888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>
              <a:spcBef>
                <a:spcPct val="0"/>
              </a:spcBef>
              <a:buFontTx/>
              <a:buNone/>
            </a:pPr>
            <a:r>
              <a:rPr lang="en-GB" sz="1000" b="1">
                <a:solidFill>
                  <a:srgbClr val="FFFF00"/>
                </a:solidFill>
              </a:rPr>
              <a:t>Model</a:t>
            </a:r>
            <a:endParaRPr lang="en-GB">
              <a:solidFill>
                <a:srgbClr val="FFFF00"/>
              </a:solidFill>
            </a:endParaRPr>
          </a:p>
        </p:txBody>
      </p:sp>
      <p:sp>
        <p:nvSpPr>
          <p:cNvPr id="203791" name="Rectangle 16"/>
          <p:cNvSpPr>
            <a:spLocks noChangeArrowheads="1"/>
          </p:cNvSpPr>
          <p:nvPr/>
        </p:nvSpPr>
        <p:spPr bwMode="auto">
          <a:xfrm>
            <a:off x="5091113" y="4011613"/>
            <a:ext cx="833437" cy="419100"/>
          </a:xfrm>
          <a:prstGeom prst="rect">
            <a:avLst/>
          </a:prstGeom>
          <a:solidFill>
            <a:srgbClr val="000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FontTx/>
              <a:buNone/>
            </a:pPr>
            <a:endParaRPr lang="en-GB">
              <a:solidFill>
                <a:srgbClr val="FFFF00"/>
              </a:solidFill>
            </a:endParaRPr>
          </a:p>
        </p:txBody>
      </p:sp>
      <p:sp>
        <p:nvSpPr>
          <p:cNvPr id="203792" name="Rectangle 17"/>
          <p:cNvSpPr>
            <a:spLocks noChangeArrowheads="1"/>
          </p:cNvSpPr>
          <p:nvPr/>
        </p:nvSpPr>
        <p:spPr bwMode="auto">
          <a:xfrm>
            <a:off x="5091113" y="4011613"/>
            <a:ext cx="833437" cy="419100"/>
          </a:xfrm>
          <a:prstGeom prst="rect">
            <a:avLst/>
          </a:prstGeom>
          <a:noFill/>
          <a:ln w="23813">
            <a:solidFill>
              <a:srgbClr val="3333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>
              <a:buFontTx/>
              <a:buNone/>
            </a:pPr>
            <a:endParaRPr lang="en-GB">
              <a:solidFill>
                <a:srgbClr val="FFFF00"/>
              </a:solidFill>
            </a:endParaRPr>
          </a:p>
        </p:txBody>
      </p:sp>
      <p:sp>
        <p:nvSpPr>
          <p:cNvPr id="203793" name="Rectangle 18"/>
          <p:cNvSpPr>
            <a:spLocks noChangeArrowheads="1"/>
          </p:cNvSpPr>
          <p:nvPr/>
        </p:nvSpPr>
        <p:spPr bwMode="auto">
          <a:xfrm>
            <a:off x="5200650" y="4078288"/>
            <a:ext cx="6381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>
              <a:spcBef>
                <a:spcPct val="0"/>
              </a:spcBef>
              <a:buFontTx/>
              <a:buNone/>
            </a:pPr>
            <a:r>
              <a:rPr lang="en-GB" sz="1000" b="1">
                <a:solidFill>
                  <a:srgbClr val="FFFF00"/>
                </a:solidFill>
              </a:rPr>
              <a:t>     CNS </a:t>
            </a:r>
          </a:p>
          <a:p>
            <a:pPr algn="l">
              <a:spcBef>
                <a:spcPct val="0"/>
              </a:spcBef>
              <a:buFontTx/>
              <a:buNone/>
            </a:pPr>
            <a:r>
              <a:rPr lang="en-GB" sz="1000" b="1">
                <a:solidFill>
                  <a:srgbClr val="FFFF00"/>
                </a:solidFill>
              </a:rPr>
              <a:t>PD marker</a:t>
            </a:r>
            <a:endParaRPr lang="en-GB">
              <a:solidFill>
                <a:srgbClr val="FFFF00"/>
              </a:solidFill>
            </a:endParaRPr>
          </a:p>
        </p:txBody>
      </p:sp>
      <p:sp>
        <p:nvSpPr>
          <p:cNvPr id="203794" name="Rectangle 19"/>
          <p:cNvSpPr>
            <a:spLocks noChangeArrowheads="1"/>
          </p:cNvSpPr>
          <p:nvPr/>
        </p:nvSpPr>
        <p:spPr bwMode="auto">
          <a:xfrm>
            <a:off x="3384550" y="5746750"/>
            <a:ext cx="742950" cy="420688"/>
          </a:xfrm>
          <a:prstGeom prst="rect">
            <a:avLst/>
          </a:prstGeom>
          <a:solidFill>
            <a:srgbClr val="000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FontTx/>
              <a:buNone/>
            </a:pPr>
            <a:endParaRPr lang="en-GB">
              <a:solidFill>
                <a:srgbClr val="FFFF00"/>
              </a:solidFill>
            </a:endParaRPr>
          </a:p>
        </p:txBody>
      </p:sp>
      <p:sp>
        <p:nvSpPr>
          <p:cNvPr id="203795" name="Rectangle 20"/>
          <p:cNvSpPr>
            <a:spLocks noChangeArrowheads="1"/>
          </p:cNvSpPr>
          <p:nvPr/>
        </p:nvSpPr>
        <p:spPr bwMode="auto">
          <a:xfrm>
            <a:off x="3487738" y="5886450"/>
            <a:ext cx="541337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>
              <a:spcBef>
                <a:spcPct val="0"/>
              </a:spcBef>
              <a:buFontTx/>
              <a:buNone/>
            </a:pPr>
            <a:r>
              <a:rPr lang="en-GB" sz="1000" b="1">
                <a:solidFill>
                  <a:srgbClr val="FFFF00"/>
                </a:solidFill>
              </a:rPr>
              <a:t>CNS Pen</a:t>
            </a:r>
            <a:endParaRPr lang="en-GB">
              <a:solidFill>
                <a:srgbClr val="FFFF00"/>
              </a:solidFill>
            </a:endParaRPr>
          </a:p>
        </p:txBody>
      </p:sp>
      <p:sp>
        <p:nvSpPr>
          <p:cNvPr id="203796" name="Freeform 21"/>
          <p:cNvSpPr>
            <a:spLocks/>
          </p:cNvSpPr>
          <p:nvPr/>
        </p:nvSpPr>
        <p:spPr bwMode="auto">
          <a:xfrm>
            <a:off x="3756025" y="5594350"/>
            <a:ext cx="609600" cy="139700"/>
          </a:xfrm>
          <a:custGeom>
            <a:avLst/>
            <a:gdLst>
              <a:gd name="T0" fmla="*/ 0 w 384"/>
              <a:gd name="T1" fmla="*/ 2147483647 h 88"/>
              <a:gd name="T2" fmla="*/ 0 w 384"/>
              <a:gd name="T3" fmla="*/ 2147483647 h 88"/>
              <a:gd name="T4" fmla="*/ 2147483647 w 384"/>
              <a:gd name="T5" fmla="*/ 2147483647 h 88"/>
              <a:gd name="T6" fmla="*/ 2147483647 w 384"/>
              <a:gd name="T7" fmla="*/ 0 h 88"/>
              <a:gd name="T8" fmla="*/ 0 60000 65536"/>
              <a:gd name="T9" fmla="*/ 0 60000 65536"/>
              <a:gd name="T10" fmla="*/ 0 60000 65536"/>
              <a:gd name="T11" fmla="*/ 0 60000 65536"/>
              <a:gd name="T12" fmla="*/ 0 w 384"/>
              <a:gd name="T13" fmla="*/ 0 h 88"/>
              <a:gd name="T14" fmla="*/ 384 w 384"/>
              <a:gd name="T15" fmla="*/ 88 h 8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84" h="88">
                <a:moveTo>
                  <a:pt x="0" y="88"/>
                </a:moveTo>
                <a:lnTo>
                  <a:pt x="0" y="46"/>
                </a:lnTo>
                <a:lnTo>
                  <a:pt x="384" y="46"/>
                </a:lnTo>
                <a:lnTo>
                  <a:pt x="384" y="0"/>
                </a:lnTo>
              </a:path>
            </a:pathLst>
          </a:custGeom>
          <a:noFill/>
          <a:ln w="23813">
            <a:solidFill>
              <a:srgbClr val="3399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3797" name="Freeform 22"/>
          <p:cNvSpPr>
            <a:spLocks/>
          </p:cNvSpPr>
          <p:nvPr/>
        </p:nvSpPr>
        <p:spPr bwMode="auto">
          <a:xfrm>
            <a:off x="4365625" y="5021263"/>
            <a:ext cx="633413" cy="128587"/>
          </a:xfrm>
          <a:custGeom>
            <a:avLst/>
            <a:gdLst>
              <a:gd name="T0" fmla="*/ 0 w 399"/>
              <a:gd name="T1" fmla="*/ 2147483647 h 81"/>
              <a:gd name="T2" fmla="*/ 0 w 399"/>
              <a:gd name="T3" fmla="*/ 2147483647 h 81"/>
              <a:gd name="T4" fmla="*/ 2147483647 w 399"/>
              <a:gd name="T5" fmla="*/ 2147483647 h 81"/>
              <a:gd name="T6" fmla="*/ 2147483647 w 399"/>
              <a:gd name="T7" fmla="*/ 0 h 81"/>
              <a:gd name="T8" fmla="*/ 0 60000 65536"/>
              <a:gd name="T9" fmla="*/ 0 60000 65536"/>
              <a:gd name="T10" fmla="*/ 0 60000 65536"/>
              <a:gd name="T11" fmla="*/ 0 60000 65536"/>
              <a:gd name="T12" fmla="*/ 0 w 399"/>
              <a:gd name="T13" fmla="*/ 0 h 81"/>
              <a:gd name="T14" fmla="*/ 399 w 399"/>
              <a:gd name="T15" fmla="*/ 81 h 8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99" h="81">
                <a:moveTo>
                  <a:pt x="0" y="81"/>
                </a:moveTo>
                <a:lnTo>
                  <a:pt x="0" y="39"/>
                </a:lnTo>
                <a:lnTo>
                  <a:pt x="399" y="39"/>
                </a:lnTo>
                <a:lnTo>
                  <a:pt x="399" y="0"/>
                </a:lnTo>
              </a:path>
            </a:pathLst>
          </a:custGeom>
          <a:noFill/>
          <a:ln w="23813">
            <a:solidFill>
              <a:srgbClr val="3399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3798" name="Freeform 23"/>
          <p:cNvSpPr>
            <a:spLocks/>
          </p:cNvSpPr>
          <p:nvPr/>
        </p:nvSpPr>
        <p:spPr bwMode="auto">
          <a:xfrm>
            <a:off x="4999038" y="4443413"/>
            <a:ext cx="511175" cy="128587"/>
          </a:xfrm>
          <a:custGeom>
            <a:avLst/>
            <a:gdLst>
              <a:gd name="T0" fmla="*/ 0 w 322"/>
              <a:gd name="T1" fmla="*/ 2147483647 h 81"/>
              <a:gd name="T2" fmla="*/ 0 w 322"/>
              <a:gd name="T3" fmla="*/ 2147483647 h 81"/>
              <a:gd name="T4" fmla="*/ 2147483647 w 322"/>
              <a:gd name="T5" fmla="*/ 2147483647 h 81"/>
              <a:gd name="T6" fmla="*/ 2147483647 w 322"/>
              <a:gd name="T7" fmla="*/ 0 h 81"/>
              <a:gd name="T8" fmla="*/ 0 60000 65536"/>
              <a:gd name="T9" fmla="*/ 0 60000 65536"/>
              <a:gd name="T10" fmla="*/ 0 60000 65536"/>
              <a:gd name="T11" fmla="*/ 0 60000 65536"/>
              <a:gd name="T12" fmla="*/ 0 w 322"/>
              <a:gd name="T13" fmla="*/ 0 h 81"/>
              <a:gd name="T14" fmla="*/ 322 w 322"/>
              <a:gd name="T15" fmla="*/ 81 h 8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22" h="81">
                <a:moveTo>
                  <a:pt x="0" y="81"/>
                </a:moveTo>
                <a:lnTo>
                  <a:pt x="0" y="42"/>
                </a:lnTo>
                <a:lnTo>
                  <a:pt x="322" y="42"/>
                </a:lnTo>
                <a:lnTo>
                  <a:pt x="322" y="0"/>
                </a:lnTo>
              </a:path>
            </a:pathLst>
          </a:custGeom>
          <a:noFill/>
          <a:ln w="23813">
            <a:solidFill>
              <a:srgbClr val="3399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3799" name="Freeform 24"/>
          <p:cNvSpPr>
            <a:spLocks/>
          </p:cNvSpPr>
          <p:nvPr/>
        </p:nvSpPr>
        <p:spPr bwMode="auto">
          <a:xfrm>
            <a:off x="5399088" y="1263650"/>
            <a:ext cx="504825" cy="215900"/>
          </a:xfrm>
          <a:custGeom>
            <a:avLst/>
            <a:gdLst>
              <a:gd name="T0" fmla="*/ 0 w 434"/>
              <a:gd name="T1" fmla="*/ 2147483647 h 126"/>
              <a:gd name="T2" fmla="*/ 0 w 434"/>
              <a:gd name="T3" fmla="*/ 2147483647 h 126"/>
              <a:gd name="T4" fmla="*/ 2147483647 w 434"/>
              <a:gd name="T5" fmla="*/ 2147483647 h 126"/>
              <a:gd name="T6" fmla="*/ 2147483647 w 434"/>
              <a:gd name="T7" fmla="*/ 0 h 126"/>
              <a:gd name="T8" fmla="*/ 0 60000 65536"/>
              <a:gd name="T9" fmla="*/ 0 60000 65536"/>
              <a:gd name="T10" fmla="*/ 0 60000 65536"/>
              <a:gd name="T11" fmla="*/ 0 60000 65536"/>
              <a:gd name="T12" fmla="*/ 0 w 434"/>
              <a:gd name="T13" fmla="*/ 0 h 126"/>
              <a:gd name="T14" fmla="*/ 434 w 434"/>
              <a:gd name="T15" fmla="*/ 126 h 12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34" h="126">
                <a:moveTo>
                  <a:pt x="0" y="126"/>
                </a:moveTo>
                <a:lnTo>
                  <a:pt x="0" y="65"/>
                </a:lnTo>
                <a:lnTo>
                  <a:pt x="434" y="65"/>
                </a:lnTo>
                <a:lnTo>
                  <a:pt x="434" y="0"/>
                </a:lnTo>
              </a:path>
            </a:pathLst>
          </a:custGeom>
          <a:noFill/>
          <a:ln w="23813">
            <a:solidFill>
              <a:srgbClr val="3399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3800" name="Freeform 25"/>
          <p:cNvSpPr>
            <a:spLocks noEditPoints="1"/>
          </p:cNvSpPr>
          <p:nvPr/>
        </p:nvSpPr>
        <p:spPr bwMode="auto">
          <a:xfrm>
            <a:off x="1504950" y="958850"/>
            <a:ext cx="169863" cy="5251450"/>
          </a:xfrm>
          <a:custGeom>
            <a:avLst/>
            <a:gdLst>
              <a:gd name="T0" fmla="*/ 2147483647 w 107"/>
              <a:gd name="T1" fmla="*/ 2147483647 h 3308"/>
              <a:gd name="T2" fmla="*/ 2147483647 w 107"/>
              <a:gd name="T3" fmla="*/ 2147483647 h 3308"/>
              <a:gd name="T4" fmla="*/ 2147483647 w 107"/>
              <a:gd name="T5" fmla="*/ 2147483647 h 3308"/>
              <a:gd name="T6" fmla="*/ 2147483647 w 107"/>
              <a:gd name="T7" fmla="*/ 2147483647 h 3308"/>
              <a:gd name="T8" fmla="*/ 2147483647 w 107"/>
              <a:gd name="T9" fmla="*/ 2147483647 h 3308"/>
              <a:gd name="T10" fmla="*/ 0 w 107"/>
              <a:gd name="T11" fmla="*/ 2147483647 h 3308"/>
              <a:gd name="T12" fmla="*/ 2147483647 w 107"/>
              <a:gd name="T13" fmla="*/ 0 h 3308"/>
              <a:gd name="T14" fmla="*/ 2147483647 w 107"/>
              <a:gd name="T15" fmla="*/ 2147483647 h 3308"/>
              <a:gd name="T16" fmla="*/ 2147483647 w 107"/>
              <a:gd name="T17" fmla="*/ 2147483647 h 3308"/>
              <a:gd name="T18" fmla="*/ 2147483647 w 107"/>
              <a:gd name="T19" fmla="*/ 2147483647 h 3308"/>
              <a:gd name="T20" fmla="*/ 2147483647 w 107"/>
              <a:gd name="T21" fmla="*/ 2147483647 h 3308"/>
              <a:gd name="T22" fmla="*/ 2147483647 w 107"/>
              <a:gd name="T23" fmla="*/ 2147483647 h 3308"/>
              <a:gd name="T24" fmla="*/ 2147483647 w 107"/>
              <a:gd name="T25" fmla="*/ 2147483647 h 3308"/>
              <a:gd name="T26" fmla="*/ 2147483647 w 107"/>
              <a:gd name="T27" fmla="*/ 2147483647 h 3308"/>
              <a:gd name="T28" fmla="*/ 2147483647 w 107"/>
              <a:gd name="T29" fmla="*/ 2147483647 h 3308"/>
              <a:gd name="T30" fmla="*/ 2147483647 w 107"/>
              <a:gd name="T31" fmla="*/ 2147483647 h 3308"/>
              <a:gd name="T32" fmla="*/ 2147483647 w 107"/>
              <a:gd name="T33" fmla="*/ 2147483647 h 3308"/>
              <a:gd name="T34" fmla="*/ 2147483647 w 107"/>
              <a:gd name="T35" fmla="*/ 2147483647 h 3308"/>
              <a:gd name="T36" fmla="*/ 2147483647 w 107"/>
              <a:gd name="T37" fmla="*/ 2147483647 h 3308"/>
              <a:gd name="T38" fmla="*/ 2147483647 w 107"/>
              <a:gd name="T39" fmla="*/ 2147483647 h 3308"/>
              <a:gd name="T40" fmla="*/ 2147483647 w 107"/>
              <a:gd name="T41" fmla="*/ 2147483647 h 3308"/>
              <a:gd name="T42" fmla="*/ 2147483647 w 107"/>
              <a:gd name="T43" fmla="*/ 2147483647 h 3308"/>
              <a:gd name="T44" fmla="*/ 2147483647 w 107"/>
              <a:gd name="T45" fmla="*/ 2147483647 h 3308"/>
              <a:gd name="T46" fmla="*/ 0 w 107"/>
              <a:gd name="T47" fmla="*/ 2147483647 h 3308"/>
              <a:gd name="T48" fmla="*/ 0 w 107"/>
              <a:gd name="T49" fmla="*/ 2147483647 h 3308"/>
              <a:gd name="T50" fmla="*/ 0 w 107"/>
              <a:gd name="T51" fmla="*/ 2147483647 h 3308"/>
              <a:gd name="T52" fmla="*/ 0 w 107"/>
              <a:gd name="T53" fmla="*/ 2147483647 h 3308"/>
              <a:gd name="T54" fmla="*/ 0 w 107"/>
              <a:gd name="T55" fmla="*/ 2147483647 h 3308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107"/>
              <a:gd name="T85" fmla="*/ 0 h 3308"/>
              <a:gd name="T86" fmla="*/ 107 w 107"/>
              <a:gd name="T87" fmla="*/ 3308 h 3308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107" h="3308">
                <a:moveTo>
                  <a:pt x="61" y="20"/>
                </a:moveTo>
                <a:lnTo>
                  <a:pt x="61" y="3308"/>
                </a:lnTo>
                <a:lnTo>
                  <a:pt x="46" y="3308"/>
                </a:lnTo>
                <a:lnTo>
                  <a:pt x="46" y="20"/>
                </a:lnTo>
                <a:lnTo>
                  <a:pt x="61" y="20"/>
                </a:lnTo>
                <a:close/>
                <a:moveTo>
                  <a:pt x="0" y="92"/>
                </a:moveTo>
                <a:lnTo>
                  <a:pt x="54" y="0"/>
                </a:lnTo>
                <a:lnTo>
                  <a:pt x="107" y="92"/>
                </a:lnTo>
                <a:lnTo>
                  <a:pt x="107" y="96"/>
                </a:lnTo>
                <a:lnTo>
                  <a:pt x="107" y="100"/>
                </a:lnTo>
                <a:lnTo>
                  <a:pt x="107" y="104"/>
                </a:lnTo>
                <a:lnTo>
                  <a:pt x="104" y="108"/>
                </a:lnTo>
                <a:lnTo>
                  <a:pt x="100" y="108"/>
                </a:lnTo>
                <a:lnTo>
                  <a:pt x="96" y="108"/>
                </a:lnTo>
                <a:lnTo>
                  <a:pt x="92" y="104"/>
                </a:lnTo>
                <a:lnTo>
                  <a:pt x="46" y="23"/>
                </a:lnTo>
                <a:lnTo>
                  <a:pt x="61" y="23"/>
                </a:lnTo>
                <a:lnTo>
                  <a:pt x="15" y="104"/>
                </a:lnTo>
                <a:lnTo>
                  <a:pt x="11" y="108"/>
                </a:lnTo>
                <a:lnTo>
                  <a:pt x="8" y="108"/>
                </a:lnTo>
                <a:lnTo>
                  <a:pt x="4" y="108"/>
                </a:lnTo>
                <a:lnTo>
                  <a:pt x="0" y="104"/>
                </a:lnTo>
                <a:lnTo>
                  <a:pt x="0" y="100"/>
                </a:lnTo>
                <a:lnTo>
                  <a:pt x="0" y="96"/>
                </a:lnTo>
                <a:lnTo>
                  <a:pt x="0" y="92"/>
                </a:lnTo>
                <a:close/>
              </a:path>
            </a:pathLst>
          </a:custGeom>
          <a:solidFill>
            <a:srgbClr val="000000"/>
          </a:solidFill>
          <a:ln w="6350">
            <a:solidFill>
              <a:srgbClr val="FFCC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3801" name="Rectangle 26"/>
          <p:cNvSpPr>
            <a:spLocks noChangeArrowheads="1"/>
          </p:cNvSpPr>
          <p:nvPr/>
        </p:nvSpPr>
        <p:spPr bwMode="auto">
          <a:xfrm>
            <a:off x="250825" y="260350"/>
            <a:ext cx="6265863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l">
              <a:spcBef>
                <a:spcPct val="0"/>
              </a:spcBef>
              <a:buFontTx/>
              <a:buNone/>
            </a:pPr>
            <a:r>
              <a:rPr lang="en-GB" b="1">
                <a:solidFill>
                  <a:srgbClr val="002060"/>
                </a:solidFill>
              </a:rPr>
              <a:t>Confidence Tree</a:t>
            </a:r>
          </a:p>
        </p:txBody>
      </p:sp>
      <p:sp>
        <p:nvSpPr>
          <p:cNvPr id="203802" name="Rectangle 27"/>
          <p:cNvSpPr>
            <a:spLocks noChangeArrowheads="1"/>
          </p:cNvSpPr>
          <p:nvPr/>
        </p:nvSpPr>
        <p:spPr bwMode="auto">
          <a:xfrm>
            <a:off x="1389063" y="6070600"/>
            <a:ext cx="200025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>
              <a:spcBef>
                <a:spcPct val="0"/>
              </a:spcBef>
              <a:buFontTx/>
              <a:buNone/>
            </a:pPr>
            <a:r>
              <a:rPr lang="en-GB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03803" name="Rectangle 28"/>
          <p:cNvSpPr>
            <a:spLocks noChangeArrowheads="1"/>
          </p:cNvSpPr>
          <p:nvPr/>
        </p:nvSpPr>
        <p:spPr bwMode="auto">
          <a:xfrm rot="-5400000">
            <a:off x="-1357312" y="3535363"/>
            <a:ext cx="45212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>
              <a:spcBef>
                <a:spcPct val="0"/>
              </a:spcBef>
              <a:buFontTx/>
              <a:buNone/>
            </a:pPr>
            <a:r>
              <a:rPr lang="en-GB" sz="2400">
                <a:solidFill>
                  <a:srgbClr val="000000"/>
                </a:solidFill>
              </a:rPr>
              <a:t>Confidence in POC interpretation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203804" name="Line 31"/>
          <p:cNvSpPr>
            <a:spLocks noChangeShapeType="1"/>
          </p:cNvSpPr>
          <p:nvPr/>
        </p:nvSpPr>
        <p:spPr bwMode="auto">
          <a:xfrm>
            <a:off x="1582738" y="3711575"/>
            <a:ext cx="6480175" cy="0"/>
          </a:xfrm>
          <a:prstGeom prst="line">
            <a:avLst/>
          </a:prstGeom>
          <a:noFill/>
          <a:ln w="38100">
            <a:solidFill>
              <a:srgbClr val="FFCC00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3805" name="Rectangle 32"/>
          <p:cNvSpPr>
            <a:spLocks noChangeArrowheads="1"/>
          </p:cNvSpPr>
          <p:nvPr/>
        </p:nvSpPr>
        <p:spPr bwMode="auto">
          <a:xfrm>
            <a:off x="3992563" y="5237163"/>
            <a:ext cx="7921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en-GB" sz="1000" b="1">
                <a:solidFill>
                  <a:srgbClr val="FFFF00"/>
                </a:solidFill>
              </a:rPr>
              <a:t>PET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GB" sz="1000" b="1">
                <a:solidFill>
                  <a:srgbClr val="FFFF00"/>
                </a:solidFill>
              </a:rPr>
              <a:t>BioDist/RO</a:t>
            </a:r>
            <a:endParaRPr lang="en-GB">
              <a:solidFill>
                <a:srgbClr val="FFFF00"/>
              </a:solidFill>
            </a:endParaRPr>
          </a:p>
        </p:txBody>
      </p:sp>
      <p:sp>
        <p:nvSpPr>
          <p:cNvPr id="203806" name="Rectangle 33"/>
          <p:cNvSpPr>
            <a:spLocks noChangeArrowheads="1"/>
          </p:cNvSpPr>
          <p:nvPr/>
        </p:nvSpPr>
        <p:spPr bwMode="auto">
          <a:xfrm>
            <a:off x="3819525" y="2635250"/>
            <a:ext cx="914400" cy="419100"/>
          </a:xfrm>
          <a:prstGeom prst="rect">
            <a:avLst/>
          </a:prstGeom>
          <a:solidFill>
            <a:srgbClr val="000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FontTx/>
              <a:buNone/>
            </a:pPr>
            <a:endParaRPr lang="en-GB">
              <a:solidFill>
                <a:srgbClr val="FFFF00"/>
              </a:solidFill>
            </a:endParaRPr>
          </a:p>
        </p:txBody>
      </p:sp>
      <p:sp>
        <p:nvSpPr>
          <p:cNvPr id="203807" name="Rectangle 34"/>
          <p:cNvSpPr>
            <a:spLocks noChangeArrowheads="1"/>
          </p:cNvSpPr>
          <p:nvPr/>
        </p:nvSpPr>
        <p:spPr bwMode="auto">
          <a:xfrm>
            <a:off x="3819525" y="2635250"/>
            <a:ext cx="914400" cy="419100"/>
          </a:xfrm>
          <a:prstGeom prst="rect">
            <a:avLst/>
          </a:prstGeom>
          <a:noFill/>
          <a:ln w="23813">
            <a:solidFill>
              <a:srgbClr val="3333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>
              <a:buFontTx/>
              <a:buNone/>
            </a:pPr>
            <a:endParaRPr lang="en-GB">
              <a:solidFill>
                <a:srgbClr val="FFFF00"/>
              </a:solidFill>
            </a:endParaRPr>
          </a:p>
        </p:txBody>
      </p:sp>
      <p:sp>
        <p:nvSpPr>
          <p:cNvPr id="203808" name="Rectangle 35"/>
          <p:cNvSpPr>
            <a:spLocks noChangeArrowheads="1"/>
          </p:cNvSpPr>
          <p:nvPr/>
        </p:nvSpPr>
        <p:spPr bwMode="auto">
          <a:xfrm>
            <a:off x="4611688" y="2055813"/>
            <a:ext cx="596900" cy="427037"/>
          </a:xfrm>
          <a:prstGeom prst="rect">
            <a:avLst/>
          </a:prstGeom>
          <a:solidFill>
            <a:srgbClr val="000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FontTx/>
              <a:buNone/>
            </a:pPr>
            <a:endParaRPr lang="en-GB">
              <a:solidFill>
                <a:srgbClr val="FFFF00"/>
              </a:solidFill>
            </a:endParaRPr>
          </a:p>
        </p:txBody>
      </p:sp>
      <p:sp>
        <p:nvSpPr>
          <p:cNvPr id="203809" name="Rectangle 36"/>
          <p:cNvSpPr>
            <a:spLocks noChangeArrowheads="1"/>
          </p:cNvSpPr>
          <p:nvPr/>
        </p:nvSpPr>
        <p:spPr bwMode="auto">
          <a:xfrm>
            <a:off x="4611688" y="2055813"/>
            <a:ext cx="596900" cy="427037"/>
          </a:xfrm>
          <a:prstGeom prst="rect">
            <a:avLst/>
          </a:prstGeom>
          <a:noFill/>
          <a:ln w="23813">
            <a:solidFill>
              <a:srgbClr val="3333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>
              <a:buFontTx/>
              <a:buNone/>
            </a:pPr>
            <a:endParaRPr lang="en-GB">
              <a:solidFill>
                <a:srgbClr val="FFFF00"/>
              </a:solidFill>
            </a:endParaRPr>
          </a:p>
        </p:txBody>
      </p:sp>
      <p:sp>
        <p:nvSpPr>
          <p:cNvPr id="203810" name="Rectangle 37"/>
          <p:cNvSpPr>
            <a:spLocks noChangeArrowheads="1"/>
          </p:cNvSpPr>
          <p:nvPr/>
        </p:nvSpPr>
        <p:spPr bwMode="auto">
          <a:xfrm>
            <a:off x="4721225" y="2128838"/>
            <a:ext cx="392113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>
              <a:spcBef>
                <a:spcPct val="0"/>
              </a:spcBef>
              <a:buFontTx/>
              <a:buNone/>
            </a:pPr>
            <a:r>
              <a:rPr lang="en-GB" sz="1000" b="1">
                <a:solidFill>
                  <a:srgbClr val="FFFF00"/>
                </a:solidFill>
              </a:rPr>
              <a:t>PK/PD</a:t>
            </a:r>
            <a:endParaRPr lang="en-GB">
              <a:solidFill>
                <a:srgbClr val="FFFF00"/>
              </a:solidFill>
            </a:endParaRPr>
          </a:p>
        </p:txBody>
      </p:sp>
      <p:sp>
        <p:nvSpPr>
          <p:cNvPr id="203811" name="Rectangle 38"/>
          <p:cNvSpPr>
            <a:spLocks noChangeArrowheads="1"/>
          </p:cNvSpPr>
          <p:nvPr/>
        </p:nvSpPr>
        <p:spPr bwMode="auto">
          <a:xfrm>
            <a:off x="4727575" y="2281238"/>
            <a:ext cx="369888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>
              <a:spcBef>
                <a:spcPct val="0"/>
              </a:spcBef>
              <a:buFontTx/>
              <a:buNone/>
            </a:pPr>
            <a:r>
              <a:rPr lang="en-GB" sz="1000" b="1">
                <a:solidFill>
                  <a:srgbClr val="FFFF00"/>
                </a:solidFill>
              </a:rPr>
              <a:t>Model</a:t>
            </a:r>
            <a:endParaRPr lang="en-GB">
              <a:solidFill>
                <a:srgbClr val="FFFF00"/>
              </a:solidFill>
            </a:endParaRPr>
          </a:p>
        </p:txBody>
      </p:sp>
      <p:sp>
        <p:nvSpPr>
          <p:cNvPr id="203812" name="Rectangle 39"/>
          <p:cNvSpPr>
            <a:spLocks noChangeArrowheads="1"/>
          </p:cNvSpPr>
          <p:nvPr/>
        </p:nvSpPr>
        <p:spPr bwMode="auto">
          <a:xfrm>
            <a:off x="5002213" y="1484313"/>
            <a:ext cx="833437" cy="419100"/>
          </a:xfrm>
          <a:prstGeom prst="rect">
            <a:avLst/>
          </a:prstGeom>
          <a:solidFill>
            <a:srgbClr val="000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FontTx/>
              <a:buNone/>
            </a:pPr>
            <a:endParaRPr lang="en-GB">
              <a:solidFill>
                <a:srgbClr val="FFFF00"/>
              </a:solidFill>
            </a:endParaRPr>
          </a:p>
        </p:txBody>
      </p:sp>
      <p:sp>
        <p:nvSpPr>
          <p:cNvPr id="203813" name="Rectangle 40"/>
          <p:cNvSpPr>
            <a:spLocks noChangeArrowheads="1"/>
          </p:cNvSpPr>
          <p:nvPr/>
        </p:nvSpPr>
        <p:spPr bwMode="auto">
          <a:xfrm>
            <a:off x="5002213" y="1484313"/>
            <a:ext cx="833437" cy="419100"/>
          </a:xfrm>
          <a:prstGeom prst="rect">
            <a:avLst/>
          </a:prstGeom>
          <a:noFill/>
          <a:ln w="23813">
            <a:solidFill>
              <a:srgbClr val="3333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>
              <a:buFontTx/>
              <a:buNone/>
            </a:pPr>
            <a:endParaRPr lang="en-GB">
              <a:solidFill>
                <a:srgbClr val="FFFF00"/>
              </a:solidFill>
            </a:endParaRPr>
          </a:p>
        </p:txBody>
      </p:sp>
      <p:sp>
        <p:nvSpPr>
          <p:cNvPr id="203814" name="Rectangle 41"/>
          <p:cNvSpPr>
            <a:spLocks noChangeArrowheads="1"/>
          </p:cNvSpPr>
          <p:nvPr/>
        </p:nvSpPr>
        <p:spPr bwMode="auto">
          <a:xfrm>
            <a:off x="5111750" y="1550988"/>
            <a:ext cx="6381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>
              <a:spcBef>
                <a:spcPct val="0"/>
              </a:spcBef>
              <a:buFontTx/>
              <a:buNone/>
            </a:pPr>
            <a:r>
              <a:rPr lang="en-GB" sz="1000" b="1">
                <a:solidFill>
                  <a:srgbClr val="FFFF00"/>
                </a:solidFill>
              </a:rPr>
              <a:t>     CNS </a:t>
            </a:r>
          </a:p>
          <a:p>
            <a:pPr algn="l">
              <a:spcBef>
                <a:spcPct val="0"/>
              </a:spcBef>
              <a:buFontTx/>
              <a:buNone/>
            </a:pPr>
            <a:r>
              <a:rPr lang="en-GB" sz="1000" b="1">
                <a:solidFill>
                  <a:srgbClr val="FFFF00"/>
                </a:solidFill>
              </a:rPr>
              <a:t>PD marker</a:t>
            </a:r>
            <a:endParaRPr lang="en-GB">
              <a:solidFill>
                <a:srgbClr val="FFFF00"/>
              </a:solidFill>
            </a:endParaRPr>
          </a:p>
        </p:txBody>
      </p:sp>
      <p:sp>
        <p:nvSpPr>
          <p:cNvPr id="203815" name="Rectangle 42"/>
          <p:cNvSpPr>
            <a:spLocks noChangeArrowheads="1"/>
          </p:cNvSpPr>
          <p:nvPr/>
        </p:nvSpPr>
        <p:spPr bwMode="auto">
          <a:xfrm>
            <a:off x="3295650" y="3219450"/>
            <a:ext cx="742950" cy="420688"/>
          </a:xfrm>
          <a:prstGeom prst="rect">
            <a:avLst/>
          </a:prstGeom>
          <a:solidFill>
            <a:srgbClr val="000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FontTx/>
              <a:buNone/>
            </a:pPr>
            <a:endParaRPr lang="en-GB">
              <a:solidFill>
                <a:srgbClr val="FFFF00"/>
              </a:solidFill>
            </a:endParaRPr>
          </a:p>
        </p:txBody>
      </p:sp>
      <p:sp>
        <p:nvSpPr>
          <p:cNvPr id="203816" name="Rectangle 43"/>
          <p:cNvSpPr>
            <a:spLocks noChangeArrowheads="1"/>
          </p:cNvSpPr>
          <p:nvPr/>
        </p:nvSpPr>
        <p:spPr bwMode="auto">
          <a:xfrm>
            <a:off x="3398838" y="3359150"/>
            <a:ext cx="541337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>
              <a:spcBef>
                <a:spcPct val="0"/>
              </a:spcBef>
              <a:buFontTx/>
              <a:buNone/>
            </a:pPr>
            <a:r>
              <a:rPr lang="en-GB" sz="1000" b="1">
                <a:solidFill>
                  <a:srgbClr val="FFFF00"/>
                </a:solidFill>
              </a:rPr>
              <a:t>CNS Pen</a:t>
            </a:r>
            <a:endParaRPr lang="en-GB">
              <a:solidFill>
                <a:srgbClr val="FFFF00"/>
              </a:solidFill>
            </a:endParaRPr>
          </a:p>
        </p:txBody>
      </p:sp>
      <p:sp>
        <p:nvSpPr>
          <p:cNvPr id="203817" name="Freeform 44"/>
          <p:cNvSpPr>
            <a:spLocks/>
          </p:cNvSpPr>
          <p:nvPr/>
        </p:nvSpPr>
        <p:spPr bwMode="auto">
          <a:xfrm>
            <a:off x="3667125" y="3067050"/>
            <a:ext cx="609600" cy="139700"/>
          </a:xfrm>
          <a:custGeom>
            <a:avLst/>
            <a:gdLst>
              <a:gd name="T0" fmla="*/ 0 w 384"/>
              <a:gd name="T1" fmla="*/ 2147483647 h 88"/>
              <a:gd name="T2" fmla="*/ 0 w 384"/>
              <a:gd name="T3" fmla="*/ 2147483647 h 88"/>
              <a:gd name="T4" fmla="*/ 2147483647 w 384"/>
              <a:gd name="T5" fmla="*/ 2147483647 h 88"/>
              <a:gd name="T6" fmla="*/ 2147483647 w 384"/>
              <a:gd name="T7" fmla="*/ 0 h 88"/>
              <a:gd name="T8" fmla="*/ 0 60000 65536"/>
              <a:gd name="T9" fmla="*/ 0 60000 65536"/>
              <a:gd name="T10" fmla="*/ 0 60000 65536"/>
              <a:gd name="T11" fmla="*/ 0 60000 65536"/>
              <a:gd name="T12" fmla="*/ 0 w 384"/>
              <a:gd name="T13" fmla="*/ 0 h 88"/>
              <a:gd name="T14" fmla="*/ 384 w 384"/>
              <a:gd name="T15" fmla="*/ 88 h 8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84" h="88">
                <a:moveTo>
                  <a:pt x="0" y="88"/>
                </a:moveTo>
                <a:lnTo>
                  <a:pt x="0" y="46"/>
                </a:lnTo>
                <a:lnTo>
                  <a:pt x="384" y="46"/>
                </a:lnTo>
                <a:lnTo>
                  <a:pt x="384" y="0"/>
                </a:lnTo>
              </a:path>
            </a:pathLst>
          </a:custGeom>
          <a:noFill/>
          <a:ln w="23813">
            <a:solidFill>
              <a:srgbClr val="3399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3818" name="Freeform 45"/>
          <p:cNvSpPr>
            <a:spLocks/>
          </p:cNvSpPr>
          <p:nvPr/>
        </p:nvSpPr>
        <p:spPr bwMode="auto">
          <a:xfrm>
            <a:off x="4276725" y="2493963"/>
            <a:ext cx="633413" cy="128587"/>
          </a:xfrm>
          <a:custGeom>
            <a:avLst/>
            <a:gdLst>
              <a:gd name="T0" fmla="*/ 0 w 399"/>
              <a:gd name="T1" fmla="*/ 2147483647 h 81"/>
              <a:gd name="T2" fmla="*/ 0 w 399"/>
              <a:gd name="T3" fmla="*/ 2147483647 h 81"/>
              <a:gd name="T4" fmla="*/ 2147483647 w 399"/>
              <a:gd name="T5" fmla="*/ 2147483647 h 81"/>
              <a:gd name="T6" fmla="*/ 2147483647 w 399"/>
              <a:gd name="T7" fmla="*/ 0 h 81"/>
              <a:gd name="T8" fmla="*/ 0 60000 65536"/>
              <a:gd name="T9" fmla="*/ 0 60000 65536"/>
              <a:gd name="T10" fmla="*/ 0 60000 65536"/>
              <a:gd name="T11" fmla="*/ 0 60000 65536"/>
              <a:gd name="T12" fmla="*/ 0 w 399"/>
              <a:gd name="T13" fmla="*/ 0 h 81"/>
              <a:gd name="T14" fmla="*/ 399 w 399"/>
              <a:gd name="T15" fmla="*/ 81 h 8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99" h="81">
                <a:moveTo>
                  <a:pt x="0" y="81"/>
                </a:moveTo>
                <a:lnTo>
                  <a:pt x="0" y="39"/>
                </a:lnTo>
                <a:lnTo>
                  <a:pt x="399" y="39"/>
                </a:lnTo>
                <a:lnTo>
                  <a:pt x="399" y="0"/>
                </a:lnTo>
              </a:path>
            </a:pathLst>
          </a:custGeom>
          <a:noFill/>
          <a:ln w="23813">
            <a:solidFill>
              <a:srgbClr val="3399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3819" name="Freeform 46"/>
          <p:cNvSpPr>
            <a:spLocks/>
          </p:cNvSpPr>
          <p:nvPr/>
        </p:nvSpPr>
        <p:spPr bwMode="auto">
          <a:xfrm>
            <a:off x="4910138" y="1916113"/>
            <a:ext cx="511175" cy="128587"/>
          </a:xfrm>
          <a:custGeom>
            <a:avLst/>
            <a:gdLst>
              <a:gd name="T0" fmla="*/ 0 w 322"/>
              <a:gd name="T1" fmla="*/ 2147483647 h 81"/>
              <a:gd name="T2" fmla="*/ 0 w 322"/>
              <a:gd name="T3" fmla="*/ 2147483647 h 81"/>
              <a:gd name="T4" fmla="*/ 2147483647 w 322"/>
              <a:gd name="T5" fmla="*/ 2147483647 h 81"/>
              <a:gd name="T6" fmla="*/ 2147483647 w 322"/>
              <a:gd name="T7" fmla="*/ 0 h 81"/>
              <a:gd name="T8" fmla="*/ 0 60000 65536"/>
              <a:gd name="T9" fmla="*/ 0 60000 65536"/>
              <a:gd name="T10" fmla="*/ 0 60000 65536"/>
              <a:gd name="T11" fmla="*/ 0 60000 65536"/>
              <a:gd name="T12" fmla="*/ 0 w 322"/>
              <a:gd name="T13" fmla="*/ 0 h 81"/>
              <a:gd name="T14" fmla="*/ 322 w 322"/>
              <a:gd name="T15" fmla="*/ 81 h 8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22" h="81">
                <a:moveTo>
                  <a:pt x="0" y="81"/>
                </a:moveTo>
                <a:lnTo>
                  <a:pt x="0" y="42"/>
                </a:lnTo>
                <a:lnTo>
                  <a:pt x="322" y="42"/>
                </a:lnTo>
                <a:lnTo>
                  <a:pt x="322" y="0"/>
                </a:lnTo>
              </a:path>
            </a:pathLst>
          </a:custGeom>
          <a:noFill/>
          <a:ln w="23813">
            <a:solidFill>
              <a:srgbClr val="3399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3820" name="Rectangle 47"/>
          <p:cNvSpPr>
            <a:spLocks noChangeArrowheads="1"/>
          </p:cNvSpPr>
          <p:nvPr/>
        </p:nvSpPr>
        <p:spPr bwMode="auto">
          <a:xfrm>
            <a:off x="3903663" y="2709863"/>
            <a:ext cx="7921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en-GB" sz="1000" b="1">
                <a:solidFill>
                  <a:srgbClr val="FFFF00"/>
                </a:solidFill>
              </a:rPr>
              <a:t>PET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GB" sz="1000" b="1">
                <a:solidFill>
                  <a:srgbClr val="FFFF00"/>
                </a:solidFill>
              </a:rPr>
              <a:t>BioDist/RO</a:t>
            </a:r>
            <a:endParaRPr lang="en-GB">
              <a:solidFill>
                <a:srgbClr val="FFFF00"/>
              </a:solidFill>
            </a:endParaRPr>
          </a:p>
        </p:txBody>
      </p:sp>
      <p:sp>
        <p:nvSpPr>
          <p:cNvPr id="203821" name="Freeform 48"/>
          <p:cNvSpPr>
            <a:spLocks/>
          </p:cNvSpPr>
          <p:nvPr/>
        </p:nvSpPr>
        <p:spPr bwMode="auto">
          <a:xfrm flipV="1">
            <a:off x="3687763" y="3646488"/>
            <a:ext cx="1824037" cy="365125"/>
          </a:xfrm>
          <a:custGeom>
            <a:avLst/>
            <a:gdLst>
              <a:gd name="T0" fmla="*/ 0 w 322"/>
              <a:gd name="T1" fmla="*/ 2147483647 h 81"/>
              <a:gd name="T2" fmla="*/ 0 w 322"/>
              <a:gd name="T3" fmla="*/ 2147483647 h 81"/>
              <a:gd name="T4" fmla="*/ 2147483647 w 322"/>
              <a:gd name="T5" fmla="*/ 2147483647 h 81"/>
              <a:gd name="T6" fmla="*/ 2147483647 w 322"/>
              <a:gd name="T7" fmla="*/ 0 h 81"/>
              <a:gd name="T8" fmla="*/ 0 60000 65536"/>
              <a:gd name="T9" fmla="*/ 0 60000 65536"/>
              <a:gd name="T10" fmla="*/ 0 60000 65536"/>
              <a:gd name="T11" fmla="*/ 0 60000 65536"/>
              <a:gd name="T12" fmla="*/ 0 w 322"/>
              <a:gd name="T13" fmla="*/ 0 h 81"/>
              <a:gd name="T14" fmla="*/ 322 w 322"/>
              <a:gd name="T15" fmla="*/ 81 h 8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22" h="81">
                <a:moveTo>
                  <a:pt x="0" y="81"/>
                </a:moveTo>
                <a:lnTo>
                  <a:pt x="0" y="42"/>
                </a:lnTo>
                <a:lnTo>
                  <a:pt x="322" y="42"/>
                </a:lnTo>
                <a:lnTo>
                  <a:pt x="322" y="0"/>
                </a:lnTo>
              </a:path>
            </a:pathLst>
          </a:custGeom>
          <a:noFill/>
          <a:ln w="23813">
            <a:solidFill>
              <a:srgbClr val="3399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3822" name="Text Box 49"/>
          <p:cNvSpPr txBox="1">
            <a:spLocks noChangeArrowheads="1"/>
          </p:cNvSpPr>
          <p:nvPr/>
        </p:nvSpPr>
        <p:spPr bwMode="auto">
          <a:xfrm>
            <a:off x="6407150" y="3975100"/>
            <a:ext cx="981075" cy="400050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GB" sz="2000">
                <a:solidFill>
                  <a:srgbClr val="000000"/>
                </a:solidFill>
              </a:rPr>
              <a:t>Animal</a:t>
            </a:r>
          </a:p>
        </p:txBody>
      </p:sp>
      <p:sp>
        <p:nvSpPr>
          <p:cNvPr id="203823" name="Text Box 50"/>
          <p:cNvSpPr txBox="1">
            <a:spLocks noChangeArrowheads="1"/>
          </p:cNvSpPr>
          <p:nvPr/>
        </p:nvSpPr>
        <p:spPr bwMode="auto">
          <a:xfrm>
            <a:off x="1727200" y="1670050"/>
            <a:ext cx="1012825" cy="406400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GB" sz="2000">
                <a:solidFill>
                  <a:srgbClr val="000000"/>
                </a:solidFill>
              </a:rPr>
              <a:t>Human</a:t>
            </a:r>
          </a:p>
        </p:txBody>
      </p:sp>
      <p:sp>
        <p:nvSpPr>
          <p:cNvPr id="203824" name="Rectangle 51"/>
          <p:cNvSpPr>
            <a:spLocks noChangeArrowheads="1"/>
          </p:cNvSpPr>
          <p:nvPr/>
        </p:nvSpPr>
        <p:spPr bwMode="auto">
          <a:xfrm>
            <a:off x="11052175" y="1989138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203825" name="Picture 6" descr="MCj04346650000[1]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1412875"/>
            <a:ext cx="569912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3826" name="Picture 6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60350"/>
            <a:ext cx="1690687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3827" name="Line 51"/>
          <p:cNvSpPr>
            <a:spLocks noChangeShapeType="1"/>
          </p:cNvSpPr>
          <p:nvPr/>
        </p:nvSpPr>
        <p:spPr bwMode="auto">
          <a:xfrm>
            <a:off x="0" y="865188"/>
            <a:ext cx="9144000" cy="0"/>
          </a:xfrm>
          <a:prstGeom prst="line">
            <a:avLst/>
          </a:prstGeom>
          <a:noFill/>
          <a:ln w="38100">
            <a:solidFill>
              <a:srgbClr val="00009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  <p:transition spd="slow">
    <p:cover dir="ld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01" name="Title 1"/>
          <p:cNvSpPr txBox="1">
            <a:spLocks/>
          </p:cNvSpPr>
          <p:nvPr/>
        </p:nvSpPr>
        <p:spPr bwMode="auto">
          <a:xfrm>
            <a:off x="420688" y="252413"/>
            <a:ext cx="7543800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GB" sz="2400" b="1">
                <a:solidFill>
                  <a:srgbClr val="16165D"/>
                </a:solidFill>
                <a:cs typeface="Arial" pitchFamily="34" charset="0"/>
              </a:rPr>
              <a:t>The Voltaire Challenge</a:t>
            </a:r>
          </a:p>
        </p:txBody>
      </p:sp>
      <p:sp>
        <p:nvSpPr>
          <p:cNvPr id="204802" name="Content Placeholder 2"/>
          <p:cNvSpPr>
            <a:spLocks noGrp="1"/>
          </p:cNvSpPr>
          <p:nvPr>
            <p:ph idx="1"/>
          </p:nvPr>
        </p:nvSpPr>
        <p:spPr>
          <a:xfrm>
            <a:off x="2392363" y="2217738"/>
            <a:ext cx="6408737" cy="1368425"/>
          </a:xfrm>
        </p:spPr>
        <p:txBody>
          <a:bodyPr/>
          <a:lstStyle/>
          <a:p>
            <a:pPr marL="0" indent="0" eaLnBrk="1" hangingPunct="1">
              <a:buFontTx/>
              <a:buNone/>
            </a:pPr>
            <a:r>
              <a:rPr lang="en-GB" sz="2400" i="1" smtClean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Doctors put drugs of which they know </a:t>
            </a:r>
            <a:r>
              <a:rPr lang="en-GB" sz="2400" i="1" u="sng" smtClean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little</a:t>
            </a:r>
            <a:r>
              <a:rPr lang="en-GB" sz="2400" i="1" smtClean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 </a:t>
            </a:r>
          </a:p>
          <a:p>
            <a:pPr marL="0" indent="0" eaLnBrk="1" hangingPunct="1">
              <a:buFontTx/>
              <a:buNone/>
            </a:pPr>
            <a:r>
              <a:rPr lang="en-GB" sz="2400" i="1" smtClean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into bodies of which they know </a:t>
            </a:r>
            <a:r>
              <a:rPr lang="en-GB" sz="2400" i="1" u="sng" smtClean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less</a:t>
            </a:r>
            <a:r>
              <a:rPr lang="en-GB" sz="2400" i="1" smtClean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 </a:t>
            </a:r>
          </a:p>
          <a:p>
            <a:pPr marL="0" indent="0" eaLnBrk="1" hangingPunct="1">
              <a:buFontTx/>
              <a:buNone/>
            </a:pPr>
            <a:r>
              <a:rPr lang="en-GB" sz="2400" i="1" smtClean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for diseases of which they know </a:t>
            </a:r>
            <a:r>
              <a:rPr lang="en-GB" sz="2400" i="1" u="sng" smtClean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nothing at all</a:t>
            </a:r>
            <a:r>
              <a:rPr lang="en-GB" sz="2400" i="1" smtClean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 </a:t>
            </a:r>
          </a:p>
          <a:p>
            <a:pPr marL="0" indent="0" eaLnBrk="1" hangingPunct="1">
              <a:buFontTx/>
              <a:buNone/>
            </a:pPr>
            <a:endParaRPr lang="en-GB" sz="2400" smtClean="0">
              <a:latin typeface="Verdana" pitchFamily="34" charset="0"/>
              <a:ea typeface="ＭＳ Ｐゴシック" pitchFamily="34" charset="-128"/>
            </a:endParaRPr>
          </a:p>
        </p:txBody>
      </p:sp>
      <p:sp>
        <p:nvSpPr>
          <p:cNvPr id="31" name="Rectangle 18"/>
          <p:cNvSpPr>
            <a:spLocks noChangeArrowheads="1"/>
          </p:cNvSpPr>
          <p:nvPr/>
        </p:nvSpPr>
        <p:spPr bwMode="auto">
          <a:xfrm>
            <a:off x="804863" y="4738688"/>
            <a:ext cx="122555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en-GB" sz="1200" i="1" kern="0">
                <a:solidFill>
                  <a:srgbClr val="002060"/>
                </a:solidFill>
                <a:latin typeface="Calibri"/>
                <a:ea typeface="ＭＳ Ｐゴシック" charset="0"/>
                <a:cs typeface="ＭＳ Ｐゴシック" charset="0"/>
              </a:rPr>
              <a:t>1694-1778</a:t>
            </a:r>
          </a:p>
        </p:txBody>
      </p:sp>
      <p:sp>
        <p:nvSpPr>
          <p:cNvPr id="204804" name="Line 51"/>
          <p:cNvSpPr>
            <a:spLocks noChangeShapeType="1"/>
          </p:cNvSpPr>
          <p:nvPr/>
        </p:nvSpPr>
        <p:spPr bwMode="auto">
          <a:xfrm>
            <a:off x="0" y="1063625"/>
            <a:ext cx="9144000" cy="0"/>
          </a:xfrm>
          <a:prstGeom prst="line">
            <a:avLst/>
          </a:prstGeom>
          <a:noFill/>
          <a:ln w="38100">
            <a:solidFill>
              <a:srgbClr val="16165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204805" name="Picture 6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60350"/>
            <a:ext cx="1690687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34" r="18355"/>
          <a:stretch>
            <a:fillRect/>
          </a:stretch>
        </p:blipFill>
        <p:spPr bwMode="auto">
          <a:xfrm>
            <a:off x="395288" y="1557338"/>
            <a:ext cx="1770062" cy="2987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title"/>
          </p:nvPr>
        </p:nvSpPr>
        <p:spPr>
          <a:xfrm>
            <a:off x="-9525" y="260350"/>
            <a:ext cx="7643813" cy="620713"/>
          </a:xfrm>
          <a:ln>
            <a:miter lim="800000"/>
            <a:headEnd/>
            <a:tailEnd/>
          </a:ln>
        </p:spPr>
        <p:txBody>
          <a:bodyPr rtlCol="0" anchor="t"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sz="2400" b="1" dirty="0" smtClean="0">
                <a:solidFill>
                  <a:srgbClr val="16165D"/>
                </a:solidFill>
                <a:latin typeface="Arial" charset="0"/>
                <a:cs typeface="Arial" charset="0"/>
              </a:rPr>
              <a:t>Make </a:t>
            </a:r>
            <a:r>
              <a:rPr lang="en-US" sz="2400" b="1" dirty="0">
                <a:solidFill>
                  <a:srgbClr val="16165D"/>
                </a:solidFill>
                <a:latin typeface="Arial" charset="0"/>
                <a:cs typeface="Arial" charset="0"/>
              </a:rPr>
              <a:t>Go / No Go Decisions </a:t>
            </a:r>
            <a:r>
              <a:rPr lang="en-US" sz="2400" b="1" dirty="0" smtClean="0">
                <a:solidFill>
                  <a:srgbClr val="16165D"/>
                </a:solidFill>
                <a:latin typeface="Arial" charset="0"/>
                <a:cs typeface="Arial" charset="0"/>
              </a:rPr>
              <a:t>Earlier</a:t>
            </a:r>
            <a:endParaRPr lang="en-US" sz="2400" b="1" dirty="0" smtClean="0">
              <a:solidFill>
                <a:srgbClr val="16165D"/>
              </a:solidFill>
              <a:latin typeface="Arial" pitchFamily="34" charset="0"/>
              <a:ea typeface="+mj-ea"/>
              <a:cs typeface="+mj-cs"/>
            </a:endParaRPr>
          </a:p>
        </p:txBody>
      </p:sp>
      <p:grpSp>
        <p:nvGrpSpPr>
          <p:cNvPr id="205826" name="Group 3"/>
          <p:cNvGrpSpPr>
            <a:grpSpLocks/>
          </p:cNvGrpSpPr>
          <p:nvPr/>
        </p:nvGrpSpPr>
        <p:grpSpPr bwMode="auto">
          <a:xfrm>
            <a:off x="179388" y="1266825"/>
            <a:ext cx="8640762" cy="5114925"/>
            <a:chOff x="113" y="935"/>
            <a:chExt cx="5443" cy="3129"/>
          </a:xfrm>
        </p:grpSpPr>
        <p:sp>
          <p:nvSpPr>
            <p:cNvPr id="205830" name="Rectangle 4"/>
            <p:cNvSpPr>
              <a:spLocks noChangeArrowheads="1"/>
            </p:cNvSpPr>
            <p:nvPr/>
          </p:nvSpPr>
          <p:spPr bwMode="auto">
            <a:xfrm>
              <a:off x="113" y="935"/>
              <a:ext cx="5443" cy="3129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0"/>
                </a:spcBef>
                <a:buFontTx/>
                <a:buNone/>
              </a:pPr>
              <a:endParaRPr lang="en-US">
                <a:solidFill>
                  <a:srgbClr val="FFFF99"/>
                </a:solidFill>
                <a:cs typeface="Arial" pitchFamily="34" charset="0"/>
              </a:endParaRPr>
            </a:p>
          </p:txBody>
        </p:sp>
        <p:sp>
          <p:nvSpPr>
            <p:cNvPr id="205831" name="Text Box 5"/>
            <p:cNvSpPr txBox="1">
              <a:spLocks noChangeArrowheads="1"/>
            </p:cNvSpPr>
            <p:nvPr/>
          </p:nvSpPr>
          <p:spPr bwMode="auto">
            <a:xfrm>
              <a:off x="1488" y="2350"/>
              <a:ext cx="180" cy="1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0"/>
                </a:spcBef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  <a:cs typeface="Arial" pitchFamily="34" charset="0"/>
                </a:rPr>
                <a:t>CS</a:t>
              </a:r>
            </a:p>
          </p:txBody>
        </p:sp>
        <p:sp>
          <p:nvSpPr>
            <p:cNvPr id="205832" name="Text Box 6"/>
            <p:cNvSpPr txBox="1">
              <a:spLocks noChangeArrowheads="1"/>
            </p:cNvSpPr>
            <p:nvPr/>
          </p:nvSpPr>
          <p:spPr bwMode="auto">
            <a:xfrm>
              <a:off x="2142" y="2302"/>
              <a:ext cx="301" cy="1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0"/>
                </a:spcBef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  <a:cs typeface="Arial" pitchFamily="34" charset="0"/>
                </a:rPr>
                <a:t>FTIM</a:t>
              </a:r>
            </a:p>
          </p:txBody>
        </p:sp>
        <p:sp>
          <p:nvSpPr>
            <p:cNvPr id="205833" name="Text Box 7"/>
            <p:cNvSpPr txBox="1">
              <a:spLocks noChangeArrowheads="1"/>
            </p:cNvSpPr>
            <p:nvPr/>
          </p:nvSpPr>
          <p:spPr bwMode="auto">
            <a:xfrm>
              <a:off x="3120" y="1966"/>
              <a:ext cx="280" cy="1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0"/>
                </a:spcBef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  <a:cs typeface="Arial" pitchFamily="34" charset="0"/>
                </a:rPr>
                <a:t>POC</a:t>
              </a:r>
            </a:p>
          </p:txBody>
        </p:sp>
        <p:sp>
          <p:nvSpPr>
            <p:cNvPr id="205834" name="Text Box 8"/>
            <p:cNvSpPr txBox="1">
              <a:spLocks noChangeArrowheads="1"/>
            </p:cNvSpPr>
            <p:nvPr/>
          </p:nvSpPr>
          <p:spPr bwMode="auto">
            <a:xfrm>
              <a:off x="3878" y="1888"/>
              <a:ext cx="599" cy="1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0"/>
                </a:spcBef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  <a:cs typeface="Arial" pitchFamily="34" charset="0"/>
                </a:rPr>
                <a:t>Phase II-II</a:t>
              </a:r>
            </a:p>
          </p:txBody>
        </p:sp>
        <p:sp>
          <p:nvSpPr>
            <p:cNvPr id="205835" name="Text Box 9"/>
            <p:cNvSpPr txBox="1">
              <a:spLocks noChangeArrowheads="1"/>
            </p:cNvSpPr>
            <p:nvPr/>
          </p:nvSpPr>
          <p:spPr bwMode="auto">
            <a:xfrm>
              <a:off x="5037" y="1870"/>
              <a:ext cx="460" cy="1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0"/>
                </a:spcBef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  <a:cs typeface="Arial" pitchFamily="34" charset="0"/>
                </a:rPr>
                <a:t>Launch</a:t>
              </a:r>
            </a:p>
          </p:txBody>
        </p:sp>
        <p:sp>
          <p:nvSpPr>
            <p:cNvPr id="205836" name="Freeform 10"/>
            <p:cNvSpPr>
              <a:spLocks/>
            </p:cNvSpPr>
            <p:nvPr/>
          </p:nvSpPr>
          <p:spPr bwMode="auto">
            <a:xfrm>
              <a:off x="1584" y="1006"/>
              <a:ext cx="672" cy="1296"/>
            </a:xfrm>
            <a:custGeom>
              <a:avLst/>
              <a:gdLst>
                <a:gd name="T0" fmla="*/ 0 w 672"/>
                <a:gd name="T1" fmla="*/ 0 h 1296"/>
                <a:gd name="T2" fmla="*/ 672 w 672"/>
                <a:gd name="T3" fmla="*/ 48 h 1296"/>
                <a:gd name="T4" fmla="*/ 672 w 672"/>
                <a:gd name="T5" fmla="*/ 1248 h 1296"/>
                <a:gd name="T6" fmla="*/ 0 w 672"/>
                <a:gd name="T7" fmla="*/ 1296 h 1296"/>
                <a:gd name="T8" fmla="*/ 0 w 672"/>
                <a:gd name="T9" fmla="*/ 0 h 12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72"/>
                <a:gd name="T16" fmla="*/ 0 h 1296"/>
                <a:gd name="T17" fmla="*/ 672 w 672"/>
                <a:gd name="T18" fmla="*/ 1296 h 129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72" h="1296">
                  <a:moveTo>
                    <a:pt x="0" y="0"/>
                  </a:moveTo>
                  <a:lnTo>
                    <a:pt x="672" y="48"/>
                  </a:lnTo>
                  <a:lnTo>
                    <a:pt x="672" y="1248"/>
                  </a:lnTo>
                  <a:lnTo>
                    <a:pt x="0" y="12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B5"/>
            </a:solidFill>
            <a:ln w="381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/>
            </a:p>
          </p:txBody>
        </p:sp>
        <p:sp>
          <p:nvSpPr>
            <p:cNvPr id="205837" name="Freeform 11"/>
            <p:cNvSpPr>
              <a:spLocks/>
            </p:cNvSpPr>
            <p:nvPr/>
          </p:nvSpPr>
          <p:spPr bwMode="auto">
            <a:xfrm>
              <a:off x="2256" y="1054"/>
              <a:ext cx="960" cy="1200"/>
            </a:xfrm>
            <a:custGeom>
              <a:avLst/>
              <a:gdLst>
                <a:gd name="T0" fmla="*/ 0 w 960"/>
                <a:gd name="T1" fmla="*/ 0 h 1200"/>
                <a:gd name="T2" fmla="*/ 960 w 960"/>
                <a:gd name="T3" fmla="*/ 336 h 1200"/>
                <a:gd name="T4" fmla="*/ 960 w 960"/>
                <a:gd name="T5" fmla="*/ 864 h 1200"/>
                <a:gd name="T6" fmla="*/ 0 w 960"/>
                <a:gd name="T7" fmla="*/ 1200 h 1200"/>
                <a:gd name="T8" fmla="*/ 0 w 960"/>
                <a:gd name="T9" fmla="*/ 0 h 12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0"/>
                <a:gd name="T16" fmla="*/ 0 h 1200"/>
                <a:gd name="T17" fmla="*/ 960 w 960"/>
                <a:gd name="T18" fmla="*/ 1200 h 12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0" h="1200">
                  <a:moveTo>
                    <a:pt x="0" y="0"/>
                  </a:moveTo>
                  <a:lnTo>
                    <a:pt x="960" y="336"/>
                  </a:lnTo>
                  <a:lnTo>
                    <a:pt x="960" y="864"/>
                  </a:lnTo>
                  <a:lnTo>
                    <a:pt x="0" y="12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B5"/>
            </a:solidFill>
            <a:ln w="381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/>
            </a:p>
          </p:txBody>
        </p:sp>
        <p:sp>
          <p:nvSpPr>
            <p:cNvPr id="205838" name="Freeform 12"/>
            <p:cNvSpPr>
              <a:spLocks/>
            </p:cNvSpPr>
            <p:nvPr/>
          </p:nvSpPr>
          <p:spPr bwMode="auto">
            <a:xfrm>
              <a:off x="3216" y="1390"/>
              <a:ext cx="960" cy="528"/>
            </a:xfrm>
            <a:custGeom>
              <a:avLst/>
              <a:gdLst>
                <a:gd name="T0" fmla="*/ 0 w 960"/>
                <a:gd name="T1" fmla="*/ 0 h 528"/>
                <a:gd name="T2" fmla="*/ 960 w 960"/>
                <a:gd name="T3" fmla="*/ 96 h 528"/>
                <a:gd name="T4" fmla="*/ 960 w 960"/>
                <a:gd name="T5" fmla="*/ 432 h 528"/>
                <a:gd name="T6" fmla="*/ 0 w 960"/>
                <a:gd name="T7" fmla="*/ 528 h 528"/>
                <a:gd name="T8" fmla="*/ 0 w 960"/>
                <a:gd name="T9" fmla="*/ 0 h 5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0"/>
                <a:gd name="T16" fmla="*/ 0 h 528"/>
                <a:gd name="T17" fmla="*/ 960 w 960"/>
                <a:gd name="T18" fmla="*/ 528 h 52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0" h="528">
                  <a:moveTo>
                    <a:pt x="0" y="0"/>
                  </a:moveTo>
                  <a:lnTo>
                    <a:pt x="960" y="96"/>
                  </a:lnTo>
                  <a:lnTo>
                    <a:pt x="960" y="432"/>
                  </a:lnTo>
                  <a:lnTo>
                    <a:pt x="0" y="5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B5"/>
            </a:solidFill>
            <a:ln w="381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/>
            </a:p>
          </p:txBody>
        </p:sp>
        <p:sp>
          <p:nvSpPr>
            <p:cNvPr id="205839" name="Freeform 13"/>
            <p:cNvSpPr>
              <a:spLocks/>
            </p:cNvSpPr>
            <p:nvPr/>
          </p:nvSpPr>
          <p:spPr bwMode="auto">
            <a:xfrm>
              <a:off x="4176" y="1486"/>
              <a:ext cx="1104" cy="336"/>
            </a:xfrm>
            <a:custGeom>
              <a:avLst/>
              <a:gdLst>
                <a:gd name="T0" fmla="*/ 0 w 1104"/>
                <a:gd name="T1" fmla="*/ 0 h 336"/>
                <a:gd name="T2" fmla="*/ 1104 w 1104"/>
                <a:gd name="T3" fmla="*/ 0 h 336"/>
                <a:gd name="T4" fmla="*/ 1104 w 1104"/>
                <a:gd name="T5" fmla="*/ 336 h 336"/>
                <a:gd name="T6" fmla="*/ 0 w 1104"/>
                <a:gd name="T7" fmla="*/ 336 h 336"/>
                <a:gd name="T8" fmla="*/ 0 w 1104"/>
                <a:gd name="T9" fmla="*/ 0 h 3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04"/>
                <a:gd name="T16" fmla="*/ 0 h 336"/>
                <a:gd name="T17" fmla="*/ 1104 w 1104"/>
                <a:gd name="T18" fmla="*/ 336 h 3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04" h="336">
                  <a:moveTo>
                    <a:pt x="0" y="0"/>
                  </a:moveTo>
                  <a:lnTo>
                    <a:pt x="1104" y="0"/>
                  </a:lnTo>
                  <a:lnTo>
                    <a:pt x="1104" y="336"/>
                  </a:lnTo>
                  <a:lnTo>
                    <a:pt x="0" y="3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BD9B5"/>
            </a:solidFill>
            <a:ln w="381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/>
            </a:p>
          </p:txBody>
        </p:sp>
        <p:sp>
          <p:nvSpPr>
            <p:cNvPr id="205840" name="Text Box 14"/>
            <p:cNvSpPr txBox="1">
              <a:spLocks noChangeArrowheads="1"/>
            </p:cNvSpPr>
            <p:nvPr/>
          </p:nvSpPr>
          <p:spPr bwMode="auto">
            <a:xfrm>
              <a:off x="192" y="1384"/>
              <a:ext cx="791" cy="4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0"/>
                </a:spcBef>
                <a:buFontTx/>
                <a:buNone/>
              </a:pPr>
              <a:r>
                <a:rPr lang="en-US" sz="1800" b="1">
                  <a:solidFill>
                    <a:srgbClr val="CC0000"/>
                  </a:solidFill>
                  <a:cs typeface="Arial" pitchFamily="34" charset="0"/>
                </a:rPr>
                <a:t>Abundance</a:t>
              </a:r>
            </a:p>
            <a:p>
              <a:pPr>
                <a:lnSpc>
                  <a:spcPct val="95000"/>
                </a:lnSpc>
                <a:spcBef>
                  <a:spcPct val="0"/>
                </a:spcBef>
                <a:buFontTx/>
                <a:buNone/>
              </a:pPr>
              <a:r>
                <a:rPr lang="en-US" sz="1800" b="1">
                  <a:solidFill>
                    <a:srgbClr val="CC0000"/>
                  </a:solidFill>
                  <a:cs typeface="Arial" pitchFamily="34" charset="0"/>
                </a:rPr>
                <a:t> of Drug</a:t>
              </a:r>
            </a:p>
            <a:p>
              <a:pPr>
                <a:lnSpc>
                  <a:spcPct val="95000"/>
                </a:lnSpc>
                <a:spcBef>
                  <a:spcPct val="0"/>
                </a:spcBef>
                <a:buFontTx/>
                <a:buNone/>
              </a:pPr>
              <a:r>
                <a:rPr lang="en-US" sz="1800" b="1">
                  <a:solidFill>
                    <a:srgbClr val="CC0000"/>
                  </a:solidFill>
                  <a:cs typeface="Arial" pitchFamily="34" charset="0"/>
                </a:rPr>
                <a:t>Discovery</a:t>
              </a:r>
            </a:p>
          </p:txBody>
        </p:sp>
        <p:sp>
          <p:nvSpPr>
            <p:cNvPr id="205841" name="Line 15"/>
            <p:cNvSpPr>
              <a:spLocks noChangeShapeType="1"/>
            </p:cNvSpPr>
            <p:nvPr/>
          </p:nvSpPr>
          <p:spPr bwMode="auto">
            <a:xfrm>
              <a:off x="480" y="1150"/>
              <a:ext cx="18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en-GB"/>
            </a:p>
          </p:txBody>
        </p:sp>
        <p:sp>
          <p:nvSpPr>
            <p:cNvPr id="205842" name="Line 16"/>
            <p:cNvSpPr>
              <a:spLocks noChangeShapeType="1"/>
            </p:cNvSpPr>
            <p:nvPr/>
          </p:nvSpPr>
          <p:spPr bwMode="auto">
            <a:xfrm>
              <a:off x="528" y="2110"/>
              <a:ext cx="18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en-GB"/>
            </a:p>
          </p:txBody>
        </p:sp>
        <p:sp>
          <p:nvSpPr>
            <p:cNvPr id="205843" name="Line 17"/>
            <p:cNvSpPr>
              <a:spLocks noChangeShapeType="1"/>
            </p:cNvSpPr>
            <p:nvPr/>
          </p:nvSpPr>
          <p:spPr bwMode="auto">
            <a:xfrm>
              <a:off x="1034" y="2110"/>
              <a:ext cx="181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en-GB"/>
            </a:p>
          </p:txBody>
        </p:sp>
        <p:sp>
          <p:nvSpPr>
            <p:cNvPr id="205844" name="Line 18"/>
            <p:cNvSpPr>
              <a:spLocks noChangeShapeType="1"/>
            </p:cNvSpPr>
            <p:nvPr/>
          </p:nvSpPr>
          <p:spPr bwMode="auto">
            <a:xfrm>
              <a:off x="1260" y="1584"/>
              <a:ext cx="18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en-GB"/>
            </a:p>
          </p:txBody>
        </p:sp>
        <p:sp>
          <p:nvSpPr>
            <p:cNvPr id="205845" name="Line 19"/>
            <p:cNvSpPr>
              <a:spLocks noChangeShapeType="1"/>
            </p:cNvSpPr>
            <p:nvPr/>
          </p:nvSpPr>
          <p:spPr bwMode="auto">
            <a:xfrm>
              <a:off x="1020" y="1142"/>
              <a:ext cx="18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en-GB"/>
            </a:p>
          </p:txBody>
        </p:sp>
        <p:sp>
          <p:nvSpPr>
            <p:cNvPr id="205846" name="Line 20"/>
            <p:cNvSpPr>
              <a:spLocks noChangeShapeType="1"/>
            </p:cNvSpPr>
            <p:nvPr/>
          </p:nvSpPr>
          <p:spPr bwMode="auto">
            <a:xfrm>
              <a:off x="809" y="1966"/>
              <a:ext cx="18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en-GB"/>
            </a:p>
          </p:txBody>
        </p:sp>
        <p:sp>
          <p:nvSpPr>
            <p:cNvPr id="205847" name="Line 21"/>
            <p:cNvSpPr>
              <a:spLocks noChangeShapeType="1"/>
            </p:cNvSpPr>
            <p:nvPr/>
          </p:nvSpPr>
          <p:spPr bwMode="auto">
            <a:xfrm>
              <a:off x="764" y="1294"/>
              <a:ext cx="18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en-GB"/>
            </a:p>
          </p:txBody>
        </p:sp>
        <p:sp>
          <p:nvSpPr>
            <p:cNvPr id="205848" name="Line 22"/>
            <p:cNvSpPr>
              <a:spLocks noChangeShapeType="1"/>
            </p:cNvSpPr>
            <p:nvPr/>
          </p:nvSpPr>
          <p:spPr bwMode="auto">
            <a:xfrm>
              <a:off x="780" y="2254"/>
              <a:ext cx="18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en-GB"/>
            </a:p>
          </p:txBody>
        </p:sp>
        <p:sp>
          <p:nvSpPr>
            <p:cNvPr id="205849" name="Line 23"/>
            <p:cNvSpPr>
              <a:spLocks noChangeShapeType="1"/>
            </p:cNvSpPr>
            <p:nvPr/>
          </p:nvSpPr>
          <p:spPr bwMode="auto">
            <a:xfrm>
              <a:off x="828" y="1006"/>
              <a:ext cx="18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en-GB"/>
            </a:p>
          </p:txBody>
        </p:sp>
        <p:sp>
          <p:nvSpPr>
            <p:cNvPr id="205850" name="Text Box 24"/>
            <p:cNvSpPr txBox="1">
              <a:spLocks noChangeArrowheads="1"/>
            </p:cNvSpPr>
            <p:nvPr/>
          </p:nvSpPr>
          <p:spPr bwMode="auto">
            <a:xfrm>
              <a:off x="1498" y="1547"/>
              <a:ext cx="854" cy="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0"/>
                </a:spcBef>
                <a:buFontTx/>
                <a:buNone/>
              </a:pPr>
              <a:r>
                <a:rPr lang="en-US" sz="1200" b="1">
                  <a:solidFill>
                    <a:srgbClr val="000000"/>
                  </a:solidFill>
                  <a:cs typeface="Arial" pitchFamily="34" charset="0"/>
                </a:rPr>
                <a:t>Pre-Clinical Development</a:t>
              </a:r>
            </a:p>
          </p:txBody>
        </p:sp>
        <p:sp>
          <p:nvSpPr>
            <p:cNvPr id="205851" name="Text Box 25"/>
            <p:cNvSpPr txBox="1">
              <a:spLocks noChangeArrowheads="1"/>
            </p:cNvSpPr>
            <p:nvPr/>
          </p:nvSpPr>
          <p:spPr bwMode="auto">
            <a:xfrm>
              <a:off x="2398" y="1547"/>
              <a:ext cx="630" cy="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0"/>
                </a:spcBef>
                <a:buFontTx/>
                <a:buNone/>
              </a:pPr>
              <a:r>
                <a:rPr lang="en-US" sz="1200" b="1">
                  <a:solidFill>
                    <a:srgbClr val="000000"/>
                  </a:solidFill>
                  <a:cs typeface="Arial" pitchFamily="34" charset="0"/>
                </a:rPr>
                <a:t>Proof of Concept</a:t>
              </a:r>
            </a:p>
          </p:txBody>
        </p:sp>
        <p:sp>
          <p:nvSpPr>
            <p:cNvPr id="205852" name="Text Box 26"/>
            <p:cNvSpPr txBox="1">
              <a:spLocks noChangeArrowheads="1"/>
            </p:cNvSpPr>
            <p:nvPr/>
          </p:nvSpPr>
          <p:spPr bwMode="auto">
            <a:xfrm>
              <a:off x="3389" y="1547"/>
              <a:ext cx="630" cy="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0"/>
                </a:spcBef>
                <a:buFontTx/>
                <a:buNone/>
              </a:pPr>
              <a:r>
                <a:rPr lang="en-US" sz="1200" b="1">
                  <a:solidFill>
                    <a:srgbClr val="000000"/>
                  </a:solidFill>
                  <a:cs typeface="Arial" pitchFamily="34" charset="0"/>
                </a:rPr>
                <a:t>Confirmation,</a:t>
              </a:r>
            </a:p>
            <a:p>
              <a:pPr>
                <a:lnSpc>
                  <a:spcPct val="95000"/>
                </a:lnSpc>
                <a:spcBef>
                  <a:spcPct val="0"/>
                </a:spcBef>
                <a:buFontTx/>
                <a:buNone/>
              </a:pPr>
              <a:r>
                <a:rPr lang="en-US" sz="1200" b="1">
                  <a:solidFill>
                    <a:srgbClr val="000000"/>
                  </a:solidFill>
                  <a:cs typeface="Arial" pitchFamily="34" charset="0"/>
                </a:rPr>
                <a:t>Dose Finding</a:t>
              </a:r>
            </a:p>
          </p:txBody>
        </p:sp>
        <p:sp>
          <p:nvSpPr>
            <p:cNvPr id="205853" name="Text Box 27"/>
            <p:cNvSpPr txBox="1">
              <a:spLocks noChangeArrowheads="1"/>
            </p:cNvSpPr>
            <p:nvPr/>
          </p:nvSpPr>
          <p:spPr bwMode="auto">
            <a:xfrm>
              <a:off x="4290" y="1612"/>
              <a:ext cx="854" cy="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lnSpc>
                  <a:spcPct val="95000"/>
                </a:lnSpc>
                <a:spcBef>
                  <a:spcPct val="0"/>
                </a:spcBef>
                <a:buFontTx/>
                <a:buNone/>
              </a:pPr>
              <a:r>
                <a:rPr lang="en-US" sz="1200" b="1">
                  <a:solidFill>
                    <a:srgbClr val="000000"/>
                  </a:solidFill>
                  <a:cs typeface="Arial" pitchFamily="34" charset="0"/>
                </a:rPr>
                <a:t>Commercialization</a:t>
              </a:r>
            </a:p>
          </p:txBody>
        </p:sp>
        <p:sp>
          <p:nvSpPr>
            <p:cNvPr id="205854" name="AutoShape 28"/>
            <p:cNvSpPr>
              <a:spLocks noChangeArrowheads="1"/>
            </p:cNvSpPr>
            <p:nvPr/>
          </p:nvSpPr>
          <p:spPr bwMode="auto">
            <a:xfrm>
              <a:off x="1152" y="1198"/>
              <a:ext cx="1872" cy="48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3162 w 21600"/>
                <a:gd name="T19" fmla="*/ 3150 h 21600"/>
                <a:gd name="T20" fmla="*/ 18438 w 21600"/>
                <a:gd name="T21" fmla="*/ 18450 h 216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600" h="21600">
                  <a:moveTo>
                    <a:pt x="18599" y="10440"/>
                  </a:moveTo>
                  <a:cubicBezTo>
                    <a:pt x="18407" y="6272"/>
                    <a:pt x="14972" y="2992"/>
                    <a:pt x="10800" y="2992"/>
                  </a:cubicBezTo>
                  <a:cubicBezTo>
                    <a:pt x="6487" y="2992"/>
                    <a:pt x="2992" y="6487"/>
                    <a:pt x="2992" y="10800"/>
                  </a:cubicBezTo>
                  <a:lnTo>
                    <a:pt x="0" y="10800"/>
                  </a:lnTo>
                  <a:cubicBezTo>
                    <a:pt x="0" y="4835"/>
                    <a:pt x="4835" y="0"/>
                    <a:pt x="10800" y="0"/>
                  </a:cubicBezTo>
                  <a:cubicBezTo>
                    <a:pt x="16571" y="-1"/>
                    <a:pt x="21322" y="4537"/>
                    <a:pt x="21588" y="10302"/>
                  </a:cubicBezTo>
                  <a:lnTo>
                    <a:pt x="24285" y="10177"/>
                  </a:lnTo>
                  <a:lnTo>
                    <a:pt x="20287" y="14563"/>
                  </a:lnTo>
                  <a:lnTo>
                    <a:pt x="15902" y="10564"/>
                  </a:lnTo>
                  <a:lnTo>
                    <a:pt x="18599" y="10440"/>
                  </a:lnTo>
                  <a:close/>
                </a:path>
              </a:pathLst>
            </a:custGeom>
            <a:solidFill>
              <a:srgbClr val="FFCCFF"/>
            </a:solidFill>
            <a:ln w="12700">
              <a:solidFill>
                <a:schemeClr val="folHlink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/>
            </a:p>
          </p:txBody>
        </p:sp>
        <p:sp>
          <p:nvSpPr>
            <p:cNvPr id="205855" name="AutoShape 29"/>
            <p:cNvSpPr>
              <a:spLocks noChangeArrowheads="1"/>
            </p:cNvSpPr>
            <p:nvPr/>
          </p:nvSpPr>
          <p:spPr bwMode="auto">
            <a:xfrm flipH="1" flipV="1">
              <a:off x="1200" y="1582"/>
              <a:ext cx="1872" cy="48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3162 w 21600"/>
                <a:gd name="T19" fmla="*/ 3150 h 21600"/>
                <a:gd name="T20" fmla="*/ 18438 w 21600"/>
                <a:gd name="T21" fmla="*/ 18450 h 216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600" h="21600">
                  <a:moveTo>
                    <a:pt x="18599" y="10440"/>
                  </a:moveTo>
                  <a:cubicBezTo>
                    <a:pt x="18407" y="6272"/>
                    <a:pt x="14972" y="2992"/>
                    <a:pt x="10800" y="2992"/>
                  </a:cubicBezTo>
                  <a:cubicBezTo>
                    <a:pt x="6487" y="2992"/>
                    <a:pt x="2992" y="6487"/>
                    <a:pt x="2992" y="10800"/>
                  </a:cubicBezTo>
                  <a:lnTo>
                    <a:pt x="0" y="10800"/>
                  </a:lnTo>
                  <a:cubicBezTo>
                    <a:pt x="0" y="4835"/>
                    <a:pt x="4835" y="0"/>
                    <a:pt x="10800" y="0"/>
                  </a:cubicBezTo>
                  <a:cubicBezTo>
                    <a:pt x="16571" y="-1"/>
                    <a:pt x="21322" y="4537"/>
                    <a:pt x="21588" y="10302"/>
                  </a:cubicBezTo>
                  <a:lnTo>
                    <a:pt x="24285" y="10177"/>
                  </a:lnTo>
                  <a:lnTo>
                    <a:pt x="20287" y="14563"/>
                  </a:lnTo>
                  <a:lnTo>
                    <a:pt x="15902" y="10564"/>
                  </a:lnTo>
                  <a:lnTo>
                    <a:pt x="18599" y="10440"/>
                  </a:lnTo>
                  <a:close/>
                </a:path>
              </a:pathLst>
            </a:custGeom>
            <a:solidFill>
              <a:srgbClr val="FFCCFF"/>
            </a:solidFill>
            <a:ln w="12700">
              <a:solidFill>
                <a:schemeClr val="folHlink"/>
              </a:solidFill>
              <a:miter lim="800000"/>
              <a:headEnd/>
              <a:tailEnd/>
            </a:ln>
          </p:spPr>
          <p:txBody>
            <a:bodyPr rot="10800000" wrap="none" lIns="0" tIns="0" rIns="0" bIns="0" anchor="ctr"/>
            <a:lstStyle/>
            <a:p>
              <a:endParaRPr lang="en-GB"/>
            </a:p>
          </p:txBody>
        </p:sp>
        <p:sp>
          <p:nvSpPr>
            <p:cNvPr id="205856" name="Text Box 30"/>
            <p:cNvSpPr txBox="1">
              <a:spLocks noChangeArrowheads="1"/>
            </p:cNvSpPr>
            <p:nvPr/>
          </p:nvSpPr>
          <p:spPr bwMode="auto">
            <a:xfrm>
              <a:off x="1655" y="2886"/>
              <a:ext cx="2573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225425" indent="-225425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l">
                <a:lnSpc>
                  <a:spcPct val="95000"/>
                </a:lnSpc>
                <a:spcBef>
                  <a:spcPct val="50000"/>
                </a:spcBef>
                <a:buFontTx/>
                <a:buNone/>
              </a:pPr>
              <a:r>
                <a:rPr lang="en-US" sz="2400" b="1">
                  <a:solidFill>
                    <a:srgbClr val="FF0000"/>
                  </a:solidFill>
                  <a:cs typeface="Arial" pitchFamily="34" charset="0"/>
                </a:rPr>
                <a:t>Optimal plans to POC</a:t>
              </a:r>
            </a:p>
          </p:txBody>
        </p:sp>
        <p:sp>
          <p:nvSpPr>
            <p:cNvPr id="205857" name="Text Box 31"/>
            <p:cNvSpPr txBox="1">
              <a:spLocks noChangeArrowheads="1"/>
            </p:cNvSpPr>
            <p:nvPr/>
          </p:nvSpPr>
          <p:spPr bwMode="auto">
            <a:xfrm>
              <a:off x="1156" y="3385"/>
              <a:ext cx="3175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225425" indent="-225425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l">
                <a:lnSpc>
                  <a:spcPct val="95000"/>
                </a:lnSpc>
                <a:spcBef>
                  <a:spcPct val="50000"/>
                </a:spcBef>
                <a:buFontTx/>
                <a:buNone/>
              </a:pPr>
              <a:endParaRPr lang="en-US" sz="2400" b="1">
                <a:solidFill>
                  <a:srgbClr val="FF0000"/>
                </a:solidFill>
                <a:cs typeface="Arial" pitchFamily="34" charset="0"/>
              </a:endParaRPr>
            </a:p>
          </p:txBody>
        </p:sp>
      </p:grpSp>
      <p:sp>
        <p:nvSpPr>
          <p:cNvPr id="205827" name="TextBox 1"/>
          <p:cNvSpPr txBox="1">
            <a:spLocks noChangeArrowheads="1"/>
          </p:cNvSpPr>
          <p:nvPr/>
        </p:nvSpPr>
        <p:spPr bwMode="auto">
          <a:xfrm>
            <a:off x="-1635125" y="5753100"/>
            <a:ext cx="309562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en-US"/>
          </a:p>
        </p:txBody>
      </p:sp>
      <p:pic>
        <p:nvPicPr>
          <p:cNvPr id="205828" name="Picture 6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60350"/>
            <a:ext cx="1690687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829" name="Line 51"/>
          <p:cNvSpPr>
            <a:spLocks noChangeShapeType="1"/>
          </p:cNvSpPr>
          <p:nvPr/>
        </p:nvSpPr>
        <p:spPr bwMode="auto">
          <a:xfrm>
            <a:off x="0" y="1063625"/>
            <a:ext cx="9144000" cy="0"/>
          </a:xfrm>
          <a:prstGeom prst="line">
            <a:avLst/>
          </a:prstGeom>
          <a:noFill/>
          <a:ln w="38100">
            <a:solidFill>
              <a:srgbClr val="16165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  <p:transition spd="slow">
    <p:pull dir="ld"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873" name="Rectangle 2"/>
          <p:cNvSpPr>
            <a:spLocks noChangeArrowheads="1"/>
          </p:cNvSpPr>
          <p:nvPr/>
        </p:nvSpPr>
        <p:spPr bwMode="auto">
          <a:xfrm>
            <a:off x="1581150" y="182563"/>
            <a:ext cx="45212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l">
              <a:spcBef>
                <a:spcPct val="0"/>
              </a:spcBef>
              <a:buFontTx/>
              <a:buNone/>
            </a:pPr>
            <a:r>
              <a:rPr lang="en-GB" b="1">
                <a:solidFill>
                  <a:srgbClr val="16165D"/>
                </a:solidFill>
              </a:rPr>
              <a:t>Interpretability of Results</a:t>
            </a:r>
          </a:p>
        </p:txBody>
      </p:sp>
      <p:sp>
        <p:nvSpPr>
          <p:cNvPr id="207874" name="Rectangle 3"/>
          <p:cNvSpPr>
            <a:spLocks noChangeArrowheads="1"/>
          </p:cNvSpPr>
          <p:nvPr/>
        </p:nvSpPr>
        <p:spPr bwMode="auto">
          <a:xfrm>
            <a:off x="2916238" y="1412875"/>
            <a:ext cx="5832475" cy="5111750"/>
          </a:xfrm>
          <a:prstGeom prst="rect">
            <a:avLst/>
          </a:prstGeom>
          <a:solidFill>
            <a:srgbClr val="C1DBC3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en-GB" sz="2400">
              <a:latin typeface="Times New Roman" pitchFamily="18" charset="0"/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en-GB" sz="2400">
                <a:latin typeface="Times New Roman" pitchFamily="18" charset="0"/>
              </a:rPr>
              <a:t>           </a:t>
            </a:r>
            <a:endParaRPr lang="en-GB" sz="2400">
              <a:solidFill>
                <a:srgbClr val="3399FF"/>
              </a:solidFill>
              <a:latin typeface="Times New Roman" pitchFamily="18" charset="0"/>
            </a:endParaRPr>
          </a:p>
          <a:p>
            <a:pPr>
              <a:spcBef>
                <a:spcPct val="0"/>
              </a:spcBef>
              <a:buFontTx/>
              <a:buNone/>
            </a:pPr>
            <a:endParaRPr lang="en-GB" sz="2400">
              <a:latin typeface="Times New Roman" pitchFamily="18" charset="0"/>
            </a:endParaRPr>
          </a:p>
        </p:txBody>
      </p:sp>
      <p:sp>
        <p:nvSpPr>
          <p:cNvPr id="207875" name="Line 4"/>
          <p:cNvSpPr>
            <a:spLocks noChangeShapeType="1"/>
          </p:cNvSpPr>
          <p:nvPr/>
        </p:nvSpPr>
        <p:spPr bwMode="auto">
          <a:xfrm>
            <a:off x="4071938" y="2143125"/>
            <a:ext cx="0" cy="4286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7876" name="Text Box 5"/>
          <p:cNvSpPr txBox="1">
            <a:spLocks noChangeArrowheads="1"/>
          </p:cNvSpPr>
          <p:nvPr/>
        </p:nvSpPr>
        <p:spPr bwMode="auto">
          <a:xfrm>
            <a:off x="4352925" y="3430588"/>
            <a:ext cx="547688" cy="1570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GB" sz="2400" b="1">
                <a:latin typeface="Times New Roman" pitchFamily="18" charset="0"/>
              </a:rPr>
              <a:t>-</a:t>
            </a:r>
          </a:p>
          <a:p>
            <a:pPr algn="l">
              <a:spcBef>
                <a:spcPct val="0"/>
              </a:spcBef>
              <a:buFontTx/>
              <a:buNone/>
            </a:pPr>
            <a:r>
              <a:rPr lang="en-GB" sz="2400" b="1">
                <a:latin typeface="Times New Roman" pitchFamily="18" charset="0"/>
              </a:rPr>
              <a:t>+</a:t>
            </a:r>
          </a:p>
          <a:p>
            <a:pPr algn="l">
              <a:spcBef>
                <a:spcPct val="0"/>
              </a:spcBef>
              <a:buFontTx/>
              <a:buNone/>
            </a:pPr>
            <a:endParaRPr lang="en-GB" sz="2400" b="1">
              <a:latin typeface="Times New Roman" pitchFamily="18" charset="0"/>
            </a:endParaRPr>
          </a:p>
          <a:p>
            <a:pPr algn="l">
              <a:spcBef>
                <a:spcPct val="0"/>
              </a:spcBef>
              <a:buFontTx/>
              <a:buNone/>
            </a:pPr>
            <a:r>
              <a:rPr lang="en-GB" sz="2400" b="1">
                <a:latin typeface="Times New Roman" pitchFamily="18" charset="0"/>
              </a:rPr>
              <a:t>+/-</a:t>
            </a:r>
          </a:p>
        </p:txBody>
      </p:sp>
      <p:sp>
        <p:nvSpPr>
          <p:cNvPr id="207877" name="AutoShape 6"/>
          <p:cNvSpPr>
            <a:spLocks noChangeArrowheads="1"/>
          </p:cNvSpPr>
          <p:nvPr/>
        </p:nvSpPr>
        <p:spPr bwMode="auto">
          <a:xfrm>
            <a:off x="4929188" y="3357563"/>
            <a:ext cx="1944687" cy="288925"/>
          </a:xfrm>
          <a:prstGeom prst="curvedDownArrow">
            <a:avLst>
              <a:gd name="adj1" fmla="val 134615"/>
              <a:gd name="adj2" fmla="val 269231"/>
              <a:gd name="adj3" fmla="val 33333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buFontTx/>
              <a:buNone/>
            </a:pPr>
            <a:endParaRPr lang="en-GB"/>
          </a:p>
        </p:txBody>
      </p:sp>
      <p:sp>
        <p:nvSpPr>
          <p:cNvPr id="207878" name="AutoShape 7"/>
          <p:cNvSpPr>
            <a:spLocks noChangeArrowheads="1"/>
          </p:cNvSpPr>
          <p:nvPr/>
        </p:nvSpPr>
        <p:spPr bwMode="auto">
          <a:xfrm>
            <a:off x="4929188" y="3862388"/>
            <a:ext cx="1944687" cy="288925"/>
          </a:xfrm>
          <a:prstGeom prst="curvedDownArrow">
            <a:avLst>
              <a:gd name="adj1" fmla="val 134615"/>
              <a:gd name="adj2" fmla="val 269231"/>
              <a:gd name="adj3" fmla="val 33333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buFontTx/>
              <a:buNone/>
            </a:pPr>
            <a:endParaRPr lang="en-GB"/>
          </a:p>
        </p:txBody>
      </p:sp>
      <p:sp>
        <p:nvSpPr>
          <p:cNvPr id="207879" name="AutoShape 8"/>
          <p:cNvSpPr>
            <a:spLocks noChangeArrowheads="1"/>
          </p:cNvSpPr>
          <p:nvPr/>
        </p:nvSpPr>
        <p:spPr bwMode="auto">
          <a:xfrm>
            <a:off x="5000625" y="4438650"/>
            <a:ext cx="1944688" cy="288925"/>
          </a:xfrm>
          <a:prstGeom prst="curvedDownArrow">
            <a:avLst>
              <a:gd name="adj1" fmla="val 134615"/>
              <a:gd name="adj2" fmla="val 269231"/>
              <a:gd name="adj3" fmla="val 33333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buFontTx/>
              <a:buNone/>
            </a:pPr>
            <a:endParaRPr lang="en-GB"/>
          </a:p>
        </p:txBody>
      </p:sp>
      <p:sp>
        <p:nvSpPr>
          <p:cNvPr id="652297" name="Text Box 9"/>
          <p:cNvSpPr txBox="1">
            <a:spLocks noChangeArrowheads="1"/>
          </p:cNvSpPr>
          <p:nvPr/>
        </p:nvSpPr>
        <p:spPr bwMode="auto">
          <a:xfrm>
            <a:off x="5572125" y="3000375"/>
            <a:ext cx="530225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GB" sz="4000">
                <a:solidFill>
                  <a:srgbClr val="FF0000"/>
                </a:solidFill>
              </a:rPr>
              <a:t>X</a:t>
            </a:r>
          </a:p>
        </p:txBody>
      </p:sp>
      <p:grpSp>
        <p:nvGrpSpPr>
          <p:cNvPr id="2" name="Group 13"/>
          <p:cNvGrpSpPr>
            <a:grpSpLocks/>
          </p:cNvGrpSpPr>
          <p:nvPr/>
        </p:nvGrpSpPr>
        <p:grpSpPr bwMode="auto">
          <a:xfrm>
            <a:off x="179388" y="1412875"/>
            <a:ext cx="3168650" cy="5111750"/>
            <a:chOff x="158" y="890"/>
            <a:chExt cx="1803" cy="2858"/>
          </a:xfrm>
        </p:grpSpPr>
        <p:sp>
          <p:nvSpPr>
            <p:cNvPr id="207892" name="Rectangle 14"/>
            <p:cNvSpPr>
              <a:spLocks noChangeArrowheads="1"/>
            </p:cNvSpPr>
            <p:nvPr/>
          </p:nvSpPr>
          <p:spPr bwMode="auto">
            <a:xfrm>
              <a:off x="158" y="890"/>
              <a:ext cx="1724" cy="2858"/>
            </a:xfrm>
            <a:prstGeom prst="rect">
              <a:avLst/>
            </a:prstGeom>
            <a:solidFill>
              <a:srgbClr val="99FF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0"/>
                </a:spcBef>
                <a:buFontTx/>
                <a:buNone/>
              </a:pPr>
              <a:endParaRPr lang="en-GB">
                <a:solidFill>
                  <a:srgbClr val="3399FF"/>
                </a:solidFill>
                <a:latin typeface="Times New Roman" pitchFamily="18" charset="0"/>
              </a:endParaRPr>
            </a:p>
          </p:txBody>
        </p:sp>
        <p:sp>
          <p:nvSpPr>
            <p:cNvPr id="207893" name="Text Box 15"/>
            <p:cNvSpPr txBox="1">
              <a:spLocks noChangeArrowheads="1"/>
            </p:cNvSpPr>
            <p:nvPr/>
          </p:nvSpPr>
          <p:spPr bwMode="auto">
            <a:xfrm>
              <a:off x="250" y="1117"/>
              <a:ext cx="1711" cy="19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l">
                <a:spcBef>
                  <a:spcPct val="0"/>
                </a:spcBef>
                <a:buFontTx/>
                <a:buNone/>
              </a:pPr>
              <a:r>
                <a:rPr lang="en-GB" sz="2000" b="1">
                  <a:solidFill>
                    <a:srgbClr val="333399"/>
                  </a:solidFill>
                  <a:latin typeface="Times New Roman" pitchFamily="18" charset="0"/>
                </a:rPr>
                <a:t>Evidence of:</a:t>
              </a:r>
            </a:p>
            <a:p>
              <a:pPr algn="l">
                <a:spcBef>
                  <a:spcPct val="0"/>
                </a:spcBef>
                <a:buFontTx/>
                <a:buNone/>
              </a:pPr>
              <a:endParaRPr lang="en-GB" sz="2000" b="1">
                <a:solidFill>
                  <a:srgbClr val="333399"/>
                </a:solidFill>
                <a:latin typeface="Times New Roman" pitchFamily="18" charset="0"/>
              </a:endParaRPr>
            </a:p>
            <a:p>
              <a:pPr algn="l">
                <a:spcBef>
                  <a:spcPct val="0"/>
                </a:spcBef>
                <a:buFontTx/>
                <a:buNone/>
              </a:pPr>
              <a:endParaRPr lang="en-GB" sz="2000">
                <a:solidFill>
                  <a:srgbClr val="333399"/>
                </a:solidFill>
                <a:latin typeface="Times New Roman" pitchFamily="18" charset="0"/>
              </a:endParaRPr>
            </a:p>
            <a:p>
              <a:pPr algn="l">
                <a:spcBef>
                  <a:spcPct val="0"/>
                </a:spcBef>
                <a:buFontTx/>
                <a:buNone/>
              </a:pPr>
              <a:r>
                <a:rPr lang="en-GB" sz="2000">
                  <a:solidFill>
                    <a:srgbClr val="333399"/>
                  </a:solidFill>
                  <a:latin typeface="Times New Roman" pitchFamily="18" charset="0"/>
                </a:rPr>
                <a:t> Correct dose-selection ?</a:t>
              </a:r>
            </a:p>
            <a:p>
              <a:pPr algn="l">
                <a:spcBef>
                  <a:spcPct val="0"/>
                </a:spcBef>
                <a:buFontTx/>
                <a:buNone/>
              </a:pPr>
              <a:endParaRPr lang="en-GB" sz="2000">
                <a:solidFill>
                  <a:srgbClr val="333399"/>
                </a:solidFill>
                <a:latin typeface="Times New Roman" pitchFamily="18" charset="0"/>
              </a:endParaRPr>
            </a:p>
            <a:p>
              <a:pPr algn="l">
                <a:spcBef>
                  <a:spcPct val="0"/>
                </a:spcBef>
                <a:buFontTx/>
                <a:buNone/>
              </a:pPr>
              <a:r>
                <a:rPr lang="en-GB" sz="2000">
                  <a:solidFill>
                    <a:srgbClr val="333399"/>
                  </a:solidFill>
                  <a:latin typeface="Times New Roman" pitchFamily="18" charset="0"/>
                </a:rPr>
                <a:t> Receptor Occupancy?</a:t>
              </a:r>
            </a:p>
            <a:p>
              <a:pPr algn="l">
                <a:spcBef>
                  <a:spcPct val="0"/>
                </a:spcBef>
                <a:buFontTx/>
                <a:buNone/>
              </a:pPr>
              <a:endParaRPr lang="en-GB" sz="2000">
                <a:solidFill>
                  <a:srgbClr val="333399"/>
                </a:solidFill>
                <a:latin typeface="Times New Roman" pitchFamily="18" charset="0"/>
              </a:endParaRPr>
            </a:p>
            <a:p>
              <a:pPr algn="l">
                <a:spcBef>
                  <a:spcPct val="0"/>
                </a:spcBef>
                <a:buFontTx/>
                <a:buNone/>
              </a:pPr>
              <a:r>
                <a:rPr lang="en-GB" sz="2000">
                  <a:solidFill>
                    <a:srgbClr val="333399"/>
                  </a:solidFill>
                  <a:latin typeface="Times New Roman" pitchFamily="18" charset="0"/>
                </a:rPr>
                <a:t> Target Pharmacology?</a:t>
              </a:r>
            </a:p>
            <a:p>
              <a:pPr algn="l">
                <a:spcBef>
                  <a:spcPct val="0"/>
                </a:spcBef>
                <a:buFontTx/>
                <a:buNone/>
              </a:pPr>
              <a:endParaRPr lang="en-GB" sz="2000">
                <a:solidFill>
                  <a:srgbClr val="333399"/>
                </a:solidFill>
                <a:latin typeface="Times New Roman" pitchFamily="18" charset="0"/>
              </a:endParaRPr>
            </a:p>
            <a:p>
              <a:pPr algn="l">
                <a:spcBef>
                  <a:spcPct val="0"/>
                </a:spcBef>
                <a:buFontTx/>
                <a:buNone/>
              </a:pPr>
              <a:r>
                <a:rPr lang="en-GB" sz="2000">
                  <a:solidFill>
                    <a:srgbClr val="333399"/>
                  </a:solidFill>
                  <a:latin typeface="Times New Roman" pitchFamily="18" charset="0"/>
                </a:rPr>
                <a:t> PK/PD relationships?</a:t>
              </a:r>
            </a:p>
            <a:p>
              <a:pPr algn="l">
                <a:spcBef>
                  <a:spcPct val="0"/>
                </a:spcBef>
                <a:buFontTx/>
                <a:buNone/>
              </a:pPr>
              <a:endParaRPr lang="en-GB" sz="2000">
                <a:solidFill>
                  <a:srgbClr val="333399"/>
                </a:solidFill>
                <a:latin typeface="Times New Roman" pitchFamily="18" charset="0"/>
              </a:endParaRPr>
            </a:p>
          </p:txBody>
        </p:sp>
      </p:grpSp>
      <p:sp>
        <p:nvSpPr>
          <p:cNvPr id="207882" name="TextBox 17"/>
          <p:cNvSpPr txBox="1">
            <a:spLocks noChangeArrowheads="1"/>
          </p:cNvSpPr>
          <p:nvPr/>
        </p:nvSpPr>
        <p:spPr bwMode="auto">
          <a:xfrm>
            <a:off x="3429000" y="1643063"/>
            <a:ext cx="140335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buFontTx/>
              <a:buNone/>
            </a:pPr>
            <a:r>
              <a:rPr lang="en-GB"/>
              <a:t>Phase I</a:t>
            </a:r>
          </a:p>
        </p:txBody>
      </p:sp>
      <p:sp>
        <p:nvSpPr>
          <p:cNvPr id="207883" name="TextBox 18"/>
          <p:cNvSpPr txBox="1">
            <a:spLocks noChangeArrowheads="1"/>
          </p:cNvSpPr>
          <p:nvPr/>
        </p:nvSpPr>
        <p:spPr bwMode="auto">
          <a:xfrm>
            <a:off x="3429000" y="2643188"/>
            <a:ext cx="150177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buFontTx/>
              <a:buNone/>
            </a:pPr>
            <a:r>
              <a:rPr lang="en-GB"/>
              <a:t>Phase II</a:t>
            </a:r>
          </a:p>
        </p:txBody>
      </p:sp>
      <p:sp>
        <p:nvSpPr>
          <p:cNvPr id="207884" name="TextBox 19"/>
          <p:cNvSpPr txBox="1">
            <a:spLocks noChangeArrowheads="1"/>
          </p:cNvSpPr>
          <p:nvPr/>
        </p:nvSpPr>
        <p:spPr bwMode="auto">
          <a:xfrm>
            <a:off x="6643688" y="2571750"/>
            <a:ext cx="1601787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buFontTx/>
              <a:buNone/>
            </a:pPr>
            <a:r>
              <a:rPr lang="en-GB"/>
              <a:t>Phase III</a:t>
            </a:r>
          </a:p>
        </p:txBody>
      </p:sp>
      <p:sp>
        <p:nvSpPr>
          <p:cNvPr id="59408" name="Text Box 11"/>
          <p:cNvSpPr txBox="1">
            <a:spLocks noChangeArrowheads="1"/>
          </p:cNvSpPr>
          <p:nvPr/>
        </p:nvSpPr>
        <p:spPr bwMode="auto">
          <a:xfrm>
            <a:off x="7072313" y="3714750"/>
            <a:ext cx="466725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GB" sz="4000" b="1">
                <a:solidFill>
                  <a:srgbClr val="FF0000"/>
                </a:solidFill>
                <a:latin typeface="Magneto" pitchFamily="82" charset="0"/>
              </a:rPr>
              <a:t>√</a:t>
            </a:r>
          </a:p>
        </p:txBody>
      </p:sp>
      <p:sp>
        <p:nvSpPr>
          <p:cNvPr id="59409" name="Text Box 12"/>
          <p:cNvSpPr txBox="1">
            <a:spLocks noChangeArrowheads="1"/>
          </p:cNvSpPr>
          <p:nvPr/>
        </p:nvSpPr>
        <p:spPr bwMode="auto">
          <a:xfrm>
            <a:off x="7072313" y="4357688"/>
            <a:ext cx="493712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GB" sz="4000" b="1">
                <a:solidFill>
                  <a:srgbClr val="FF0000"/>
                </a:solidFill>
              </a:rPr>
              <a:t>?</a:t>
            </a:r>
          </a:p>
        </p:txBody>
      </p:sp>
      <p:sp>
        <p:nvSpPr>
          <p:cNvPr id="207887" name="Text Box 11"/>
          <p:cNvSpPr txBox="1">
            <a:spLocks noChangeArrowheads="1"/>
          </p:cNvSpPr>
          <p:nvPr/>
        </p:nvSpPr>
        <p:spPr bwMode="auto">
          <a:xfrm>
            <a:off x="7072313" y="3071813"/>
            <a:ext cx="184150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endParaRPr lang="en-GB" sz="4000" b="1">
              <a:solidFill>
                <a:srgbClr val="FF0000"/>
              </a:solidFill>
              <a:latin typeface="Magneto" pitchFamily="82" charset="0"/>
            </a:endParaRPr>
          </a:p>
        </p:txBody>
      </p:sp>
      <p:sp>
        <p:nvSpPr>
          <p:cNvPr id="207888" name="Line Callout 2 (No Border) 21"/>
          <p:cNvSpPr>
            <a:spLocks/>
          </p:cNvSpPr>
          <p:nvPr/>
        </p:nvSpPr>
        <p:spPr bwMode="auto">
          <a:xfrm>
            <a:off x="7215188" y="3357563"/>
            <a:ext cx="914400" cy="612775"/>
          </a:xfrm>
          <a:prstGeom prst="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12500"/>
              <a:gd name="adj6" fmla="val -4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207889" name="Picture 6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60350"/>
            <a:ext cx="1690687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7890" name="Line 51"/>
          <p:cNvSpPr>
            <a:spLocks noChangeShapeType="1"/>
          </p:cNvSpPr>
          <p:nvPr/>
        </p:nvSpPr>
        <p:spPr bwMode="auto">
          <a:xfrm>
            <a:off x="0" y="958850"/>
            <a:ext cx="9144000" cy="0"/>
          </a:xfrm>
          <a:prstGeom prst="line">
            <a:avLst/>
          </a:prstGeom>
          <a:noFill/>
          <a:ln w="38100">
            <a:solidFill>
              <a:srgbClr val="16165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" name="Text Box 12"/>
          <p:cNvSpPr txBox="1">
            <a:spLocks noChangeArrowheads="1"/>
          </p:cNvSpPr>
          <p:nvPr/>
        </p:nvSpPr>
        <p:spPr bwMode="auto">
          <a:xfrm>
            <a:off x="7019925" y="3068638"/>
            <a:ext cx="493713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GB" sz="4000" b="1">
                <a:solidFill>
                  <a:srgbClr val="FF0000"/>
                </a:solidFill>
              </a:rPr>
              <a:t>?</a:t>
            </a:r>
          </a:p>
        </p:txBody>
      </p:sp>
    </p:spTree>
  </p:cSld>
  <p:clrMapOvr>
    <a:masterClrMapping/>
  </p:clrMapOvr>
  <p:transition spd="slow">
    <p:pull dir="l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22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522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4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94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4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94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2297" grpId="0"/>
      <p:bldP spid="59408" grpId="0"/>
      <p:bldP spid="59409" grpId="0"/>
      <p:bldP spid="22" grpId="0"/>
      <p:bldP spid="22" grpId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921" name="Rectangle 2"/>
          <p:cNvSpPr>
            <a:spLocks noGrp="1" noChangeArrowheads="1"/>
          </p:cNvSpPr>
          <p:nvPr>
            <p:ph type="title"/>
          </p:nvPr>
        </p:nvSpPr>
        <p:spPr>
          <a:xfrm>
            <a:off x="1258888" y="620713"/>
            <a:ext cx="5621337" cy="666750"/>
          </a:xfrm>
        </p:spPr>
        <p:txBody>
          <a:bodyPr anchor="t"/>
          <a:lstStyle/>
          <a:p>
            <a:pPr eaLnBrk="1" hangingPunct="1"/>
            <a:r>
              <a:rPr lang="en-GB" sz="2800" smtClean="0">
                <a:solidFill>
                  <a:srgbClr val="000090"/>
                </a:solidFill>
                <a:latin typeface="Arial" pitchFamily="34" charset="0"/>
                <a:ea typeface="ＭＳ Ｐゴシック" pitchFamily="34" charset="-128"/>
              </a:rPr>
              <a:t>Marker</a:t>
            </a:r>
          </a:p>
        </p:txBody>
      </p:sp>
      <p:sp>
        <p:nvSpPr>
          <p:cNvPr id="209922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827088" y="1844675"/>
            <a:ext cx="7129462" cy="3024188"/>
          </a:xfrm>
          <a:solidFill>
            <a:srgbClr val="FFFF99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marL="339725" lvl="1" indent="-225425" eaLnBrk="1" hangingPunct="1">
              <a:lnSpc>
                <a:spcPct val="85000"/>
              </a:lnSpc>
              <a:buFontTx/>
              <a:buNone/>
            </a:pPr>
            <a:endParaRPr lang="en-GB" sz="1200" smtClean="0">
              <a:latin typeface="Arial" pitchFamily="34" charset="0"/>
              <a:ea typeface="ＭＳ Ｐゴシック" pitchFamily="34" charset="-128"/>
            </a:endParaRPr>
          </a:p>
          <a:p>
            <a:pPr marL="339725" lvl="1" indent="-225425" eaLnBrk="1" hangingPunct="1">
              <a:lnSpc>
                <a:spcPct val="85000"/>
              </a:lnSpc>
            </a:pPr>
            <a:r>
              <a:rPr lang="en-GB" sz="2400" smtClean="0">
                <a:solidFill>
                  <a:srgbClr val="FF0000"/>
                </a:solidFill>
                <a:latin typeface="Arial" pitchFamily="34" charset="0"/>
                <a:ea typeface="ＭＳ Ｐゴシック" pitchFamily="34" charset="-128"/>
              </a:rPr>
              <a:t>A laboratory, instrumental or a physical sign used as a substitute for a clinically meaningful endpoint</a:t>
            </a:r>
          </a:p>
          <a:p>
            <a:pPr marL="339725" lvl="1" indent="-225425" eaLnBrk="1" hangingPunct="1">
              <a:lnSpc>
                <a:spcPct val="85000"/>
              </a:lnSpc>
              <a:buFontTx/>
              <a:buNone/>
            </a:pPr>
            <a:endParaRPr lang="en-GB" sz="2400" smtClean="0">
              <a:latin typeface="Arial" pitchFamily="34" charset="0"/>
              <a:ea typeface="ＭＳ Ｐゴシック" pitchFamily="34" charset="-128"/>
            </a:endParaRPr>
          </a:p>
          <a:p>
            <a:pPr marL="339725" lvl="1" indent="-225425" eaLnBrk="1" hangingPunct="1">
              <a:lnSpc>
                <a:spcPct val="85000"/>
              </a:lnSpc>
            </a:pPr>
            <a:r>
              <a:rPr lang="en-GB" sz="2400" smtClean="0">
                <a:latin typeface="Arial" pitchFamily="34" charset="0"/>
                <a:ea typeface="ＭＳ Ｐゴシック" pitchFamily="34" charset="-128"/>
              </a:rPr>
              <a:t>Changes induced by a therapy on a marker endpoint are expected to reflect changes in a clinically meaningful endpoint </a:t>
            </a:r>
            <a:br>
              <a:rPr lang="en-GB" sz="2400" smtClean="0">
                <a:latin typeface="Arial" pitchFamily="34" charset="0"/>
                <a:ea typeface="ＭＳ Ｐゴシック" pitchFamily="34" charset="-128"/>
              </a:rPr>
            </a:br>
            <a:endParaRPr lang="en-GB" sz="2400" smtClean="0"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209923" name="Oval 28"/>
          <p:cNvSpPr>
            <a:spLocks noChangeArrowheads="1"/>
          </p:cNvSpPr>
          <p:nvPr/>
        </p:nvSpPr>
        <p:spPr bwMode="auto">
          <a:xfrm>
            <a:off x="7796213" y="4106863"/>
            <a:ext cx="31750" cy="4762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grpSp>
        <p:nvGrpSpPr>
          <p:cNvPr id="209924" name="Group 4"/>
          <p:cNvGrpSpPr>
            <a:grpSpLocks/>
          </p:cNvGrpSpPr>
          <p:nvPr/>
        </p:nvGrpSpPr>
        <p:grpSpPr bwMode="auto">
          <a:xfrm>
            <a:off x="7715250" y="214313"/>
            <a:ext cx="1298575" cy="681037"/>
            <a:chOff x="7500938" y="285728"/>
            <a:chExt cx="1298575" cy="681060"/>
          </a:xfrm>
        </p:grpSpPr>
        <p:pic>
          <p:nvPicPr>
            <p:cNvPr id="209925" name="Picture 6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2396" y="285728"/>
              <a:ext cx="1071590" cy="2823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9926" name="Picture 63" descr="C:\Documents and Settings\KMosley\Local Settings\Temporary Internet Files\Content.IE5\8F8TCVUH\SJMC[1].gif"/>
            <p:cNvPicPr>
              <a:picLocks noChangeAspect="1" noChangeArrowheads="1"/>
            </p:cNvPicPr>
            <p:nvPr/>
          </p:nvPicPr>
          <p:blipFill>
            <a:blip r:embed="rId4" r:link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0938" y="668338"/>
              <a:ext cx="1298575" cy="298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ransition spd="slow">
    <p:pull dir="ld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129" name="Rectangle 9"/>
          <p:cNvSpPr>
            <a:spLocks noChangeArrowheads="1"/>
          </p:cNvSpPr>
          <p:nvPr/>
        </p:nvSpPr>
        <p:spPr bwMode="auto">
          <a:xfrm>
            <a:off x="7572375" y="0"/>
            <a:ext cx="1571625" cy="64293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buFontTx/>
              <a:buNone/>
            </a:pPr>
            <a:endParaRPr lang="en-GB"/>
          </a:p>
        </p:txBody>
      </p:sp>
      <p:sp>
        <p:nvSpPr>
          <p:cNvPr id="176130" name="AutoShape 4"/>
          <p:cNvSpPr>
            <a:spLocks noChangeArrowheads="1"/>
          </p:cNvSpPr>
          <p:nvPr/>
        </p:nvSpPr>
        <p:spPr bwMode="auto">
          <a:xfrm>
            <a:off x="7115175" y="2428875"/>
            <a:ext cx="1828800" cy="1066800"/>
          </a:xfrm>
          <a:prstGeom prst="chevron">
            <a:avLst>
              <a:gd name="adj" fmla="val 42857"/>
            </a:avLst>
          </a:prstGeom>
          <a:gradFill rotWithShape="0">
            <a:gsLst>
              <a:gs pos="0">
                <a:srgbClr val="100300"/>
              </a:gs>
              <a:gs pos="50000">
                <a:srgbClr val="FF3300"/>
              </a:gs>
              <a:gs pos="100000">
                <a:srgbClr val="100300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buFontTx/>
              <a:buNone/>
            </a:pPr>
            <a:endParaRPr lang="en-GB"/>
          </a:p>
        </p:txBody>
      </p:sp>
      <p:sp>
        <p:nvSpPr>
          <p:cNvPr id="176131" name="AutoShape 5"/>
          <p:cNvSpPr>
            <a:spLocks noChangeArrowheads="1"/>
          </p:cNvSpPr>
          <p:nvPr/>
        </p:nvSpPr>
        <p:spPr bwMode="auto">
          <a:xfrm>
            <a:off x="3000375" y="2428875"/>
            <a:ext cx="1828800" cy="1066800"/>
          </a:xfrm>
          <a:prstGeom prst="chevron">
            <a:avLst>
              <a:gd name="adj" fmla="val 42857"/>
            </a:avLst>
          </a:prstGeom>
          <a:gradFill rotWithShape="0">
            <a:gsLst>
              <a:gs pos="0">
                <a:srgbClr val="100300"/>
              </a:gs>
              <a:gs pos="50000">
                <a:srgbClr val="FF3300"/>
              </a:gs>
              <a:gs pos="100000">
                <a:srgbClr val="100300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buFontTx/>
              <a:buNone/>
            </a:pPr>
            <a:endParaRPr lang="en-GB"/>
          </a:p>
        </p:txBody>
      </p:sp>
      <p:sp>
        <p:nvSpPr>
          <p:cNvPr id="176132" name="AutoShape 6"/>
          <p:cNvSpPr>
            <a:spLocks noChangeArrowheads="1"/>
          </p:cNvSpPr>
          <p:nvPr/>
        </p:nvSpPr>
        <p:spPr bwMode="auto">
          <a:xfrm>
            <a:off x="4371975" y="2428875"/>
            <a:ext cx="1828800" cy="1066800"/>
          </a:xfrm>
          <a:prstGeom prst="chevron">
            <a:avLst>
              <a:gd name="adj" fmla="val 42857"/>
            </a:avLst>
          </a:prstGeom>
          <a:gradFill rotWithShape="0">
            <a:gsLst>
              <a:gs pos="0">
                <a:srgbClr val="100300"/>
              </a:gs>
              <a:gs pos="50000">
                <a:srgbClr val="FF3300"/>
              </a:gs>
              <a:gs pos="100000">
                <a:srgbClr val="100300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buFontTx/>
              <a:buNone/>
            </a:pPr>
            <a:endParaRPr lang="en-GB"/>
          </a:p>
        </p:txBody>
      </p:sp>
      <p:sp>
        <p:nvSpPr>
          <p:cNvPr id="176133" name="AutoShape 7"/>
          <p:cNvSpPr>
            <a:spLocks noChangeArrowheads="1"/>
          </p:cNvSpPr>
          <p:nvPr/>
        </p:nvSpPr>
        <p:spPr bwMode="auto">
          <a:xfrm>
            <a:off x="5741988" y="2428875"/>
            <a:ext cx="1828800" cy="1066800"/>
          </a:xfrm>
          <a:prstGeom prst="chevron">
            <a:avLst>
              <a:gd name="adj" fmla="val 42857"/>
            </a:avLst>
          </a:prstGeom>
          <a:gradFill rotWithShape="0">
            <a:gsLst>
              <a:gs pos="0">
                <a:srgbClr val="100300"/>
              </a:gs>
              <a:gs pos="50000">
                <a:srgbClr val="FF3300"/>
              </a:gs>
              <a:gs pos="100000">
                <a:srgbClr val="100300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buFontTx/>
              <a:buNone/>
            </a:pPr>
            <a:endParaRPr lang="en-GB"/>
          </a:p>
        </p:txBody>
      </p:sp>
      <p:sp>
        <p:nvSpPr>
          <p:cNvPr id="16" name="AutoShape 8"/>
          <p:cNvSpPr>
            <a:spLocks noChangeArrowheads="1"/>
          </p:cNvSpPr>
          <p:nvPr/>
        </p:nvSpPr>
        <p:spPr bwMode="auto">
          <a:xfrm>
            <a:off x="1628775" y="2428875"/>
            <a:ext cx="1828800" cy="1066800"/>
          </a:xfrm>
          <a:prstGeom prst="chevron">
            <a:avLst>
              <a:gd name="adj" fmla="val 42857"/>
            </a:avLst>
          </a:prstGeom>
          <a:gradFill rotWithShape="0">
            <a:gsLst>
              <a:gs pos="0">
                <a:schemeClr val="tx2"/>
              </a:gs>
              <a:gs pos="50000">
                <a:schemeClr val="tx2">
                  <a:gamma/>
                  <a:tint val="0"/>
                  <a:invGamma/>
                </a:schemeClr>
              </a:gs>
              <a:gs pos="100000">
                <a:schemeClr val="tx2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buFontTx/>
              <a:buNone/>
              <a:defRPr/>
            </a:pPr>
            <a:endParaRPr lang="en-GB">
              <a:latin typeface="Arial" charset="0"/>
              <a:ea typeface="+mn-ea"/>
            </a:endParaRPr>
          </a:p>
        </p:txBody>
      </p:sp>
      <p:sp>
        <p:nvSpPr>
          <p:cNvPr id="176135" name="Text Box 9"/>
          <p:cNvSpPr txBox="1">
            <a:spLocks noChangeArrowheads="1"/>
          </p:cNvSpPr>
          <p:nvPr/>
        </p:nvSpPr>
        <p:spPr bwMode="auto">
          <a:xfrm>
            <a:off x="2028825" y="2671763"/>
            <a:ext cx="1143000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buFontTx/>
              <a:buNone/>
            </a:pPr>
            <a:r>
              <a:rPr lang="en-GB" sz="1600" b="1"/>
              <a:t>Target to Lead</a:t>
            </a:r>
          </a:p>
        </p:txBody>
      </p:sp>
      <p:sp>
        <p:nvSpPr>
          <p:cNvPr id="176136" name="Text Box 10"/>
          <p:cNvSpPr txBox="1">
            <a:spLocks noChangeArrowheads="1"/>
          </p:cNvSpPr>
          <p:nvPr/>
        </p:nvSpPr>
        <p:spPr bwMode="auto">
          <a:xfrm>
            <a:off x="3238500" y="2671763"/>
            <a:ext cx="1600200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buFontTx/>
              <a:buNone/>
            </a:pPr>
            <a:r>
              <a:rPr lang="en-GB" sz="1600" b="1">
                <a:solidFill>
                  <a:srgbClr val="FFFF00"/>
                </a:solidFill>
              </a:rPr>
              <a:t>Lead to Candidate</a:t>
            </a:r>
          </a:p>
        </p:txBody>
      </p:sp>
      <p:sp>
        <p:nvSpPr>
          <p:cNvPr id="176137" name="Text Box 11"/>
          <p:cNvSpPr txBox="1">
            <a:spLocks noChangeArrowheads="1"/>
          </p:cNvSpPr>
          <p:nvPr/>
        </p:nvSpPr>
        <p:spPr bwMode="auto">
          <a:xfrm>
            <a:off x="4752975" y="2671763"/>
            <a:ext cx="129540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buFontTx/>
              <a:buNone/>
            </a:pPr>
            <a:r>
              <a:rPr lang="en-GB" sz="1600" b="1">
                <a:solidFill>
                  <a:srgbClr val="FFFF00"/>
                </a:solidFill>
              </a:rPr>
              <a:t>Safety</a:t>
            </a:r>
          </a:p>
          <a:p>
            <a:pPr>
              <a:buFontTx/>
              <a:buNone/>
            </a:pPr>
            <a:r>
              <a:rPr lang="en-GB" sz="1600" b="1">
                <a:solidFill>
                  <a:srgbClr val="FFFF00"/>
                </a:solidFill>
              </a:rPr>
              <a:t>&amp; Develop</a:t>
            </a:r>
          </a:p>
        </p:txBody>
      </p:sp>
      <p:sp>
        <p:nvSpPr>
          <p:cNvPr id="176138" name="Text Box 12"/>
          <p:cNvSpPr txBox="1">
            <a:spLocks noChangeArrowheads="1"/>
          </p:cNvSpPr>
          <p:nvPr/>
        </p:nvSpPr>
        <p:spPr bwMode="auto">
          <a:xfrm>
            <a:off x="6429375" y="2794000"/>
            <a:ext cx="89535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buFontTx/>
              <a:buNone/>
            </a:pPr>
            <a:r>
              <a:rPr lang="en-GB" sz="1600" b="1">
                <a:solidFill>
                  <a:srgbClr val="FFFF00"/>
                </a:solidFill>
              </a:rPr>
              <a:t>Phase I</a:t>
            </a:r>
          </a:p>
        </p:txBody>
      </p:sp>
      <p:sp>
        <p:nvSpPr>
          <p:cNvPr id="176139" name="Text Box 13"/>
          <p:cNvSpPr txBox="1">
            <a:spLocks noChangeArrowheads="1"/>
          </p:cNvSpPr>
          <p:nvPr/>
        </p:nvSpPr>
        <p:spPr bwMode="auto">
          <a:xfrm>
            <a:off x="7724775" y="2797175"/>
            <a:ext cx="623888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buFontTx/>
              <a:buNone/>
            </a:pPr>
            <a:r>
              <a:rPr lang="en-GB" sz="1600" b="1">
                <a:solidFill>
                  <a:srgbClr val="FFFF00"/>
                </a:solidFill>
              </a:rPr>
              <a:t>POC</a:t>
            </a:r>
          </a:p>
        </p:txBody>
      </p:sp>
      <p:sp>
        <p:nvSpPr>
          <p:cNvPr id="22" name="AutoShape 23"/>
          <p:cNvSpPr>
            <a:spLocks noChangeArrowheads="1"/>
          </p:cNvSpPr>
          <p:nvPr/>
        </p:nvSpPr>
        <p:spPr bwMode="auto">
          <a:xfrm>
            <a:off x="292100" y="2428875"/>
            <a:ext cx="1828800" cy="1066800"/>
          </a:xfrm>
          <a:prstGeom prst="chevron">
            <a:avLst>
              <a:gd name="adj" fmla="val 42857"/>
            </a:avLst>
          </a:prstGeom>
          <a:gradFill rotWithShape="0">
            <a:gsLst>
              <a:gs pos="0">
                <a:schemeClr val="tx2"/>
              </a:gs>
              <a:gs pos="50000">
                <a:schemeClr val="tx2">
                  <a:gamma/>
                  <a:tint val="0"/>
                  <a:invGamma/>
                </a:schemeClr>
              </a:gs>
              <a:gs pos="100000">
                <a:schemeClr val="tx2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buFontTx/>
              <a:buNone/>
              <a:defRPr/>
            </a:pPr>
            <a:r>
              <a:rPr lang="en-GB" sz="1600" b="1" dirty="0">
                <a:latin typeface="Arial" charset="0"/>
                <a:ea typeface="+mn-ea"/>
              </a:rPr>
              <a:t>Gene </a:t>
            </a:r>
          </a:p>
          <a:p>
            <a:pPr>
              <a:buFontTx/>
              <a:buNone/>
              <a:defRPr/>
            </a:pPr>
            <a:r>
              <a:rPr lang="en-GB" sz="1600" b="1" dirty="0">
                <a:latin typeface="Arial" charset="0"/>
                <a:ea typeface="+mn-ea"/>
              </a:rPr>
              <a:t>to target</a:t>
            </a:r>
          </a:p>
        </p:txBody>
      </p:sp>
      <p:sp>
        <p:nvSpPr>
          <p:cNvPr id="176141" name="AutoShape 4"/>
          <p:cNvSpPr>
            <a:spLocks noChangeArrowheads="1"/>
          </p:cNvSpPr>
          <p:nvPr/>
        </p:nvSpPr>
        <p:spPr bwMode="auto">
          <a:xfrm>
            <a:off x="5529263" y="4214813"/>
            <a:ext cx="1828800" cy="1066800"/>
          </a:xfrm>
          <a:prstGeom prst="chevron">
            <a:avLst>
              <a:gd name="adj" fmla="val 42857"/>
            </a:avLst>
          </a:prstGeom>
          <a:gradFill rotWithShape="0">
            <a:gsLst>
              <a:gs pos="0">
                <a:srgbClr val="100300"/>
              </a:gs>
              <a:gs pos="50000">
                <a:srgbClr val="FF3300"/>
              </a:gs>
              <a:gs pos="100000">
                <a:srgbClr val="100300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buFontTx/>
              <a:buNone/>
            </a:pPr>
            <a:endParaRPr lang="en-GB"/>
          </a:p>
        </p:txBody>
      </p:sp>
      <p:sp>
        <p:nvSpPr>
          <p:cNvPr id="176142" name="AutoShape 5"/>
          <p:cNvSpPr>
            <a:spLocks noChangeArrowheads="1"/>
          </p:cNvSpPr>
          <p:nvPr/>
        </p:nvSpPr>
        <p:spPr bwMode="auto">
          <a:xfrm>
            <a:off x="1414463" y="4214813"/>
            <a:ext cx="1828800" cy="1066800"/>
          </a:xfrm>
          <a:prstGeom prst="chevron">
            <a:avLst>
              <a:gd name="adj" fmla="val 42857"/>
            </a:avLst>
          </a:prstGeom>
          <a:gradFill rotWithShape="0">
            <a:gsLst>
              <a:gs pos="0">
                <a:srgbClr val="100300"/>
              </a:gs>
              <a:gs pos="50000">
                <a:srgbClr val="FF3300"/>
              </a:gs>
              <a:gs pos="100000">
                <a:srgbClr val="100300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buFontTx/>
              <a:buNone/>
            </a:pPr>
            <a:endParaRPr lang="en-GB"/>
          </a:p>
        </p:txBody>
      </p:sp>
      <p:sp>
        <p:nvSpPr>
          <p:cNvPr id="176143" name="AutoShape 6"/>
          <p:cNvSpPr>
            <a:spLocks noChangeArrowheads="1"/>
          </p:cNvSpPr>
          <p:nvPr/>
        </p:nvSpPr>
        <p:spPr bwMode="auto">
          <a:xfrm>
            <a:off x="2786063" y="4214813"/>
            <a:ext cx="1828800" cy="1066800"/>
          </a:xfrm>
          <a:prstGeom prst="chevron">
            <a:avLst>
              <a:gd name="adj" fmla="val 42857"/>
            </a:avLst>
          </a:prstGeom>
          <a:gradFill rotWithShape="0">
            <a:gsLst>
              <a:gs pos="0">
                <a:srgbClr val="100300"/>
              </a:gs>
              <a:gs pos="50000">
                <a:srgbClr val="FF3300"/>
              </a:gs>
              <a:gs pos="100000">
                <a:srgbClr val="100300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buFontTx/>
              <a:buNone/>
            </a:pPr>
            <a:endParaRPr lang="en-GB"/>
          </a:p>
        </p:txBody>
      </p:sp>
      <p:sp>
        <p:nvSpPr>
          <p:cNvPr id="176144" name="AutoShape 7"/>
          <p:cNvSpPr>
            <a:spLocks noChangeArrowheads="1"/>
          </p:cNvSpPr>
          <p:nvPr/>
        </p:nvSpPr>
        <p:spPr bwMode="auto">
          <a:xfrm>
            <a:off x="4156075" y="4214813"/>
            <a:ext cx="1828800" cy="1066800"/>
          </a:xfrm>
          <a:prstGeom prst="chevron">
            <a:avLst>
              <a:gd name="adj" fmla="val 42857"/>
            </a:avLst>
          </a:prstGeom>
          <a:gradFill rotWithShape="0">
            <a:gsLst>
              <a:gs pos="0">
                <a:srgbClr val="100300"/>
              </a:gs>
              <a:gs pos="50000">
                <a:srgbClr val="FF3300"/>
              </a:gs>
              <a:gs pos="100000">
                <a:srgbClr val="100300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buFontTx/>
              <a:buNone/>
            </a:pPr>
            <a:endParaRPr lang="en-GB"/>
          </a:p>
        </p:txBody>
      </p:sp>
      <p:sp>
        <p:nvSpPr>
          <p:cNvPr id="176145" name="Text Box 10"/>
          <p:cNvSpPr txBox="1">
            <a:spLocks noChangeArrowheads="1"/>
          </p:cNvSpPr>
          <p:nvPr/>
        </p:nvSpPr>
        <p:spPr bwMode="auto">
          <a:xfrm>
            <a:off x="1652588" y="4457700"/>
            <a:ext cx="16002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buFontTx/>
              <a:buNone/>
            </a:pPr>
            <a:r>
              <a:rPr lang="en-GB" sz="1600" b="1">
                <a:solidFill>
                  <a:srgbClr val="FFFF00"/>
                </a:solidFill>
              </a:rPr>
              <a:t>Phase II</a:t>
            </a:r>
          </a:p>
        </p:txBody>
      </p:sp>
      <p:sp>
        <p:nvSpPr>
          <p:cNvPr id="176146" name="Text Box 11"/>
          <p:cNvSpPr txBox="1">
            <a:spLocks noChangeArrowheads="1"/>
          </p:cNvSpPr>
          <p:nvPr/>
        </p:nvSpPr>
        <p:spPr bwMode="auto">
          <a:xfrm>
            <a:off x="3167063" y="4457700"/>
            <a:ext cx="12954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buFontTx/>
              <a:buNone/>
            </a:pPr>
            <a:r>
              <a:rPr lang="en-GB" sz="1600" b="1">
                <a:solidFill>
                  <a:srgbClr val="FFFF00"/>
                </a:solidFill>
              </a:rPr>
              <a:t>Phase III</a:t>
            </a:r>
          </a:p>
        </p:txBody>
      </p:sp>
      <p:sp>
        <p:nvSpPr>
          <p:cNvPr id="176147" name="Text Box 12"/>
          <p:cNvSpPr txBox="1">
            <a:spLocks noChangeArrowheads="1"/>
          </p:cNvSpPr>
          <p:nvPr/>
        </p:nvSpPr>
        <p:spPr bwMode="auto">
          <a:xfrm>
            <a:off x="4500563" y="4429125"/>
            <a:ext cx="1382712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buFontTx/>
              <a:buNone/>
            </a:pPr>
            <a:r>
              <a:rPr lang="en-GB" sz="1600" b="1">
                <a:solidFill>
                  <a:srgbClr val="FFFF00"/>
                </a:solidFill>
              </a:rPr>
              <a:t>Registration</a:t>
            </a:r>
          </a:p>
        </p:txBody>
      </p:sp>
      <p:sp>
        <p:nvSpPr>
          <p:cNvPr id="176148" name="Text Box 13"/>
          <p:cNvSpPr txBox="1">
            <a:spLocks noChangeArrowheads="1"/>
          </p:cNvSpPr>
          <p:nvPr/>
        </p:nvSpPr>
        <p:spPr bwMode="auto">
          <a:xfrm>
            <a:off x="5921375" y="4429125"/>
            <a:ext cx="105568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buFontTx/>
              <a:buNone/>
            </a:pPr>
            <a:r>
              <a:rPr lang="en-GB" sz="1600" b="1">
                <a:solidFill>
                  <a:srgbClr val="FFFF00"/>
                </a:solidFill>
              </a:rPr>
              <a:t>Phase IV</a:t>
            </a:r>
          </a:p>
        </p:txBody>
      </p:sp>
      <p:sp>
        <p:nvSpPr>
          <p:cNvPr id="176149" name="TextBox 31"/>
          <p:cNvSpPr txBox="1">
            <a:spLocks noChangeArrowheads="1"/>
          </p:cNvSpPr>
          <p:nvPr/>
        </p:nvSpPr>
        <p:spPr bwMode="auto">
          <a:xfrm>
            <a:off x="3132138" y="1773238"/>
            <a:ext cx="1633537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buFontTx/>
              <a:buNone/>
            </a:pPr>
            <a:r>
              <a:rPr lang="en-GB" sz="2000">
                <a:solidFill>
                  <a:srgbClr val="000000"/>
                </a:solidFill>
              </a:rPr>
              <a:t>Pre-IND/IMP</a:t>
            </a:r>
          </a:p>
        </p:txBody>
      </p:sp>
      <p:sp>
        <p:nvSpPr>
          <p:cNvPr id="176150" name="TextBox 32"/>
          <p:cNvSpPr txBox="1">
            <a:spLocks noChangeArrowheads="1"/>
          </p:cNvSpPr>
          <p:nvPr/>
        </p:nvSpPr>
        <p:spPr bwMode="auto">
          <a:xfrm>
            <a:off x="5724525" y="1773238"/>
            <a:ext cx="274478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buFontTx/>
              <a:buNone/>
            </a:pPr>
            <a:r>
              <a:rPr lang="en-GB" sz="2000">
                <a:solidFill>
                  <a:srgbClr val="000000"/>
                </a:solidFill>
              </a:rPr>
              <a:t>IND/IMP (MHRA-FDA)</a:t>
            </a:r>
          </a:p>
        </p:txBody>
      </p:sp>
      <p:pic>
        <p:nvPicPr>
          <p:cNvPr id="176151" name="Picture 6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60350"/>
            <a:ext cx="1690687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6152" name="Rectangle 17"/>
          <p:cNvSpPr>
            <a:spLocks noChangeArrowheads="1"/>
          </p:cNvSpPr>
          <p:nvPr/>
        </p:nvSpPr>
        <p:spPr bwMode="auto">
          <a:xfrm>
            <a:off x="1766888" y="260350"/>
            <a:ext cx="4289425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buFontTx/>
              <a:buNone/>
            </a:pPr>
            <a:r>
              <a:rPr lang="en-GB" sz="3600" b="1">
                <a:solidFill>
                  <a:srgbClr val="FF0000"/>
                </a:solidFill>
              </a:rPr>
              <a:t>Drug Development</a:t>
            </a:r>
          </a:p>
        </p:txBody>
      </p:sp>
      <p:sp>
        <p:nvSpPr>
          <p:cNvPr id="176153" name="TextBox 1"/>
          <p:cNvSpPr txBox="1">
            <a:spLocks noChangeArrowheads="1"/>
          </p:cNvSpPr>
          <p:nvPr/>
        </p:nvSpPr>
        <p:spPr bwMode="auto">
          <a:xfrm>
            <a:off x="4427538" y="3644900"/>
            <a:ext cx="13525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buFontTx/>
              <a:buNone/>
            </a:pPr>
            <a:r>
              <a:rPr lang="en-GB" sz="2000">
                <a:solidFill>
                  <a:srgbClr val="000000"/>
                </a:solidFill>
              </a:rPr>
              <a:t>EMA-FDA</a:t>
            </a:r>
            <a:endParaRPr lang="en-US" sz="2000"/>
          </a:p>
        </p:txBody>
      </p:sp>
    </p:spTree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969" name="Rectangle 2"/>
          <p:cNvSpPr>
            <a:spLocks noGrp="1" noChangeArrowheads="1"/>
          </p:cNvSpPr>
          <p:nvPr>
            <p:ph type="title"/>
          </p:nvPr>
        </p:nvSpPr>
        <p:spPr>
          <a:xfrm>
            <a:off x="2987675" y="260350"/>
            <a:ext cx="3327400" cy="719138"/>
          </a:xfrm>
        </p:spPr>
        <p:txBody>
          <a:bodyPr anchor="t"/>
          <a:lstStyle/>
          <a:p>
            <a:pPr eaLnBrk="1" hangingPunct="1"/>
            <a:r>
              <a:rPr lang="en-GB" sz="2800" b="1" smtClean="0">
                <a:solidFill>
                  <a:srgbClr val="0000CC"/>
                </a:solidFill>
                <a:latin typeface="Arial" pitchFamily="34" charset="0"/>
                <a:ea typeface="ＭＳ Ｐゴシック" pitchFamily="34" charset="-128"/>
              </a:rPr>
              <a:t>Marker Definitions</a:t>
            </a:r>
          </a:p>
        </p:txBody>
      </p:sp>
      <p:sp>
        <p:nvSpPr>
          <p:cNvPr id="211970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500063" y="1071563"/>
            <a:ext cx="8215312" cy="5211762"/>
          </a:xfrm>
          <a:solidFill>
            <a:srgbClr val="FFFF99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marL="0" indent="0" eaLnBrk="1" hangingPunct="1">
              <a:buFont typeface="Wingdings" pitchFamily="2" charset="2"/>
              <a:buChar char="Ø"/>
            </a:pPr>
            <a:r>
              <a:rPr lang="en-GB" sz="2400" smtClean="0">
                <a:solidFill>
                  <a:srgbClr val="FF3300"/>
                </a:solidFill>
                <a:latin typeface="Arial" pitchFamily="34" charset="0"/>
                <a:ea typeface="ＭＳ Ｐゴシック" pitchFamily="34" charset="-128"/>
              </a:rPr>
              <a:t>Biomarker:</a:t>
            </a:r>
            <a:endParaRPr lang="en-GB" sz="2400" smtClean="0">
              <a:latin typeface="Arial" pitchFamily="34" charset="0"/>
              <a:ea typeface="ＭＳ Ｐゴシック" pitchFamily="34" charset="-128"/>
            </a:endParaRPr>
          </a:p>
          <a:p>
            <a:pPr marL="339725" lvl="1" indent="-225425" eaLnBrk="1" hangingPunct="1">
              <a:buFont typeface="Wingdings" pitchFamily="2" charset="2"/>
              <a:buNone/>
            </a:pPr>
            <a:r>
              <a:rPr lang="en-GB" sz="2400" smtClean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	Measure of normal biologic or pathogenic processes or response to treatment</a:t>
            </a:r>
          </a:p>
          <a:p>
            <a:pPr marL="0" indent="0" eaLnBrk="1" hangingPunct="1">
              <a:buFont typeface="Wingdings" pitchFamily="2" charset="2"/>
              <a:buChar char="Ø"/>
            </a:pPr>
            <a:r>
              <a:rPr lang="en-GB" sz="2400" smtClean="0">
                <a:solidFill>
                  <a:srgbClr val="FF3300"/>
                </a:solidFill>
                <a:latin typeface="Arial" pitchFamily="34" charset="0"/>
                <a:ea typeface="ＭＳ Ｐゴシック" pitchFamily="34" charset="-128"/>
              </a:rPr>
              <a:t>Diagnostic marker:</a:t>
            </a:r>
            <a:endParaRPr lang="en-GB" sz="2400" smtClean="0">
              <a:latin typeface="Arial" pitchFamily="34" charset="0"/>
              <a:ea typeface="ＭＳ Ｐゴシック" pitchFamily="34" charset="-128"/>
            </a:endParaRPr>
          </a:p>
          <a:p>
            <a:pPr marL="339725" lvl="1" indent="-225425" eaLnBrk="1" hangingPunct="1">
              <a:buFont typeface="Wingdings" pitchFamily="2" charset="2"/>
              <a:buNone/>
            </a:pPr>
            <a:r>
              <a:rPr lang="en-GB" sz="2400" smtClean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	Measure which determines the presence or absence of a specific disease. </a:t>
            </a:r>
          </a:p>
          <a:p>
            <a:pPr marL="0" indent="0" eaLnBrk="1" hangingPunct="1">
              <a:buFont typeface="Wingdings" pitchFamily="2" charset="2"/>
              <a:buChar char="Ø"/>
            </a:pPr>
            <a:r>
              <a:rPr lang="en-GB" sz="2400" smtClean="0">
                <a:solidFill>
                  <a:srgbClr val="FF3300"/>
                </a:solidFill>
                <a:latin typeface="Arial" pitchFamily="34" charset="0"/>
                <a:ea typeface="ＭＳ Ｐゴシック" pitchFamily="34" charset="-128"/>
              </a:rPr>
              <a:t>Prognostic marker:</a:t>
            </a:r>
            <a:endParaRPr lang="en-GB" sz="2400" b="1" smtClean="0">
              <a:latin typeface="Arial" pitchFamily="34" charset="0"/>
              <a:ea typeface="ＭＳ Ｐゴシック" pitchFamily="34" charset="-128"/>
            </a:endParaRPr>
          </a:p>
          <a:p>
            <a:pPr marL="339725" lvl="1" indent="-225425" eaLnBrk="1" hangingPunct="1">
              <a:buFont typeface="Wingdings" pitchFamily="2" charset="2"/>
              <a:buNone/>
            </a:pPr>
            <a:r>
              <a:rPr lang="en-GB" sz="2400" smtClean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	Measure which indicates the likely progression of a specific disease, independent of treatment.</a:t>
            </a:r>
          </a:p>
          <a:p>
            <a:pPr marL="0" indent="0" eaLnBrk="1" hangingPunct="1">
              <a:buFont typeface="Wingdings" pitchFamily="2" charset="2"/>
              <a:buChar char="Ø"/>
            </a:pPr>
            <a:r>
              <a:rPr lang="en-GB" sz="2400" smtClean="0">
                <a:solidFill>
                  <a:srgbClr val="FF3300"/>
                </a:solidFill>
                <a:latin typeface="Arial" pitchFamily="34" charset="0"/>
                <a:ea typeface="ＭＳ Ｐゴシック" pitchFamily="34" charset="-128"/>
              </a:rPr>
              <a:t>Surrogate marker</a:t>
            </a:r>
            <a:endParaRPr lang="en-GB" sz="2400" smtClean="0">
              <a:latin typeface="Arial" pitchFamily="34" charset="0"/>
              <a:ea typeface="ＭＳ Ｐゴシック" pitchFamily="34" charset="-128"/>
            </a:endParaRPr>
          </a:p>
          <a:p>
            <a:pPr marL="339725" lvl="1" indent="-225425" eaLnBrk="1" hangingPunct="1">
              <a:buFontTx/>
              <a:buNone/>
            </a:pPr>
            <a:r>
              <a:rPr lang="en-GB" sz="2400" smtClean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	Measure used as a true substitute of the clinically meaningful endpoint</a:t>
            </a:r>
          </a:p>
        </p:txBody>
      </p:sp>
      <p:cxnSp>
        <p:nvCxnSpPr>
          <p:cNvPr id="211971" name="Straight Connector 4"/>
          <p:cNvCxnSpPr>
            <a:cxnSpLocks noChangeShapeType="1"/>
          </p:cNvCxnSpPr>
          <p:nvPr/>
        </p:nvCxnSpPr>
        <p:spPr bwMode="auto">
          <a:xfrm>
            <a:off x="0" y="836613"/>
            <a:ext cx="91440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211972" name="Picture 6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60350"/>
            <a:ext cx="1690687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>
    <p:pull dir="ld"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4017" name="Group 2"/>
          <p:cNvGrpSpPr>
            <a:grpSpLocks/>
          </p:cNvGrpSpPr>
          <p:nvPr/>
        </p:nvGrpSpPr>
        <p:grpSpPr bwMode="auto">
          <a:xfrm>
            <a:off x="179388" y="908050"/>
            <a:ext cx="8785225" cy="3889375"/>
            <a:chOff x="113" y="663"/>
            <a:chExt cx="5534" cy="3221"/>
          </a:xfrm>
        </p:grpSpPr>
        <p:sp>
          <p:nvSpPr>
            <p:cNvPr id="214022" name="Rectangle 3"/>
            <p:cNvSpPr>
              <a:spLocks noChangeArrowheads="1"/>
            </p:cNvSpPr>
            <p:nvPr/>
          </p:nvSpPr>
          <p:spPr bwMode="auto">
            <a:xfrm>
              <a:off x="113" y="663"/>
              <a:ext cx="5534" cy="3221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spcBef>
                  <a:spcPct val="0"/>
                </a:spcBef>
                <a:buFontTx/>
                <a:buNone/>
              </a:pPr>
              <a:endParaRPr lang="en-US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14023" name="Rectangle 4"/>
            <p:cNvSpPr>
              <a:spLocks noChangeArrowheads="1"/>
            </p:cNvSpPr>
            <p:nvPr/>
          </p:nvSpPr>
          <p:spPr bwMode="auto">
            <a:xfrm>
              <a:off x="158" y="799"/>
              <a:ext cx="5489" cy="2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1371600" lvl="2" indent="-457200" algn="l">
                <a:lnSpc>
                  <a:spcPct val="95000"/>
                </a:lnSpc>
                <a:spcBef>
                  <a:spcPct val="25000"/>
                </a:spcBef>
                <a:buClr>
                  <a:srgbClr val="000000"/>
                </a:buClr>
                <a:buFontTx/>
                <a:buNone/>
              </a:pPr>
              <a:r>
                <a:rPr lang="en-US" sz="1600">
                  <a:solidFill>
                    <a:srgbClr val="0000FF"/>
                  </a:solidFill>
                  <a:cs typeface="Arial" pitchFamily="34" charset="0"/>
                </a:rPr>
                <a:t>			</a:t>
              </a:r>
              <a:endParaRPr lang="en-US" sz="1200">
                <a:solidFill>
                  <a:srgbClr val="0000FF"/>
                </a:solidFill>
                <a:cs typeface="Arial" pitchFamily="34" charset="0"/>
              </a:endParaRPr>
            </a:p>
            <a:p>
              <a:pPr marL="914400" lvl="1" indent="-457200" algn="l">
                <a:spcBef>
                  <a:spcPct val="0"/>
                </a:spcBef>
                <a:buClr>
                  <a:srgbClr val="003366"/>
                </a:buClr>
                <a:buFontTx/>
                <a:buNone/>
              </a:pPr>
              <a:endParaRPr lang="en-GB" sz="1200">
                <a:solidFill>
                  <a:srgbClr val="FF3300"/>
                </a:solidFill>
                <a:cs typeface="Arial" pitchFamily="34" charset="0"/>
              </a:endParaRPr>
            </a:p>
            <a:p>
              <a:pPr marL="457200" indent="-457200" algn="l">
                <a:spcBef>
                  <a:spcPct val="0"/>
                </a:spcBef>
                <a:spcAft>
                  <a:spcPct val="20000"/>
                </a:spcAft>
                <a:buClr>
                  <a:srgbClr val="3333CC"/>
                </a:buClr>
                <a:buFontTx/>
                <a:buNone/>
              </a:pPr>
              <a:endParaRPr lang="en-GB" sz="12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214018" name="Rectangle 5"/>
          <p:cNvSpPr>
            <a:spLocks noChangeArrowheads="1"/>
          </p:cNvSpPr>
          <p:nvPr/>
        </p:nvSpPr>
        <p:spPr bwMode="auto">
          <a:xfrm>
            <a:off x="323850" y="1412875"/>
            <a:ext cx="8642350" cy="304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l">
              <a:spcBef>
                <a:spcPct val="0"/>
              </a:spcBef>
              <a:buFontTx/>
              <a:buNone/>
            </a:pPr>
            <a:r>
              <a:rPr lang="en-GB" sz="2400">
                <a:solidFill>
                  <a:srgbClr val="FF3300"/>
                </a:solidFill>
                <a:cs typeface="Arial" pitchFamily="34" charset="0"/>
              </a:rPr>
              <a:t>Surrogate Markers </a:t>
            </a:r>
            <a:r>
              <a:rPr lang="en-GB" sz="2400">
                <a:solidFill>
                  <a:srgbClr val="000000"/>
                </a:solidFill>
                <a:cs typeface="Arial" pitchFamily="34" charset="0"/>
              </a:rPr>
              <a:t>correlate to the causal pathway of the </a:t>
            </a:r>
          </a:p>
          <a:p>
            <a:pPr algn="l">
              <a:spcBef>
                <a:spcPct val="0"/>
              </a:spcBef>
              <a:buFontTx/>
              <a:buNone/>
            </a:pPr>
            <a:endParaRPr lang="en-GB" sz="2400">
              <a:solidFill>
                <a:srgbClr val="000000"/>
              </a:solidFill>
              <a:cs typeface="Arial" pitchFamily="34" charset="0"/>
            </a:endParaRPr>
          </a:p>
          <a:p>
            <a:pPr algn="l">
              <a:spcBef>
                <a:spcPct val="0"/>
              </a:spcBef>
              <a:buFontTx/>
              <a:buNone/>
            </a:pPr>
            <a:r>
              <a:rPr lang="en-GB" sz="2400">
                <a:solidFill>
                  <a:srgbClr val="FF3300"/>
                </a:solidFill>
                <a:cs typeface="Arial" pitchFamily="34" charset="0"/>
              </a:rPr>
              <a:t>Pharmacodynamic markers (biomarkers</a:t>
            </a:r>
            <a:r>
              <a:rPr lang="en-GB" sz="2400">
                <a:solidFill>
                  <a:srgbClr val="FF0000"/>
                </a:solidFill>
                <a:cs typeface="Arial" pitchFamily="34" charset="0"/>
              </a:rPr>
              <a:t>) </a:t>
            </a:r>
            <a:r>
              <a:rPr lang="en-GB" sz="2400">
                <a:solidFill>
                  <a:srgbClr val="000000"/>
                </a:solidFill>
                <a:cs typeface="Arial" pitchFamily="34" charset="0"/>
              </a:rPr>
              <a:t>recognise the mechanism of action of the potential new therapy</a:t>
            </a:r>
          </a:p>
          <a:p>
            <a:pPr algn="l">
              <a:spcBef>
                <a:spcPct val="0"/>
              </a:spcBef>
              <a:buFontTx/>
              <a:buNone/>
            </a:pPr>
            <a:endParaRPr lang="en-GB" sz="2400">
              <a:solidFill>
                <a:srgbClr val="FF3300"/>
              </a:solidFill>
              <a:cs typeface="Arial" pitchFamily="34" charset="0"/>
            </a:endParaRPr>
          </a:p>
          <a:p>
            <a:pPr algn="l">
              <a:spcBef>
                <a:spcPct val="0"/>
              </a:spcBef>
              <a:buFontTx/>
              <a:buNone/>
            </a:pPr>
            <a:r>
              <a:rPr lang="en-GB" sz="2400">
                <a:solidFill>
                  <a:srgbClr val="000090"/>
                </a:solidFill>
                <a:cs typeface="Arial" pitchFamily="34" charset="0"/>
              </a:rPr>
              <a:t>The relation between marker endpoint and intervention should always have biologically plausible explanations </a:t>
            </a:r>
          </a:p>
          <a:p>
            <a:pPr algn="l">
              <a:spcBef>
                <a:spcPct val="0"/>
              </a:spcBef>
              <a:buFontTx/>
              <a:buNone/>
            </a:pPr>
            <a:endParaRPr lang="en-GB" sz="2400">
              <a:solidFill>
                <a:srgbClr val="000090"/>
              </a:solidFill>
              <a:cs typeface="Arial" pitchFamily="34" charset="0"/>
            </a:endParaRPr>
          </a:p>
        </p:txBody>
      </p:sp>
      <p:sp>
        <p:nvSpPr>
          <p:cNvPr id="214019" name="Rectangle 6"/>
          <p:cNvSpPr>
            <a:spLocks noChangeArrowheads="1"/>
          </p:cNvSpPr>
          <p:nvPr/>
        </p:nvSpPr>
        <p:spPr bwMode="auto">
          <a:xfrm>
            <a:off x="1835150" y="260350"/>
            <a:ext cx="50212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l">
              <a:lnSpc>
                <a:spcPct val="95000"/>
              </a:lnSpc>
              <a:spcBef>
                <a:spcPct val="25000"/>
              </a:spcBef>
              <a:buClr>
                <a:srgbClr val="000000"/>
              </a:buClr>
              <a:buFontTx/>
              <a:buNone/>
            </a:pPr>
            <a:r>
              <a:rPr lang="en-US" b="1">
                <a:solidFill>
                  <a:srgbClr val="0000CC"/>
                </a:solidFill>
                <a:cs typeface="Arial" pitchFamily="34" charset="0"/>
              </a:rPr>
              <a:t>Proof-of-Mechanism studies</a:t>
            </a:r>
          </a:p>
        </p:txBody>
      </p:sp>
      <p:cxnSp>
        <p:nvCxnSpPr>
          <p:cNvPr id="214020" name="Straight Connector 7"/>
          <p:cNvCxnSpPr>
            <a:cxnSpLocks noChangeShapeType="1"/>
          </p:cNvCxnSpPr>
          <p:nvPr/>
        </p:nvCxnSpPr>
        <p:spPr bwMode="auto">
          <a:xfrm>
            <a:off x="0" y="908050"/>
            <a:ext cx="91440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214021" name="Picture 6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60350"/>
            <a:ext cx="1690687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5041" name="Group 2"/>
          <p:cNvGrpSpPr>
            <a:grpSpLocks/>
          </p:cNvGrpSpPr>
          <p:nvPr/>
        </p:nvGrpSpPr>
        <p:grpSpPr bwMode="auto">
          <a:xfrm>
            <a:off x="250825" y="1196975"/>
            <a:ext cx="8497888" cy="5040313"/>
            <a:chOff x="158" y="754"/>
            <a:chExt cx="5489" cy="3175"/>
          </a:xfrm>
        </p:grpSpPr>
        <p:sp>
          <p:nvSpPr>
            <p:cNvPr id="215043" name="Rectangle 3"/>
            <p:cNvSpPr>
              <a:spLocks noChangeArrowheads="1"/>
            </p:cNvSpPr>
            <p:nvPr/>
          </p:nvSpPr>
          <p:spPr bwMode="auto">
            <a:xfrm>
              <a:off x="158" y="754"/>
              <a:ext cx="5489" cy="3175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15044" name="Rectangle 4"/>
            <p:cNvSpPr>
              <a:spLocks noChangeArrowheads="1"/>
            </p:cNvSpPr>
            <p:nvPr/>
          </p:nvSpPr>
          <p:spPr bwMode="auto">
            <a:xfrm>
              <a:off x="560" y="2264"/>
              <a:ext cx="768" cy="384"/>
            </a:xfrm>
            <a:prstGeom prst="rect">
              <a:avLst/>
            </a:prstGeom>
            <a:solidFill>
              <a:srgbClr val="FF6600"/>
            </a:solidFill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0"/>
                </a:spcBef>
                <a:buFontTx/>
                <a:buNone/>
              </a:pPr>
              <a:r>
                <a:rPr lang="en-GB" sz="2000" b="1">
                  <a:solidFill>
                    <a:srgbClr val="000000"/>
                  </a:solidFill>
                  <a:latin typeface="Comic Sans MS" pitchFamily="66" charset="0"/>
                </a:rPr>
                <a:t>Disease</a:t>
              </a:r>
              <a:endParaRPr lang="en-GB" sz="2400" b="1">
                <a:solidFill>
                  <a:srgbClr val="000000"/>
                </a:solidFill>
                <a:latin typeface="Comic Sans MS" pitchFamily="66" charset="0"/>
              </a:endParaRPr>
            </a:p>
          </p:txBody>
        </p:sp>
        <p:sp>
          <p:nvSpPr>
            <p:cNvPr id="215045" name="Line 5"/>
            <p:cNvSpPr>
              <a:spLocks noChangeShapeType="1"/>
            </p:cNvSpPr>
            <p:nvPr/>
          </p:nvSpPr>
          <p:spPr bwMode="auto">
            <a:xfrm>
              <a:off x="1520" y="2648"/>
              <a:ext cx="168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15046" name="Line 6"/>
            <p:cNvSpPr>
              <a:spLocks noChangeShapeType="1"/>
            </p:cNvSpPr>
            <p:nvPr/>
          </p:nvSpPr>
          <p:spPr bwMode="auto">
            <a:xfrm flipV="1">
              <a:off x="3920" y="2408"/>
              <a:ext cx="240" cy="24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15047" name="Text Box 7"/>
            <p:cNvSpPr txBox="1">
              <a:spLocks noChangeArrowheads="1"/>
            </p:cNvSpPr>
            <p:nvPr/>
          </p:nvSpPr>
          <p:spPr bwMode="auto">
            <a:xfrm>
              <a:off x="4256" y="2024"/>
              <a:ext cx="1104" cy="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l">
                <a:spcBef>
                  <a:spcPct val="0"/>
                </a:spcBef>
                <a:buFontTx/>
                <a:buNone/>
              </a:pPr>
              <a:r>
                <a:rPr lang="en-GB" sz="2000" b="1">
                  <a:solidFill>
                    <a:srgbClr val="000000"/>
                  </a:solidFill>
                  <a:latin typeface="Comic Sans MS" pitchFamily="66" charset="0"/>
                </a:rPr>
                <a:t>True Clinical</a:t>
              </a:r>
            </a:p>
            <a:p>
              <a:pPr algn="l">
                <a:spcBef>
                  <a:spcPct val="0"/>
                </a:spcBef>
                <a:buFontTx/>
                <a:buNone/>
              </a:pPr>
              <a:r>
                <a:rPr lang="en-GB" sz="2000" b="1">
                  <a:solidFill>
                    <a:srgbClr val="000000"/>
                  </a:solidFill>
                  <a:latin typeface="Comic Sans MS" pitchFamily="66" charset="0"/>
                </a:rPr>
                <a:t>Outcome</a:t>
              </a:r>
              <a:endParaRPr lang="en-GB" sz="2400" b="1">
                <a:solidFill>
                  <a:srgbClr val="000000"/>
                </a:solidFill>
                <a:latin typeface="Comic Sans MS" pitchFamily="66" charset="0"/>
              </a:endParaRPr>
            </a:p>
          </p:txBody>
        </p:sp>
        <p:sp>
          <p:nvSpPr>
            <p:cNvPr id="215048" name="Rectangle 8"/>
            <p:cNvSpPr>
              <a:spLocks noChangeArrowheads="1"/>
            </p:cNvSpPr>
            <p:nvPr/>
          </p:nvSpPr>
          <p:spPr bwMode="auto">
            <a:xfrm>
              <a:off x="2336" y="2024"/>
              <a:ext cx="865" cy="4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l">
                <a:spcBef>
                  <a:spcPct val="0"/>
                </a:spcBef>
                <a:buFontTx/>
                <a:buNone/>
              </a:pPr>
              <a:r>
                <a:rPr lang="en-GB" sz="2000" b="1">
                  <a:solidFill>
                    <a:srgbClr val="000000"/>
                  </a:solidFill>
                  <a:latin typeface="Comic Sans MS" pitchFamily="66" charset="0"/>
                </a:rPr>
                <a:t> Marker </a:t>
              </a:r>
            </a:p>
            <a:p>
              <a:pPr algn="l">
                <a:spcBef>
                  <a:spcPct val="0"/>
                </a:spcBef>
                <a:buFontTx/>
                <a:buNone/>
              </a:pPr>
              <a:r>
                <a:rPr lang="en-GB" sz="2000" b="1">
                  <a:solidFill>
                    <a:srgbClr val="000000"/>
                  </a:solidFill>
                  <a:latin typeface="Comic Sans MS" pitchFamily="66" charset="0"/>
                </a:rPr>
                <a:t>End Point</a:t>
              </a:r>
              <a:endParaRPr lang="en-GB" sz="2400" b="1">
                <a:solidFill>
                  <a:srgbClr val="000000"/>
                </a:solidFill>
                <a:latin typeface="Comic Sans MS" pitchFamily="66" charset="0"/>
              </a:endParaRPr>
            </a:p>
          </p:txBody>
        </p:sp>
        <p:sp>
          <p:nvSpPr>
            <p:cNvPr id="215049" name="Line 9"/>
            <p:cNvSpPr>
              <a:spLocks noChangeShapeType="1"/>
            </p:cNvSpPr>
            <p:nvPr/>
          </p:nvSpPr>
          <p:spPr bwMode="auto">
            <a:xfrm>
              <a:off x="1520" y="2264"/>
              <a:ext cx="768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15050" name="Line 10"/>
            <p:cNvSpPr>
              <a:spLocks noChangeShapeType="1"/>
            </p:cNvSpPr>
            <p:nvPr/>
          </p:nvSpPr>
          <p:spPr bwMode="auto">
            <a:xfrm>
              <a:off x="2672" y="2648"/>
              <a:ext cx="1248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15051" name="Text Box 11"/>
            <p:cNvSpPr txBox="1">
              <a:spLocks noChangeArrowheads="1"/>
            </p:cNvSpPr>
            <p:nvPr/>
          </p:nvSpPr>
          <p:spPr bwMode="auto">
            <a:xfrm>
              <a:off x="507" y="1160"/>
              <a:ext cx="4944" cy="5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l">
                <a:spcBef>
                  <a:spcPct val="0"/>
                </a:spcBef>
                <a:buFontTx/>
                <a:buNone/>
              </a:pPr>
              <a:r>
                <a:rPr lang="en-GB" sz="2400" b="1">
                  <a:solidFill>
                    <a:srgbClr val="000000"/>
                  </a:solidFill>
                </a:rPr>
                <a:t>The marker is not the causal pathway of the disease process</a:t>
              </a:r>
              <a:r>
                <a:rPr lang="en-GB" sz="2400">
                  <a:solidFill>
                    <a:srgbClr val="000000"/>
                  </a:solidFill>
                  <a:latin typeface="Comic Sans MS" pitchFamily="66" charset="0"/>
                </a:rPr>
                <a:t> </a:t>
              </a:r>
            </a:p>
          </p:txBody>
        </p:sp>
        <p:sp>
          <p:nvSpPr>
            <p:cNvPr id="215052" name="Line 12"/>
            <p:cNvSpPr>
              <a:spLocks noChangeShapeType="1"/>
            </p:cNvSpPr>
            <p:nvPr/>
          </p:nvSpPr>
          <p:spPr bwMode="auto">
            <a:xfrm>
              <a:off x="560" y="3032"/>
              <a:ext cx="4704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15053" name="Rectangle 13"/>
            <p:cNvSpPr>
              <a:spLocks noChangeArrowheads="1"/>
            </p:cNvSpPr>
            <p:nvPr/>
          </p:nvSpPr>
          <p:spPr bwMode="auto">
            <a:xfrm>
              <a:off x="2480" y="3176"/>
              <a:ext cx="502" cy="2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l">
                <a:spcBef>
                  <a:spcPct val="0"/>
                </a:spcBef>
                <a:buFontTx/>
                <a:buNone/>
              </a:pPr>
              <a:r>
                <a:rPr lang="en-GB" sz="2000" b="1">
                  <a:solidFill>
                    <a:srgbClr val="000000"/>
                  </a:solidFill>
                  <a:latin typeface="Comic Sans MS" pitchFamily="66" charset="0"/>
                </a:rPr>
                <a:t>Time</a:t>
              </a:r>
            </a:p>
          </p:txBody>
        </p:sp>
      </p:grpSp>
      <p:sp>
        <p:nvSpPr>
          <p:cNvPr id="215042" name="Rectangle 14"/>
          <p:cNvSpPr>
            <a:spLocks noChangeArrowheads="1"/>
          </p:cNvSpPr>
          <p:nvPr/>
        </p:nvSpPr>
        <p:spPr bwMode="auto">
          <a:xfrm>
            <a:off x="1403350" y="260350"/>
            <a:ext cx="6335713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l">
              <a:spcBef>
                <a:spcPct val="0"/>
              </a:spcBef>
              <a:buFontTx/>
              <a:buNone/>
            </a:pPr>
            <a:r>
              <a:rPr lang="en-GB" b="1">
                <a:solidFill>
                  <a:srgbClr val="000090"/>
                </a:solidFill>
              </a:rPr>
              <a:t>Possible failure of marker endpoints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065" name="Rectangle 2"/>
          <p:cNvSpPr>
            <a:spLocks noChangeArrowheads="1"/>
          </p:cNvSpPr>
          <p:nvPr/>
        </p:nvSpPr>
        <p:spPr bwMode="auto">
          <a:xfrm>
            <a:off x="1403350" y="260350"/>
            <a:ext cx="6335713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l">
              <a:spcBef>
                <a:spcPct val="0"/>
              </a:spcBef>
              <a:buFontTx/>
              <a:buNone/>
            </a:pPr>
            <a:r>
              <a:rPr lang="en-GB" b="1">
                <a:solidFill>
                  <a:srgbClr val="000090"/>
                </a:solidFill>
              </a:rPr>
              <a:t>Possible failure of marker endpoints</a:t>
            </a:r>
          </a:p>
        </p:txBody>
      </p:sp>
      <p:sp>
        <p:nvSpPr>
          <p:cNvPr id="216066" name="Rectangle 3"/>
          <p:cNvSpPr>
            <a:spLocks noChangeArrowheads="1"/>
          </p:cNvSpPr>
          <p:nvPr/>
        </p:nvSpPr>
        <p:spPr bwMode="auto">
          <a:xfrm>
            <a:off x="179388" y="1196975"/>
            <a:ext cx="8785225" cy="5256213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buFontTx/>
              <a:buNone/>
            </a:pPr>
            <a:endParaRPr lang="en-GB"/>
          </a:p>
        </p:txBody>
      </p:sp>
      <p:sp>
        <p:nvSpPr>
          <p:cNvPr id="216067" name="Rectangle 4"/>
          <p:cNvSpPr>
            <a:spLocks noChangeArrowheads="1"/>
          </p:cNvSpPr>
          <p:nvPr/>
        </p:nvSpPr>
        <p:spPr bwMode="auto">
          <a:xfrm>
            <a:off x="887413" y="4452938"/>
            <a:ext cx="1219200" cy="609600"/>
          </a:xfrm>
          <a:prstGeom prst="rect">
            <a:avLst/>
          </a:prstGeom>
          <a:solidFill>
            <a:srgbClr val="FF6600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r>
              <a:rPr lang="en-GB" sz="2000" b="1">
                <a:solidFill>
                  <a:srgbClr val="000000"/>
                </a:solidFill>
                <a:latin typeface="Comic Sans MS" pitchFamily="66" charset="0"/>
              </a:rPr>
              <a:t>Disease</a:t>
            </a:r>
            <a:endParaRPr lang="en-GB" sz="2400" b="1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16068" name="Line 5"/>
          <p:cNvSpPr>
            <a:spLocks noChangeShapeType="1"/>
          </p:cNvSpPr>
          <p:nvPr/>
        </p:nvSpPr>
        <p:spPr bwMode="auto">
          <a:xfrm>
            <a:off x="2411413" y="5062538"/>
            <a:ext cx="26670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216069" name="Line 6"/>
          <p:cNvSpPr>
            <a:spLocks noChangeShapeType="1"/>
          </p:cNvSpPr>
          <p:nvPr/>
        </p:nvSpPr>
        <p:spPr bwMode="auto">
          <a:xfrm flipV="1">
            <a:off x="6221413" y="4681538"/>
            <a:ext cx="381000" cy="3810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216070" name="Text Box 7"/>
          <p:cNvSpPr txBox="1">
            <a:spLocks noChangeArrowheads="1"/>
          </p:cNvSpPr>
          <p:nvPr/>
        </p:nvSpPr>
        <p:spPr bwMode="auto">
          <a:xfrm>
            <a:off x="6754813" y="4071938"/>
            <a:ext cx="1709737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GB" sz="2000" b="1">
                <a:solidFill>
                  <a:srgbClr val="000000"/>
                </a:solidFill>
                <a:latin typeface="Comic Sans MS" pitchFamily="66" charset="0"/>
              </a:rPr>
              <a:t>True Clinical</a:t>
            </a:r>
          </a:p>
          <a:p>
            <a:pPr algn="l">
              <a:spcBef>
                <a:spcPct val="0"/>
              </a:spcBef>
              <a:buFontTx/>
              <a:buNone/>
            </a:pPr>
            <a:r>
              <a:rPr lang="en-GB" sz="2000" b="1">
                <a:solidFill>
                  <a:srgbClr val="000000"/>
                </a:solidFill>
                <a:latin typeface="Comic Sans MS" pitchFamily="66" charset="0"/>
              </a:rPr>
              <a:t>Outcome</a:t>
            </a:r>
            <a:endParaRPr lang="en-GB" sz="2400" b="1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16071" name="Rectangle 8"/>
          <p:cNvSpPr>
            <a:spLocks noChangeArrowheads="1"/>
          </p:cNvSpPr>
          <p:nvPr/>
        </p:nvSpPr>
        <p:spPr bwMode="auto">
          <a:xfrm>
            <a:off x="3706813" y="4071938"/>
            <a:ext cx="1338262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l">
              <a:spcBef>
                <a:spcPct val="0"/>
              </a:spcBef>
              <a:buFontTx/>
              <a:buNone/>
            </a:pPr>
            <a:r>
              <a:rPr lang="en-GB" sz="2000" b="1">
                <a:solidFill>
                  <a:srgbClr val="000000"/>
                </a:solidFill>
                <a:latin typeface="Comic Sans MS" pitchFamily="66" charset="0"/>
              </a:rPr>
              <a:t> Marker</a:t>
            </a:r>
          </a:p>
          <a:p>
            <a:pPr algn="l">
              <a:spcBef>
                <a:spcPct val="0"/>
              </a:spcBef>
              <a:buFontTx/>
              <a:buNone/>
            </a:pPr>
            <a:r>
              <a:rPr lang="en-GB" sz="2000" b="1">
                <a:solidFill>
                  <a:srgbClr val="000000"/>
                </a:solidFill>
                <a:latin typeface="Comic Sans MS" pitchFamily="66" charset="0"/>
              </a:rPr>
              <a:t>End Point</a:t>
            </a:r>
            <a:endParaRPr lang="en-GB" sz="2400" b="1">
              <a:solidFill>
                <a:srgbClr val="000000"/>
              </a:solidFill>
              <a:latin typeface="Comic Sans MS" pitchFamily="66" charset="0"/>
            </a:endParaRPr>
          </a:p>
        </p:txBody>
      </p:sp>
      <p:sp>
        <p:nvSpPr>
          <p:cNvPr id="216072" name="Line 9"/>
          <p:cNvSpPr>
            <a:spLocks noChangeShapeType="1"/>
          </p:cNvSpPr>
          <p:nvPr/>
        </p:nvSpPr>
        <p:spPr bwMode="auto">
          <a:xfrm>
            <a:off x="2411413" y="4452938"/>
            <a:ext cx="12192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216073" name="Oval 10"/>
          <p:cNvSpPr>
            <a:spLocks noChangeArrowheads="1"/>
          </p:cNvSpPr>
          <p:nvPr/>
        </p:nvSpPr>
        <p:spPr bwMode="auto">
          <a:xfrm>
            <a:off x="1116013" y="3081338"/>
            <a:ext cx="2286000" cy="914400"/>
          </a:xfrm>
          <a:prstGeom prst="ellipse">
            <a:avLst/>
          </a:prstGeom>
          <a:solidFill>
            <a:srgbClr val="99FF66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r>
              <a:rPr lang="en-GB" sz="2000" b="1">
                <a:solidFill>
                  <a:srgbClr val="000000"/>
                </a:solidFill>
                <a:latin typeface="Comic Sans MS" pitchFamily="66" charset="0"/>
              </a:rPr>
              <a:t>Intervention</a:t>
            </a:r>
            <a:endParaRPr lang="en-GB" sz="2400" b="1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16074" name="Line 11"/>
          <p:cNvSpPr>
            <a:spLocks noChangeShapeType="1"/>
          </p:cNvSpPr>
          <p:nvPr/>
        </p:nvSpPr>
        <p:spPr bwMode="auto">
          <a:xfrm>
            <a:off x="4240213" y="5062538"/>
            <a:ext cx="19812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216075" name="Line 12"/>
          <p:cNvSpPr>
            <a:spLocks noChangeShapeType="1"/>
          </p:cNvSpPr>
          <p:nvPr/>
        </p:nvSpPr>
        <p:spPr bwMode="auto">
          <a:xfrm>
            <a:off x="887413" y="5672138"/>
            <a:ext cx="746760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216076" name="Line 13"/>
          <p:cNvSpPr>
            <a:spLocks noChangeShapeType="1"/>
          </p:cNvSpPr>
          <p:nvPr/>
        </p:nvSpPr>
        <p:spPr bwMode="auto">
          <a:xfrm>
            <a:off x="2716213" y="4071938"/>
            <a:ext cx="381000" cy="2286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216077" name="Line 14"/>
          <p:cNvSpPr>
            <a:spLocks noChangeShapeType="1"/>
          </p:cNvSpPr>
          <p:nvPr/>
        </p:nvSpPr>
        <p:spPr bwMode="auto">
          <a:xfrm>
            <a:off x="5230813" y="4452938"/>
            <a:ext cx="13716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216078" name="Rectangle 15"/>
          <p:cNvSpPr>
            <a:spLocks noChangeArrowheads="1"/>
          </p:cNvSpPr>
          <p:nvPr/>
        </p:nvSpPr>
        <p:spPr bwMode="auto">
          <a:xfrm>
            <a:off x="3935413" y="5900738"/>
            <a:ext cx="77787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l">
              <a:spcBef>
                <a:spcPct val="0"/>
              </a:spcBef>
              <a:buFontTx/>
              <a:buNone/>
            </a:pPr>
            <a:r>
              <a:rPr lang="en-GB" sz="2000" b="1">
                <a:solidFill>
                  <a:srgbClr val="000000"/>
                </a:solidFill>
                <a:latin typeface="Comic Sans MS" pitchFamily="66" charset="0"/>
              </a:rPr>
              <a:t>Time</a:t>
            </a:r>
          </a:p>
        </p:txBody>
      </p:sp>
      <p:sp>
        <p:nvSpPr>
          <p:cNvPr id="216079" name="Rectangle 16"/>
          <p:cNvSpPr>
            <a:spLocks noChangeArrowheads="1"/>
          </p:cNvSpPr>
          <p:nvPr/>
        </p:nvSpPr>
        <p:spPr bwMode="auto">
          <a:xfrm>
            <a:off x="323850" y="1341438"/>
            <a:ext cx="828040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l">
              <a:buFontTx/>
              <a:buNone/>
            </a:pPr>
            <a:r>
              <a:rPr lang="en-GB" sz="2400" b="1">
                <a:solidFill>
                  <a:srgbClr val="000000"/>
                </a:solidFill>
              </a:rPr>
              <a:t>Of the disease pathways affecting the true clinical outcome, the intervention might only affect the pathway mediated through the marker endpoint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089" name="Rectangle 2"/>
          <p:cNvSpPr>
            <a:spLocks noChangeArrowheads="1"/>
          </p:cNvSpPr>
          <p:nvPr/>
        </p:nvSpPr>
        <p:spPr bwMode="auto">
          <a:xfrm>
            <a:off x="1403350" y="260350"/>
            <a:ext cx="6335713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l">
              <a:spcBef>
                <a:spcPct val="0"/>
              </a:spcBef>
              <a:buFontTx/>
              <a:buNone/>
            </a:pPr>
            <a:r>
              <a:rPr lang="en-GB" b="1">
                <a:solidFill>
                  <a:srgbClr val="000090"/>
                </a:solidFill>
              </a:rPr>
              <a:t>Possible failure of marker endpoints</a:t>
            </a:r>
          </a:p>
        </p:txBody>
      </p:sp>
      <p:grpSp>
        <p:nvGrpSpPr>
          <p:cNvPr id="217090" name="Group 3"/>
          <p:cNvGrpSpPr>
            <a:grpSpLocks/>
          </p:cNvGrpSpPr>
          <p:nvPr/>
        </p:nvGrpSpPr>
        <p:grpSpPr bwMode="auto">
          <a:xfrm>
            <a:off x="323850" y="1196975"/>
            <a:ext cx="8640763" cy="5111750"/>
            <a:chOff x="204" y="754"/>
            <a:chExt cx="5443" cy="3220"/>
          </a:xfrm>
        </p:grpSpPr>
        <p:sp>
          <p:nvSpPr>
            <p:cNvPr id="217091" name="Rectangle 4"/>
            <p:cNvSpPr>
              <a:spLocks noChangeArrowheads="1"/>
            </p:cNvSpPr>
            <p:nvPr/>
          </p:nvSpPr>
          <p:spPr bwMode="auto">
            <a:xfrm>
              <a:off x="204" y="754"/>
              <a:ext cx="5443" cy="3220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17092" name="Rectangle 5"/>
            <p:cNvSpPr>
              <a:spLocks noChangeArrowheads="1"/>
            </p:cNvSpPr>
            <p:nvPr/>
          </p:nvSpPr>
          <p:spPr bwMode="auto">
            <a:xfrm>
              <a:off x="341" y="912"/>
              <a:ext cx="4992" cy="7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l">
                <a:spcBef>
                  <a:spcPct val="0"/>
                </a:spcBef>
                <a:buFontTx/>
                <a:buNone/>
              </a:pPr>
              <a:r>
                <a:rPr lang="en-GB" sz="2400" b="1">
                  <a:solidFill>
                    <a:srgbClr val="000000"/>
                  </a:solidFill>
                </a:rPr>
                <a:t>The intervention may affect the clinical outcome through several causal pathways that are not mediated through the marker</a:t>
              </a:r>
            </a:p>
          </p:txBody>
        </p:sp>
        <p:grpSp>
          <p:nvGrpSpPr>
            <p:cNvPr id="217093" name="Group 6"/>
            <p:cNvGrpSpPr>
              <a:grpSpLocks/>
            </p:cNvGrpSpPr>
            <p:nvPr/>
          </p:nvGrpSpPr>
          <p:grpSpPr bwMode="auto">
            <a:xfrm>
              <a:off x="555" y="1824"/>
              <a:ext cx="4783" cy="1980"/>
              <a:chOff x="810" y="1968"/>
              <a:chExt cx="5381" cy="1980"/>
            </a:xfrm>
          </p:grpSpPr>
          <p:sp>
            <p:nvSpPr>
              <p:cNvPr id="217094" name="Rectangle 7"/>
              <p:cNvSpPr>
                <a:spLocks noChangeArrowheads="1"/>
              </p:cNvSpPr>
              <p:nvPr/>
            </p:nvSpPr>
            <p:spPr bwMode="auto">
              <a:xfrm>
                <a:off x="810" y="2832"/>
                <a:ext cx="864" cy="384"/>
              </a:xfrm>
              <a:prstGeom prst="rect">
                <a:avLst/>
              </a:prstGeom>
              <a:solidFill>
                <a:srgbClr val="FF6600"/>
              </a:solidFill>
              <a:ln w="1905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>
                  <a:spcBef>
                    <a:spcPct val="0"/>
                  </a:spcBef>
                  <a:buFontTx/>
                  <a:buNone/>
                </a:pPr>
                <a:r>
                  <a:rPr lang="en-GB" sz="2000" b="1">
                    <a:solidFill>
                      <a:srgbClr val="000000"/>
                    </a:solidFill>
                    <a:latin typeface="Comic Sans MS" pitchFamily="66" charset="0"/>
                  </a:rPr>
                  <a:t>Disease</a:t>
                </a:r>
                <a:endParaRPr lang="en-GB" sz="2400" b="1">
                  <a:solidFill>
                    <a:srgbClr val="000000"/>
                  </a:solidFill>
                  <a:latin typeface="Times New Roman" pitchFamily="18" charset="0"/>
                </a:endParaRPr>
              </a:p>
            </p:txBody>
          </p:sp>
          <p:sp>
            <p:nvSpPr>
              <p:cNvPr id="217095" name="Line 8"/>
              <p:cNvSpPr>
                <a:spLocks noChangeShapeType="1"/>
              </p:cNvSpPr>
              <p:nvPr/>
            </p:nvSpPr>
            <p:spPr bwMode="auto">
              <a:xfrm flipV="1">
                <a:off x="4590" y="2976"/>
                <a:ext cx="270" cy="24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17096" name="Text Box 9"/>
              <p:cNvSpPr txBox="1">
                <a:spLocks noChangeArrowheads="1"/>
              </p:cNvSpPr>
              <p:nvPr/>
            </p:nvSpPr>
            <p:spPr bwMode="auto">
              <a:xfrm>
                <a:off x="4968" y="2592"/>
                <a:ext cx="1223" cy="4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800">
                    <a:solidFill>
                      <a:srgbClr val="FF6600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2800">
                    <a:solidFill>
                      <a:srgbClr val="FF6600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2800">
                    <a:solidFill>
                      <a:srgbClr val="FF6600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2800">
                    <a:solidFill>
                      <a:srgbClr val="FF6600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2800">
                    <a:solidFill>
                      <a:srgbClr val="FF6600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algn="ctr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2800">
                    <a:solidFill>
                      <a:srgbClr val="FF6600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algn="ctr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2800">
                    <a:solidFill>
                      <a:srgbClr val="FF6600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algn="ctr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2800">
                    <a:solidFill>
                      <a:srgbClr val="FF6600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algn="ctr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2800">
                    <a:solidFill>
                      <a:srgbClr val="FF6600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algn="l">
                  <a:spcBef>
                    <a:spcPct val="0"/>
                  </a:spcBef>
                  <a:buFontTx/>
                  <a:buNone/>
                </a:pPr>
                <a:r>
                  <a:rPr lang="en-GB" sz="2000" b="1">
                    <a:solidFill>
                      <a:srgbClr val="000000"/>
                    </a:solidFill>
                    <a:latin typeface="Comic Sans MS" pitchFamily="66" charset="0"/>
                  </a:rPr>
                  <a:t>True Clinical</a:t>
                </a:r>
              </a:p>
              <a:p>
                <a:pPr algn="l">
                  <a:spcBef>
                    <a:spcPct val="0"/>
                  </a:spcBef>
                  <a:buFontTx/>
                  <a:buNone/>
                </a:pPr>
                <a:r>
                  <a:rPr lang="en-GB" sz="2000" b="1">
                    <a:solidFill>
                      <a:srgbClr val="000000"/>
                    </a:solidFill>
                    <a:latin typeface="Comic Sans MS" pitchFamily="66" charset="0"/>
                  </a:rPr>
                  <a:t>Outcome</a:t>
                </a:r>
                <a:endParaRPr lang="en-GB" sz="2400" b="1">
                  <a:solidFill>
                    <a:srgbClr val="000000"/>
                  </a:solidFill>
                  <a:latin typeface="Times New Roman" pitchFamily="18" charset="0"/>
                </a:endParaRPr>
              </a:p>
            </p:txBody>
          </p:sp>
          <p:sp>
            <p:nvSpPr>
              <p:cNvPr id="217097" name="Rectangle 10"/>
              <p:cNvSpPr>
                <a:spLocks noChangeArrowheads="1"/>
              </p:cNvSpPr>
              <p:nvPr/>
            </p:nvSpPr>
            <p:spPr bwMode="auto">
              <a:xfrm>
                <a:off x="2754" y="2976"/>
                <a:ext cx="949" cy="4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/>
              <a:p>
                <a:pPr algn="l">
                  <a:spcBef>
                    <a:spcPct val="0"/>
                  </a:spcBef>
                  <a:buFontTx/>
                  <a:buNone/>
                </a:pPr>
                <a:r>
                  <a:rPr lang="en-GB" sz="2000" b="1">
                    <a:solidFill>
                      <a:srgbClr val="000000"/>
                    </a:solidFill>
                    <a:latin typeface="Comic Sans MS" pitchFamily="66" charset="0"/>
                  </a:rPr>
                  <a:t> Marker </a:t>
                </a:r>
              </a:p>
              <a:p>
                <a:pPr algn="l">
                  <a:spcBef>
                    <a:spcPct val="0"/>
                  </a:spcBef>
                  <a:buFontTx/>
                  <a:buNone/>
                </a:pPr>
                <a:r>
                  <a:rPr lang="en-GB" sz="2000" b="1">
                    <a:solidFill>
                      <a:srgbClr val="000000"/>
                    </a:solidFill>
                    <a:latin typeface="Comic Sans MS" pitchFamily="66" charset="0"/>
                  </a:rPr>
                  <a:t>End Point</a:t>
                </a:r>
                <a:endParaRPr lang="en-GB" sz="2400" b="1">
                  <a:solidFill>
                    <a:srgbClr val="000000"/>
                  </a:solidFill>
                  <a:latin typeface="Comic Sans MS" pitchFamily="66" charset="0"/>
                </a:endParaRPr>
              </a:p>
            </p:txBody>
          </p:sp>
          <p:sp>
            <p:nvSpPr>
              <p:cNvPr id="217098" name="Line 11"/>
              <p:cNvSpPr>
                <a:spLocks noChangeShapeType="1"/>
              </p:cNvSpPr>
              <p:nvPr/>
            </p:nvSpPr>
            <p:spPr bwMode="auto">
              <a:xfrm>
                <a:off x="1836" y="3216"/>
                <a:ext cx="864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17099" name="Oval 12"/>
              <p:cNvSpPr>
                <a:spLocks noChangeArrowheads="1"/>
              </p:cNvSpPr>
              <p:nvPr/>
            </p:nvSpPr>
            <p:spPr bwMode="auto">
              <a:xfrm>
                <a:off x="972" y="1968"/>
                <a:ext cx="1620" cy="576"/>
              </a:xfrm>
              <a:prstGeom prst="ellipse">
                <a:avLst/>
              </a:prstGeom>
              <a:solidFill>
                <a:srgbClr val="99FF66"/>
              </a:solidFill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spcBef>
                    <a:spcPct val="0"/>
                  </a:spcBef>
                  <a:buFontTx/>
                  <a:buNone/>
                </a:pPr>
                <a:r>
                  <a:rPr lang="en-GB" sz="2000" b="1">
                    <a:solidFill>
                      <a:srgbClr val="000000"/>
                    </a:solidFill>
                    <a:latin typeface="Comic Sans MS" pitchFamily="66" charset="0"/>
                  </a:rPr>
                  <a:t>Intervention</a:t>
                </a:r>
                <a:endParaRPr lang="en-GB" sz="2400" b="1">
                  <a:solidFill>
                    <a:srgbClr val="000000"/>
                  </a:solidFill>
                  <a:latin typeface="Times New Roman" pitchFamily="18" charset="0"/>
                </a:endParaRPr>
              </a:p>
            </p:txBody>
          </p:sp>
          <p:sp>
            <p:nvSpPr>
              <p:cNvPr id="217100" name="Line 13"/>
              <p:cNvSpPr>
                <a:spLocks noChangeShapeType="1"/>
              </p:cNvSpPr>
              <p:nvPr/>
            </p:nvSpPr>
            <p:spPr bwMode="auto">
              <a:xfrm>
                <a:off x="3888" y="3216"/>
                <a:ext cx="702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17101" name="Line 14"/>
              <p:cNvSpPr>
                <a:spLocks noChangeShapeType="1"/>
              </p:cNvSpPr>
              <p:nvPr/>
            </p:nvSpPr>
            <p:spPr bwMode="auto">
              <a:xfrm>
                <a:off x="810" y="3600"/>
                <a:ext cx="5292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17102" name="Line 15"/>
              <p:cNvSpPr>
                <a:spLocks noChangeShapeType="1"/>
              </p:cNvSpPr>
              <p:nvPr/>
            </p:nvSpPr>
            <p:spPr bwMode="auto">
              <a:xfrm>
                <a:off x="2106" y="2592"/>
                <a:ext cx="270" cy="144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17103" name="Line 16"/>
              <p:cNvSpPr>
                <a:spLocks noChangeShapeType="1"/>
              </p:cNvSpPr>
              <p:nvPr/>
            </p:nvSpPr>
            <p:spPr bwMode="auto">
              <a:xfrm>
                <a:off x="3888" y="2832"/>
                <a:ext cx="972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17104" name="Line 17"/>
              <p:cNvSpPr>
                <a:spLocks noChangeShapeType="1"/>
              </p:cNvSpPr>
              <p:nvPr/>
            </p:nvSpPr>
            <p:spPr bwMode="auto">
              <a:xfrm>
                <a:off x="1836" y="2832"/>
                <a:ext cx="2106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17105" name="Rectangle 18"/>
              <p:cNvSpPr>
                <a:spLocks noChangeArrowheads="1"/>
              </p:cNvSpPr>
              <p:nvPr/>
            </p:nvSpPr>
            <p:spPr bwMode="auto">
              <a:xfrm>
                <a:off x="2916" y="3696"/>
                <a:ext cx="550" cy="2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/>
              <a:p>
                <a:pPr algn="l">
                  <a:spcBef>
                    <a:spcPct val="0"/>
                  </a:spcBef>
                  <a:buFontTx/>
                  <a:buNone/>
                </a:pPr>
                <a:r>
                  <a:rPr lang="en-GB" sz="2000" b="1">
                    <a:solidFill>
                      <a:srgbClr val="000000"/>
                    </a:solidFill>
                    <a:latin typeface="Comic Sans MS" pitchFamily="66" charset="0"/>
                  </a:rPr>
                  <a:t>Time</a:t>
                </a:r>
              </a:p>
            </p:txBody>
          </p:sp>
        </p:grpSp>
      </p:grp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113" name="Rectangle 2"/>
          <p:cNvSpPr>
            <a:spLocks noChangeArrowheads="1"/>
          </p:cNvSpPr>
          <p:nvPr/>
        </p:nvSpPr>
        <p:spPr bwMode="auto">
          <a:xfrm>
            <a:off x="250825" y="1196975"/>
            <a:ext cx="8642350" cy="5184775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buFontTx/>
              <a:buNone/>
            </a:pPr>
            <a:endParaRPr lang="en-GB"/>
          </a:p>
        </p:txBody>
      </p:sp>
      <p:sp>
        <p:nvSpPr>
          <p:cNvPr id="218114" name="Rectangle 3"/>
          <p:cNvSpPr>
            <a:spLocks noChangeArrowheads="1"/>
          </p:cNvSpPr>
          <p:nvPr/>
        </p:nvSpPr>
        <p:spPr bwMode="auto">
          <a:xfrm>
            <a:off x="541338" y="1295400"/>
            <a:ext cx="8247062" cy="157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l">
              <a:spcBef>
                <a:spcPct val="0"/>
              </a:spcBef>
              <a:buFontTx/>
              <a:buNone/>
            </a:pPr>
            <a:r>
              <a:rPr lang="en-GB" sz="2400" b="1">
                <a:solidFill>
                  <a:srgbClr val="000000"/>
                </a:solidFill>
              </a:rPr>
              <a:t>The intervention might affect the true clinical outcome by unintended, unanticipated, and unrecognised mechanisms of action that operate independently of the disease process</a:t>
            </a:r>
          </a:p>
        </p:txBody>
      </p:sp>
      <p:sp>
        <p:nvSpPr>
          <p:cNvPr id="218115" name="Rectangle 4"/>
          <p:cNvSpPr>
            <a:spLocks noChangeArrowheads="1"/>
          </p:cNvSpPr>
          <p:nvPr/>
        </p:nvSpPr>
        <p:spPr bwMode="auto">
          <a:xfrm>
            <a:off x="914400" y="4267200"/>
            <a:ext cx="1219200" cy="609600"/>
          </a:xfrm>
          <a:prstGeom prst="rect">
            <a:avLst/>
          </a:prstGeom>
          <a:solidFill>
            <a:srgbClr val="FF6600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r>
              <a:rPr lang="en-GB" sz="2000" b="1">
                <a:solidFill>
                  <a:srgbClr val="000000"/>
                </a:solidFill>
                <a:latin typeface="Comic Sans MS" pitchFamily="66" charset="0"/>
              </a:rPr>
              <a:t>Disease</a:t>
            </a:r>
            <a:endParaRPr lang="en-GB" sz="2400" b="1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18116" name="Line 5"/>
          <p:cNvSpPr>
            <a:spLocks noChangeShapeType="1"/>
          </p:cNvSpPr>
          <p:nvPr/>
        </p:nvSpPr>
        <p:spPr bwMode="auto">
          <a:xfrm flipV="1">
            <a:off x="6248400" y="4495800"/>
            <a:ext cx="381000" cy="3810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218117" name="Text Box 6"/>
          <p:cNvSpPr txBox="1">
            <a:spLocks noChangeArrowheads="1"/>
          </p:cNvSpPr>
          <p:nvPr/>
        </p:nvSpPr>
        <p:spPr bwMode="auto">
          <a:xfrm>
            <a:off x="6781800" y="3886200"/>
            <a:ext cx="1709738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GB" sz="2000" b="1">
                <a:solidFill>
                  <a:srgbClr val="000000"/>
                </a:solidFill>
                <a:latin typeface="Comic Sans MS" pitchFamily="66" charset="0"/>
              </a:rPr>
              <a:t>True Clinical</a:t>
            </a:r>
          </a:p>
          <a:p>
            <a:pPr algn="l">
              <a:spcBef>
                <a:spcPct val="0"/>
              </a:spcBef>
              <a:buFontTx/>
              <a:buNone/>
            </a:pPr>
            <a:r>
              <a:rPr lang="en-GB" sz="2000" b="1">
                <a:solidFill>
                  <a:srgbClr val="000000"/>
                </a:solidFill>
                <a:latin typeface="Comic Sans MS" pitchFamily="66" charset="0"/>
              </a:rPr>
              <a:t>Outcome</a:t>
            </a:r>
            <a:endParaRPr lang="en-GB" sz="2400" b="1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18118" name="Rectangle 7"/>
          <p:cNvSpPr>
            <a:spLocks noChangeArrowheads="1"/>
          </p:cNvSpPr>
          <p:nvPr/>
        </p:nvSpPr>
        <p:spPr bwMode="auto">
          <a:xfrm>
            <a:off x="3657600" y="4495800"/>
            <a:ext cx="1338263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l">
              <a:spcBef>
                <a:spcPct val="0"/>
              </a:spcBef>
              <a:buFontTx/>
              <a:buNone/>
            </a:pPr>
            <a:r>
              <a:rPr lang="en-GB" sz="2000" b="1">
                <a:solidFill>
                  <a:srgbClr val="000000"/>
                </a:solidFill>
                <a:latin typeface="Comic Sans MS" pitchFamily="66" charset="0"/>
              </a:rPr>
              <a:t> Marker</a:t>
            </a:r>
          </a:p>
          <a:p>
            <a:pPr algn="l">
              <a:spcBef>
                <a:spcPct val="0"/>
              </a:spcBef>
              <a:buFontTx/>
              <a:buNone/>
            </a:pPr>
            <a:r>
              <a:rPr lang="en-GB" sz="2000" b="1">
                <a:solidFill>
                  <a:srgbClr val="000000"/>
                </a:solidFill>
                <a:latin typeface="Comic Sans MS" pitchFamily="66" charset="0"/>
              </a:rPr>
              <a:t>End Point</a:t>
            </a:r>
            <a:endParaRPr lang="en-GB" sz="2400" b="1">
              <a:solidFill>
                <a:srgbClr val="000000"/>
              </a:solidFill>
              <a:latin typeface="Comic Sans MS" pitchFamily="66" charset="0"/>
            </a:endParaRPr>
          </a:p>
        </p:txBody>
      </p:sp>
      <p:sp>
        <p:nvSpPr>
          <p:cNvPr id="218119" name="Line 8"/>
          <p:cNvSpPr>
            <a:spLocks noChangeShapeType="1"/>
          </p:cNvSpPr>
          <p:nvPr/>
        </p:nvSpPr>
        <p:spPr bwMode="auto">
          <a:xfrm>
            <a:off x="2362200" y="4876800"/>
            <a:ext cx="12192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218120" name="Oval 9"/>
          <p:cNvSpPr>
            <a:spLocks noChangeArrowheads="1"/>
          </p:cNvSpPr>
          <p:nvPr/>
        </p:nvSpPr>
        <p:spPr bwMode="auto">
          <a:xfrm>
            <a:off x="1084263" y="2971800"/>
            <a:ext cx="2286000" cy="914400"/>
          </a:xfrm>
          <a:prstGeom prst="ellipse">
            <a:avLst/>
          </a:prstGeom>
          <a:solidFill>
            <a:srgbClr val="99FF66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r>
              <a:rPr lang="en-GB" sz="2000" b="1">
                <a:solidFill>
                  <a:srgbClr val="000000"/>
                </a:solidFill>
                <a:latin typeface="Comic Sans MS" pitchFamily="66" charset="0"/>
              </a:rPr>
              <a:t>Intervention</a:t>
            </a:r>
            <a:endParaRPr lang="en-GB" sz="2400" b="1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18121" name="Line 10"/>
          <p:cNvSpPr>
            <a:spLocks noChangeShapeType="1"/>
          </p:cNvSpPr>
          <p:nvPr/>
        </p:nvSpPr>
        <p:spPr bwMode="auto">
          <a:xfrm>
            <a:off x="5257800" y="4876800"/>
            <a:ext cx="9906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218122" name="Line 11"/>
          <p:cNvSpPr>
            <a:spLocks noChangeShapeType="1"/>
          </p:cNvSpPr>
          <p:nvPr/>
        </p:nvSpPr>
        <p:spPr bwMode="auto">
          <a:xfrm>
            <a:off x="914400" y="5562600"/>
            <a:ext cx="746760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218123" name="Line 12"/>
          <p:cNvSpPr>
            <a:spLocks noChangeShapeType="1"/>
          </p:cNvSpPr>
          <p:nvPr/>
        </p:nvSpPr>
        <p:spPr bwMode="auto">
          <a:xfrm>
            <a:off x="5257800" y="4267200"/>
            <a:ext cx="13716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218124" name="Line 13"/>
          <p:cNvSpPr>
            <a:spLocks noChangeShapeType="1"/>
          </p:cNvSpPr>
          <p:nvPr/>
        </p:nvSpPr>
        <p:spPr bwMode="auto">
          <a:xfrm>
            <a:off x="2362200" y="4267200"/>
            <a:ext cx="29718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218125" name="Line 14"/>
          <p:cNvSpPr>
            <a:spLocks noChangeShapeType="1"/>
          </p:cNvSpPr>
          <p:nvPr/>
        </p:nvSpPr>
        <p:spPr bwMode="auto">
          <a:xfrm>
            <a:off x="3454400" y="3429000"/>
            <a:ext cx="27432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218126" name="Line 15"/>
          <p:cNvSpPr>
            <a:spLocks noChangeShapeType="1"/>
          </p:cNvSpPr>
          <p:nvPr/>
        </p:nvSpPr>
        <p:spPr bwMode="auto">
          <a:xfrm>
            <a:off x="6164263" y="3429000"/>
            <a:ext cx="381000" cy="3810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218127" name="Text Box 16"/>
          <p:cNvSpPr txBox="1">
            <a:spLocks noChangeArrowheads="1"/>
          </p:cNvSpPr>
          <p:nvPr/>
        </p:nvSpPr>
        <p:spPr bwMode="auto">
          <a:xfrm>
            <a:off x="3810000" y="5791200"/>
            <a:ext cx="77787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GB" sz="2000" b="1">
                <a:solidFill>
                  <a:srgbClr val="000000"/>
                </a:solidFill>
                <a:latin typeface="Comic Sans MS" pitchFamily="66" charset="0"/>
              </a:rPr>
              <a:t>Time</a:t>
            </a:r>
            <a:endParaRPr lang="en-GB" sz="2400" b="1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18128" name="Rectangle 17"/>
          <p:cNvSpPr>
            <a:spLocks noChangeArrowheads="1"/>
          </p:cNvSpPr>
          <p:nvPr/>
        </p:nvSpPr>
        <p:spPr bwMode="auto">
          <a:xfrm>
            <a:off x="1403350" y="260350"/>
            <a:ext cx="6335713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l">
              <a:spcBef>
                <a:spcPct val="0"/>
              </a:spcBef>
              <a:buFontTx/>
              <a:buNone/>
            </a:pPr>
            <a:r>
              <a:rPr lang="en-GB" b="1">
                <a:solidFill>
                  <a:srgbClr val="000090"/>
                </a:solidFill>
              </a:rPr>
              <a:t>Possible failure of marker endpoints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137" name="Rectangle 4"/>
          <p:cNvSpPr>
            <a:spLocks noChangeArrowheads="1"/>
          </p:cNvSpPr>
          <p:nvPr/>
        </p:nvSpPr>
        <p:spPr bwMode="auto">
          <a:xfrm>
            <a:off x="785813" y="214313"/>
            <a:ext cx="771525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l">
              <a:spcBef>
                <a:spcPct val="0"/>
              </a:spcBef>
              <a:buFontTx/>
              <a:buNone/>
            </a:pPr>
            <a:r>
              <a:rPr lang="en-GB">
                <a:solidFill>
                  <a:srgbClr val="002060"/>
                </a:solidFill>
                <a:cs typeface="Arial" pitchFamily="34" charset="0"/>
              </a:rPr>
              <a:t>Recognise the real problem</a:t>
            </a:r>
          </a:p>
        </p:txBody>
      </p:sp>
      <p:sp>
        <p:nvSpPr>
          <p:cNvPr id="96258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428625" y="1214438"/>
            <a:ext cx="8229600" cy="4525962"/>
          </a:xfrm>
          <a:extLst/>
        </p:spPr>
        <p:txBody>
          <a:bodyPr rtlCol="0">
            <a:normAutofit lnSpcReduction="10000"/>
          </a:bodyPr>
          <a:lstStyle/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en-GB" sz="2400" dirty="0">
                <a:latin typeface="Arial" charset="0"/>
                <a:ea typeface="+mn-ea"/>
              </a:rPr>
              <a:t>Markers may not be valid, reliable, or reproducible</a:t>
            </a: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endParaRPr lang="en-GB" sz="2400" dirty="0">
              <a:latin typeface="Arial" charset="0"/>
              <a:ea typeface="+mn-ea"/>
            </a:endParaRP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en-US" sz="2400" dirty="0">
                <a:latin typeface="Arial" charset="0"/>
                <a:ea typeface="+mn-ea"/>
              </a:rPr>
              <a:t>False positives and false negatives often occur</a:t>
            </a: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endParaRPr lang="en-GB" sz="2400" dirty="0" smtClean="0">
              <a:latin typeface="Arial" charset="0"/>
              <a:ea typeface="+mn-ea"/>
            </a:endParaRP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en-GB" sz="2400" dirty="0" smtClean="0">
                <a:latin typeface="Arial" charset="0"/>
                <a:ea typeface="+mn-ea"/>
              </a:rPr>
              <a:t>Effects on marker endpoints may not predict the true clinical effects of intervention</a:t>
            </a:r>
          </a:p>
          <a:p>
            <a:pPr marL="457200" lvl="1" indent="0" eaLnBrk="1" fontAlgn="auto" hangingPunct="1">
              <a:spcAft>
                <a:spcPts val="0"/>
              </a:spcAft>
              <a:buFont typeface="Arial" charset="0"/>
              <a:buNone/>
              <a:defRPr/>
            </a:pPr>
            <a:endParaRPr lang="en-US" sz="2400" dirty="0" smtClean="0">
              <a:latin typeface="Arial" charset="0"/>
              <a:ea typeface="+mn-ea"/>
            </a:endParaRPr>
          </a:p>
          <a:p>
            <a:pPr lvl="1" eaLnBrk="1" fontAlgn="auto" hangingPunct="1">
              <a:spcAft>
                <a:spcPts val="0"/>
              </a:spcAft>
              <a:buFontTx/>
              <a:buNone/>
              <a:defRPr/>
            </a:pPr>
            <a:r>
              <a:rPr lang="en-GB" sz="2400" dirty="0" smtClean="0">
                <a:solidFill>
                  <a:srgbClr val="FF3300"/>
                </a:solidFill>
                <a:latin typeface="Arial" charset="0"/>
                <a:ea typeface="+mn-ea"/>
              </a:rPr>
              <a:t>	Marker endpoints and predicted therapeutic doses are often developed in animal models of diseases, but extrapolation of these findings to human diseases may be invalid</a:t>
            </a:r>
          </a:p>
          <a:p>
            <a:pPr lvl="2" eaLnBrk="1" fontAlgn="auto" hangingPunct="1">
              <a:spcAft>
                <a:spcPts val="0"/>
              </a:spcAft>
              <a:buFont typeface="Arial"/>
              <a:buChar char="•"/>
              <a:defRPr/>
            </a:pPr>
            <a:endParaRPr lang="en-GB" sz="2000" dirty="0" smtClean="0">
              <a:solidFill>
                <a:srgbClr val="FF3300"/>
              </a:solidFill>
              <a:latin typeface="Times New Roman" charset="0"/>
              <a:ea typeface="+mn-ea"/>
            </a:endParaRPr>
          </a:p>
          <a:p>
            <a:pPr lvl="2" eaLnBrk="1" fontAlgn="auto" hangingPunct="1">
              <a:spcAft>
                <a:spcPts val="0"/>
              </a:spcAft>
              <a:buFont typeface="Arial"/>
              <a:buChar char="•"/>
              <a:defRPr/>
            </a:pPr>
            <a:endParaRPr lang="en-US" sz="2000" dirty="0" smtClean="0">
              <a:latin typeface="Times New Roman" charset="0"/>
              <a:ea typeface="+mn-ea"/>
            </a:endParaRPr>
          </a:p>
          <a:p>
            <a:pPr eaLnBrk="1" fontAlgn="auto" hangingPunct="1">
              <a:spcAft>
                <a:spcPts val="0"/>
              </a:spcAft>
              <a:buFont typeface="Arial"/>
              <a:buChar char="•"/>
              <a:defRPr/>
            </a:pPr>
            <a:endParaRPr lang="en-GB" sz="2800" dirty="0" smtClean="0">
              <a:latin typeface="Times New Roman" charset="0"/>
              <a:ea typeface="+mn-ea"/>
              <a:cs typeface="+mn-cs"/>
            </a:endParaRPr>
          </a:p>
          <a:p>
            <a:pPr eaLnBrk="1" fontAlgn="auto" hangingPunct="1">
              <a:spcAft>
                <a:spcPts val="0"/>
              </a:spcAft>
              <a:buFont typeface="Arial"/>
              <a:buChar char="•"/>
              <a:defRPr/>
            </a:pPr>
            <a:endParaRPr lang="en-GB" sz="2800" dirty="0" smtClean="0">
              <a:latin typeface="Times New Roman" charset="0"/>
              <a:ea typeface="+mn-ea"/>
              <a:cs typeface="+mn-cs"/>
            </a:endParaRPr>
          </a:p>
          <a:p>
            <a:pPr eaLnBrk="1" fontAlgn="auto" hangingPunct="1">
              <a:spcAft>
                <a:spcPts val="0"/>
              </a:spcAft>
              <a:buFont typeface="Arial"/>
              <a:buChar char="•"/>
              <a:defRPr/>
            </a:pPr>
            <a:endParaRPr lang="en-GB" sz="2800" dirty="0" smtClean="0">
              <a:latin typeface="Times New Roman" charset="0"/>
              <a:ea typeface="+mn-ea"/>
              <a:cs typeface="+mn-cs"/>
            </a:endParaRPr>
          </a:p>
        </p:txBody>
      </p:sp>
      <p:sp>
        <p:nvSpPr>
          <p:cNvPr id="219139" name="Line 51"/>
          <p:cNvSpPr>
            <a:spLocks noChangeShapeType="1"/>
          </p:cNvSpPr>
          <p:nvPr/>
        </p:nvSpPr>
        <p:spPr bwMode="auto">
          <a:xfrm>
            <a:off x="0" y="981075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219140" name="Group 32"/>
          <p:cNvGrpSpPr>
            <a:grpSpLocks/>
          </p:cNvGrpSpPr>
          <p:nvPr/>
        </p:nvGrpSpPr>
        <p:grpSpPr bwMode="auto">
          <a:xfrm>
            <a:off x="7715250" y="214313"/>
            <a:ext cx="1298575" cy="681037"/>
            <a:chOff x="7500938" y="285728"/>
            <a:chExt cx="1298575" cy="681060"/>
          </a:xfrm>
        </p:grpSpPr>
        <p:pic>
          <p:nvPicPr>
            <p:cNvPr id="219141" name="Picture 6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2396" y="285728"/>
              <a:ext cx="1071590" cy="2823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9142" name="Picture 63" descr="C:\Documents and Settings\KMosley\Local Settings\Temporary Internet Files\Content.IE5\8F8TCVUH\SJMC[1].gif"/>
            <p:cNvPicPr>
              <a:picLocks noChangeAspect="1" noChangeArrowheads="1"/>
            </p:cNvPicPr>
            <p:nvPr/>
          </p:nvPicPr>
          <p:blipFill>
            <a:blip r:embed="rId4" r:link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0938" y="668338"/>
              <a:ext cx="1298575" cy="298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1185" name="Group 17"/>
          <p:cNvGrpSpPr>
            <a:grpSpLocks/>
          </p:cNvGrpSpPr>
          <p:nvPr/>
        </p:nvGrpSpPr>
        <p:grpSpPr bwMode="auto">
          <a:xfrm>
            <a:off x="7150100" y="0"/>
            <a:ext cx="1993900" cy="2825750"/>
            <a:chOff x="4640" y="300"/>
            <a:chExt cx="1256" cy="1780"/>
          </a:xfrm>
        </p:grpSpPr>
        <p:sp>
          <p:nvSpPr>
            <p:cNvPr id="221197" name="Rectangle 15"/>
            <p:cNvSpPr>
              <a:spLocks noChangeArrowheads="1"/>
            </p:cNvSpPr>
            <p:nvPr/>
          </p:nvSpPr>
          <p:spPr bwMode="auto">
            <a:xfrm>
              <a:off x="4649" y="1888"/>
              <a:ext cx="1247" cy="192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l">
                <a:buFontTx/>
                <a:buNone/>
              </a:pPr>
              <a:r>
                <a:rPr lang="en-GB" sz="1400" b="1">
                  <a:solidFill>
                    <a:srgbClr val="3333CC"/>
                  </a:solidFill>
                </a:rPr>
                <a:t>Dr Alois Alzheimer</a:t>
              </a:r>
              <a:endParaRPr lang="en-GB" sz="2400" b="1" u="sng">
                <a:solidFill>
                  <a:srgbClr val="3333CC"/>
                </a:solidFill>
              </a:endParaRPr>
            </a:p>
          </p:txBody>
        </p:sp>
        <p:pic>
          <p:nvPicPr>
            <p:cNvPr id="221198" name="Picture 16" descr="Alzheimer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40" y="300"/>
              <a:ext cx="1256" cy="1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21186" name="Rectangle 4"/>
          <p:cNvSpPr>
            <a:spLocks noGrp="1" noChangeArrowheads="1"/>
          </p:cNvSpPr>
          <p:nvPr>
            <p:ph type="title"/>
          </p:nvPr>
        </p:nvSpPr>
        <p:spPr/>
        <p:txBody>
          <a:bodyPr lIns="90488" tIns="44450" rIns="90488" bIns="44450"/>
          <a:lstStyle/>
          <a:p>
            <a:pPr eaLnBrk="1" hangingPunct="1"/>
            <a:r>
              <a:rPr lang="en-GB" sz="1000" smtClean="0">
                <a:latin typeface="Arial" pitchFamily="34" charset="0"/>
                <a:ea typeface="ＭＳ Ｐゴシック" pitchFamily="34" charset="-128"/>
              </a:rPr>
              <a:t>…</a:t>
            </a:r>
          </a:p>
        </p:txBody>
      </p:sp>
      <p:grpSp>
        <p:nvGrpSpPr>
          <p:cNvPr id="221187" name="Group 12"/>
          <p:cNvGrpSpPr>
            <a:grpSpLocks/>
          </p:cNvGrpSpPr>
          <p:nvPr/>
        </p:nvGrpSpPr>
        <p:grpSpPr bwMode="auto">
          <a:xfrm>
            <a:off x="468313" y="3716338"/>
            <a:ext cx="4368800" cy="2989262"/>
            <a:chOff x="295" y="2341"/>
            <a:chExt cx="2752" cy="1883"/>
          </a:xfrm>
        </p:grpSpPr>
        <p:sp>
          <p:nvSpPr>
            <p:cNvPr id="221194" name="Rectangle 2"/>
            <p:cNvSpPr>
              <a:spLocks noChangeArrowheads="1"/>
            </p:cNvSpPr>
            <p:nvPr/>
          </p:nvSpPr>
          <p:spPr bwMode="auto">
            <a:xfrm>
              <a:off x="432" y="3936"/>
              <a:ext cx="1200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488" tIns="44450" rIns="90488" bIns="44450"/>
            <a:lstStyle/>
            <a:p>
              <a:pPr algn="l">
                <a:spcBef>
                  <a:spcPct val="0"/>
                </a:spcBef>
                <a:buFontTx/>
                <a:buNone/>
              </a:pPr>
              <a:endParaRPr lang="en-GB" sz="2400">
                <a:solidFill>
                  <a:srgbClr val="000000"/>
                </a:solidFill>
                <a:latin typeface="Times New Roman" pitchFamily="18" charset="0"/>
              </a:endParaRPr>
            </a:p>
          </p:txBody>
        </p:sp>
        <p:graphicFrame>
          <p:nvGraphicFramePr>
            <p:cNvPr id="221195" name="Object 2"/>
            <p:cNvGraphicFramePr>
              <a:graphicFrameLocks/>
            </p:cNvGraphicFramePr>
            <p:nvPr/>
          </p:nvGraphicFramePr>
          <p:xfrm>
            <a:off x="1655" y="2750"/>
            <a:ext cx="1392" cy="139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21199" r:id="rId5" imgW="7011583" imgH="5047297" progId="">
                    <p:embed/>
                  </p:oleObj>
                </mc:Choice>
                <mc:Fallback>
                  <p:oleObj r:id="rId5" imgW="7011583" imgH="5047297" progId="">
                    <p:embed/>
                    <p:pic>
                      <p:nvPicPr>
                        <p:cNvPr id="0" name="Object 2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 t="1610"/>
                        <a:stretch>
                          <a:fillRect/>
                        </a:stretch>
                      </p:blipFill>
                      <p:spPr bwMode="auto">
                        <a:xfrm>
                          <a:off x="1655" y="2750"/>
                          <a:ext cx="1392" cy="1392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>
                                    <a:alpha val="74997"/>
                                  </a:schemeClr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21196" name="Object 3"/>
            <p:cNvGraphicFramePr>
              <a:graphicFrameLocks/>
            </p:cNvGraphicFramePr>
            <p:nvPr/>
          </p:nvGraphicFramePr>
          <p:xfrm>
            <a:off x="295" y="2341"/>
            <a:ext cx="1392" cy="144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21200" r:id="rId7" imgW="7087500" imgH="5189063" progId="">
                    <p:embed/>
                  </p:oleObj>
                </mc:Choice>
                <mc:Fallback>
                  <p:oleObj r:id="rId7" imgW="7087500" imgH="5189063" progId="">
                    <p:embed/>
                    <p:pic>
                      <p:nvPicPr>
                        <p:cNvPr id="0" name="Object 3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95" y="2341"/>
                          <a:ext cx="1392" cy="144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>
                                    <a:alpha val="74997"/>
                                  </a:schemeClr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pic>
        <p:nvPicPr>
          <p:cNvPr id="221188" name="Picture 6"/>
          <p:cNvPicPr>
            <a:picLocks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72" r="7272"/>
          <a:stretch>
            <a:fillRect/>
          </a:stretch>
        </p:blipFill>
        <p:spPr bwMode="auto">
          <a:xfrm>
            <a:off x="5724525" y="3573463"/>
            <a:ext cx="2667000" cy="213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21189" name="Group 13"/>
          <p:cNvGrpSpPr>
            <a:grpSpLocks/>
          </p:cNvGrpSpPr>
          <p:nvPr/>
        </p:nvGrpSpPr>
        <p:grpSpPr bwMode="auto">
          <a:xfrm>
            <a:off x="323850" y="0"/>
            <a:ext cx="1752600" cy="2752725"/>
            <a:chOff x="204" y="164"/>
            <a:chExt cx="1104" cy="1734"/>
          </a:xfrm>
        </p:grpSpPr>
        <p:sp>
          <p:nvSpPr>
            <p:cNvPr id="221192" name="Rectangle 11"/>
            <p:cNvSpPr>
              <a:spLocks noChangeArrowheads="1"/>
            </p:cNvSpPr>
            <p:nvPr/>
          </p:nvSpPr>
          <p:spPr bwMode="auto">
            <a:xfrm>
              <a:off x="204" y="1706"/>
              <a:ext cx="1089" cy="192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l">
                <a:buFontTx/>
                <a:buNone/>
              </a:pPr>
              <a:r>
                <a:rPr lang="en-GB" sz="1400" b="1">
                  <a:solidFill>
                    <a:srgbClr val="3333CC"/>
                  </a:solidFill>
                </a:rPr>
                <a:t>Auguste D. (1906)</a:t>
              </a:r>
              <a:endParaRPr lang="en-GB" sz="2400" b="1" u="sng">
                <a:solidFill>
                  <a:srgbClr val="3333CC"/>
                </a:solidFill>
              </a:endParaRPr>
            </a:p>
          </p:txBody>
        </p:sp>
        <p:pic>
          <p:nvPicPr>
            <p:cNvPr id="221193" name="Picture 7"/>
            <p:cNvPicPr>
              <a:picLocks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7857"/>
            <a:stretch>
              <a:fillRect/>
            </a:stretch>
          </p:blipFill>
          <p:spPr bwMode="auto">
            <a:xfrm>
              <a:off x="204" y="164"/>
              <a:ext cx="1104" cy="14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21190" name="Rectangle 8"/>
          <p:cNvSpPr>
            <a:spLocks noChangeArrowheads="1"/>
          </p:cNvSpPr>
          <p:nvPr/>
        </p:nvSpPr>
        <p:spPr bwMode="auto">
          <a:xfrm>
            <a:off x="2195513" y="333375"/>
            <a:ext cx="4895850" cy="2085975"/>
          </a:xfrm>
          <a:prstGeom prst="rect">
            <a:avLst/>
          </a:prstGeom>
          <a:solidFill>
            <a:srgbClr val="FFFF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l">
              <a:buFontTx/>
              <a:buNone/>
            </a:pPr>
            <a:r>
              <a:rPr lang="en-GB" sz="2400" b="1">
                <a:solidFill>
                  <a:srgbClr val="3333CC"/>
                </a:solidFill>
              </a:rPr>
              <a:t>Alzheimer</a:t>
            </a:r>
            <a:r>
              <a:rPr lang="en-GB" altLang="en-US" sz="2400" b="1">
                <a:solidFill>
                  <a:srgbClr val="3333CC"/>
                </a:solidFill>
              </a:rPr>
              <a:t>’</a:t>
            </a:r>
            <a:r>
              <a:rPr lang="en-GB" sz="2400" b="1">
                <a:solidFill>
                  <a:srgbClr val="3333CC"/>
                </a:solidFill>
              </a:rPr>
              <a:t>s Disease:</a:t>
            </a:r>
          </a:p>
          <a:p>
            <a:pPr algn="l">
              <a:buFontTx/>
              <a:buNone/>
            </a:pPr>
            <a:r>
              <a:rPr lang="en-GB" sz="2400">
                <a:solidFill>
                  <a:srgbClr val="3333CC"/>
                </a:solidFill>
              </a:rPr>
              <a:t>progressive accumulation of neurofibrillary tangles &amp; neuritic amyloid plaques, neuronal loss and brain atrophy</a:t>
            </a:r>
          </a:p>
        </p:txBody>
      </p:sp>
      <p:sp>
        <p:nvSpPr>
          <p:cNvPr id="221191" name="Rectangle 14"/>
          <p:cNvSpPr>
            <a:spLocks noChangeArrowheads="1"/>
          </p:cNvSpPr>
          <p:nvPr/>
        </p:nvSpPr>
        <p:spPr bwMode="auto">
          <a:xfrm>
            <a:off x="5500688" y="5929313"/>
            <a:ext cx="3094037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buFontTx/>
              <a:buNone/>
            </a:pPr>
            <a:r>
              <a:rPr lang="en-GB" sz="2000" b="1">
                <a:solidFill>
                  <a:srgbClr val="FFFFFF"/>
                </a:solidFill>
              </a:rPr>
              <a:t>post mortem diagnosis</a:t>
            </a:r>
            <a:endParaRPr lang="en-GB"/>
          </a:p>
        </p:txBody>
      </p:sp>
    </p:spTree>
  </p:cSld>
  <p:clrMapOvr>
    <a:masterClrMapping/>
  </p:clrMapOvr>
  <p:transition spd="slow">
    <p:pull dir="ld"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233" name="Line 2"/>
          <p:cNvSpPr>
            <a:spLocks noChangeShapeType="1"/>
          </p:cNvSpPr>
          <p:nvPr/>
        </p:nvSpPr>
        <p:spPr bwMode="auto">
          <a:xfrm flipH="1">
            <a:off x="1854200" y="2228850"/>
            <a:ext cx="201613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223234" name="Line 3"/>
          <p:cNvSpPr>
            <a:spLocks noChangeShapeType="1"/>
          </p:cNvSpPr>
          <p:nvPr/>
        </p:nvSpPr>
        <p:spPr bwMode="auto">
          <a:xfrm>
            <a:off x="2055813" y="1924050"/>
            <a:ext cx="447040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prstDash val="sysDot"/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223235" name="Rectangle 5"/>
          <p:cNvSpPr>
            <a:spLocks noGrp="1" noChangeArrowheads="1"/>
          </p:cNvSpPr>
          <p:nvPr>
            <p:ph type="title"/>
          </p:nvPr>
        </p:nvSpPr>
        <p:spPr>
          <a:xfrm>
            <a:off x="0" y="327025"/>
            <a:ext cx="6745288" cy="714375"/>
          </a:xfrm>
        </p:spPr>
        <p:txBody>
          <a:bodyPr anchor="t"/>
          <a:lstStyle/>
          <a:p>
            <a:pPr eaLnBrk="1" hangingPunct="1"/>
            <a:r>
              <a:rPr lang="en-GB" sz="2400" b="1" smtClean="0">
                <a:solidFill>
                  <a:srgbClr val="000090"/>
                </a:solidFill>
                <a:latin typeface="Arial" pitchFamily="34" charset="0"/>
                <a:ea typeface="ＭＳ Ｐゴシック" pitchFamily="34" charset="-128"/>
              </a:rPr>
              <a:t>Choosing the right study design in AD trials</a:t>
            </a:r>
          </a:p>
        </p:txBody>
      </p:sp>
      <p:sp>
        <p:nvSpPr>
          <p:cNvPr id="223236" name="Text Box 6"/>
          <p:cNvSpPr txBox="1">
            <a:spLocks noChangeArrowheads="1"/>
          </p:cNvSpPr>
          <p:nvPr/>
        </p:nvSpPr>
        <p:spPr bwMode="auto">
          <a:xfrm>
            <a:off x="1793875" y="6030913"/>
            <a:ext cx="6588125" cy="382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US" sz="2600">
                <a:solidFill>
                  <a:srgbClr val="FF0000"/>
                </a:solidFill>
              </a:rPr>
              <a:t>     </a:t>
            </a:r>
            <a:r>
              <a:rPr lang="en-US" sz="2000">
                <a:solidFill>
                  <a:srgbClr val="FF0000"/>
                </a:solidFill>
              </a:rPr>
              <a:t>0              5            10           15           20  years</a:t>
            </a:r>
          </a:p>
        </p:txBody>
      </p:sp>
      <p:sp>
        <p:nvSpPr>
          <p:cNvPr id="223237" name="Rectangle 16" descr="Large confetti"/>
          <p:cNvSpPr>
            <a:spLocks noChangeArrowheads="1"/>
          </p:cNvSpPr>
          <p:nvPr/>
        </p:nvSpPr>
        <p:spPr bwMode="auto">
          <a:xfrm>
            <a:off x="2214563" y="1928813"/>
            <a:ext cx="4714875" cy="3886200"/>
          </a:xfrm>
          <a:prstGeom prst="rect">
            <a:avLst/>
          </a:prstGeom>
          <a:pattFill prst="lgConfetti">
            <a:fgClr>
              <a:srgbClr val="DDDDDD"/>
            </a:fgClr>
            <a:bgClr>
              <a:srgbClr val="FFFFFF"/>
            </a:bgClr>
          </a:pattFill>
          <a:ln w="9525">
            <a:solidFill>
              <a:srgbClr val="969696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buFontTx/>
              <a:buNone/>
            </a:pPr>
            <a:endParaRPr lang="en-GB"/>
          </a:p>
        </p:txBody>
      </p:sp>
      <p:sp>
        <p:nvSpPr>
          <p:cNvPr id="223238" name="Line 18"/>
          <p:cNvSpPr>
            <a:spLocks noChangeShapeType="1"/>
          </p:cNvSpPr>
          <p:nvPr/>
        </p:nvSpPr>
        <p:spPr bwMode="auto">
          <a:xfrm>
            <a:off x="6738938" y="2220913"/>
            <a:ext cx="1587" cy="358140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58389" name="Freeform 26"/>
          <p:cNvSpPr>
            <a:spLocks/>
          </p:cNvSpPr>
          <p:nvPr/>
        </p:nvSpPr>
        <p:spPr bwMode="auto">
          <a:xfrm>
            <a:off x="5857875" y="2143125"/>
            <a:ext cx="844550" cy="3643313"/>
          </a:xfrm>
          <a:custGeom>
            <a:avLst/>
            <a:gdLst>
              <a:gd name="T0" fmla="*/ 2147483647 w 600"/>
              <a:gd name="T1" fmla="*/ 2147483647 h 2213"/>
              <a:gd name="T2" fmla="*/ 2147483647 w 600"/>
              <a:gd name="T3" fmla="*/ 2147483647 h 2213"/>
              <a:gd name="T4" fmla="*/ 2147483647 w 600"/>
              <a:gd name="T5" fmla="*/ 2147483647 h 2213"/>
              <a:gd name="T6" fmla="*/ 2147483647 w 600"/>
              <a:gd name="T7" fmla="*/ 2147483647 h 2213"/>
              <a:gd name="T8" fmla="*/ 2147483647 w 600"/>
              <a:gd name="T9" fmla="*/ 2147483647 h 2213"/>
              <a:gd name="T10" fmla="*/ 2147483647 w 600"/>
              <a:gd name="T11" fmla="*/ 2147483647 h 2213"/>
              <a:gd name="T12" fmla="*/ 2147483647 w 600"/>
              <a:gd name="T13" fmla="*/ 2147483647 h 2213"/>
              <a:gd name="T14" fmla="*/ 2147483647 w 600"/>
              <a:gd name="T15" fmla="*/ 2147483647 h 2213"/>
              <a:gd name="T16" fmla="*/ 0 w 600"/>
              <a:gd name="T17" fmla="*/ 2147483647 h 221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00"/>
              <a:gd name="T28" fmla="*/ 0 h 2213"/>
              <a:gd name="T29" fmla="*/ 600 w 600"/>
              <a:gd name="T30" fmla="*/ 2213 h 221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00" h="2213">
                <a:moveTo>
                  <a:pt x="600" y="2213"/>
                </a:moveTo>
                <a:cubicBezTo>
                  <a:pt x="587" y="2197"/>
                  <a:pt x="547" y="2165"/>
                  <a:pt x="521" y="2119"/>
                </a:cubicBezTo>
                <a:cubicBezTo>
                  <a:pt x="492" y="2081"/>
                  <a:pt x="454" y="1990"/>
                  <a:pt x="445" y="1938"/>
                </a:cubicBezTo>
                <a:cubicBezTo>
                  <a:pt x="445" y="1938"/>
                  <a:pt x="401" y="1819"/>
                  <a:pt x="353" y="1535"/>
                </a:cubicBezTo>
                <a:cubicBezTo>
                  <a:pt x="305" y="1251"/>
                  <a:pt x="193" y="469"/>
                  <a:pt x="157" y="233"/>
                </a:cubicBezTo>
                <a:cubicBezTo>
                  <a:pt x="122" y="0"/>
                  <a:pt x="150" y="169"/>
                  <a:pt x="144" y="138"/>
                </a:cubicBezTo>
                <a:cubicBezTo>
                  <a:pt x="138" y="107"/>
                  <a:pt x="135" y="55"/>
                  <a:pt x="123" y="48"/>
                </a:cubicBezTo>
                <a:cubicBezTo>
                  <a:pt x="100" y="32"/>
                  <a:pt x="96" y="56"/>
                  <a:pt x="75" y="93"/>
                </a:cubicBezTo>
                <a:cubicBezTo>
                  <a:pt x="54" y="130"/>
                  <a:pt x="16" y="231"/>
                  <a:pt x="0" y="267"/>
                </a:cubicBezTo>
              </a:path>
            </a:pathLst>
          </a:custGeom>
          <a:noFill/>
          <a:ln w="3810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223240" name="Line 28"/>
          <p:cNvSpPr>
            <a:spLocks noChangeShapeType="1"/>
          </p:cNvSpPr>
          <p:nvPr/>
        </p:nvSpPr>
        <p:spPr bwMode="auto">
          <a:xfrm>
            <a:off x="5926138" y="2220913"/>
            <a:ext cx="1587" cy="358140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223241" name="Line 29"/>
          <p:cNvSpPr>
            <a:spLocks noChangeShapeType="1"/>
          </p:cNvSpPr>
          <p:nvPr/>
        </p:nvSpPr>
        <p:spPr bwMode="auto">
          <a:xfrm>
            <a:off x="6129338" y="2220913"/>
            <a:ext cx="1587" cy="358140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223242" name="Line 30"/>
          <p:cNvSpPr>
            <a:spLocks noChangeShapeType="1"/>
          </p:cNvSpPr>
          <p:nvPr/>
        </p:nvSpPr>
        <p:spPr bwMode="auto">
          <a:xfrm>
            <a:off x="6334125" y="2220913"/>
            <a:ext cx="1588" cy="358140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223243" name="Line 31"/>
          <p:cNvSpPr>
            <a:spLocks noChangeShapeType="1"/>
          </p:cNvSpPr>
          <p:nvPr/>
        </p:nvSpPr>
        <p:spPr bwMode="auto">
          <a:xfrm>
            <a:off x="6535738" y="2220913"/>
            <a:ext cx="1587" cy="358140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223244" name="Rectangle 10"/>
          <p:cNvSpPr>
            <a:spLocks noChangeArrowheads="1"/>
          </p:cNvSpPr>
          <p:nvPr/>
        </p:nvSpPr>
        <p:spPr bwMode="auto">
          <a:xfrm>
            <a:off x="2268538" y="2205038"/>
            <a:ext cx="3509962" cy="3546475"/>
          </a:xfrm>
          <a:prstGeom prst="rect">
            <a:avLst/>
          </a:prstGeom>
          <a:gradFill rotWithShape="1">
            <a:gsLst>
              <a:gs pos="0">
                <a:srgbClr val="BEF397"/>
              </a:gs>
              <a:gs pos="50000">
                <a:srgbClr val="D5F6C0"/>
              </a:gs>
              <a:gs pos="100000">
                <a:srgbClr val="EAFAE0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endParaRPr lang="en-GB" sz="1800">
              <a:solidFill>
                <a:srgbClr val="FFFFFF"/>
              </a:solidFill>
            </a:endParaRPr>
          </a:p>
        </p:txBody>
      </p:sp>
      <p:sp>
        <p:nvSpPr>
          <p:cNvPr id="224272" name="Rectangle 13"/>
          <p:cNvSpPr>
            <a:spLocks noChangeArrowheads="1"/>
          </p:cNvSpPr>
          <p:nvPr/>
        </p:nvSpPr>
        <p:spPr bwMode="auto">
          <a:xfrm>
            <a:off x="2484438" y="3933825"/>
            <a:ext cx="1146175" cy="204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en-GB" sz="1400">
                <a:solidFill>
                  <a:srgbClr val="000000"/>
                </a:solidFill>
              </a:rPr>
              <a:t>pre-clinical AD</a:t>
            </a:r>
            <a:endParaRPr lang="en-US" sz="1400">
              <a:solidFill>
                <a:srgbClr val="000000"/>
              </a:solidFill>
            </a:endParaRPr>
          </a:p>
        </p:txBody>
      </p:sp>
      <p:grpSp>
        <p:nvGrpSpPr>
          <p:cNvPr id="2" name="Group 79"/>
          <p:cNvGrpSpPr/>
          <p:nvPr/>
        </p:nvGrpSpPr>
        <p:grpSpPr>
          <a:xfrm>
            <a:off x="6948264" y="1700808"/>
            <a:ext cx="1214438" cy="357191"/>
            <a:chOff x="5715000" y="1428736"/>
            <a:chExt cx="1214438" cy="357191"/>
          </a:xfrm>
          <a:solidFill>
            <a:srgbClr val="FF0000"/>
          </a:solidFill>
        </p:grpSpPr>
        <p:sp>
          <p:nvSpPr>
            <p:cNvPr id="40970" name="Rectangle 11"/>
            <p:cNvSpPr>
              <a:spLocks noChangeArrowheads="1"/>
            </p:cNvSpPr>
            <p:nvPr/>
          </p:nvSpPr>
          <p:spPr bwMode="auto">
            <a:xfrm>
              <a:off x="5715000" y="1428736"/>
              <a:ext cx="1214438" cy="357191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lnSpc>
                  <a:spcPct val="95000"/>
                </a:lnSpc>
                <a:spcBef>
                  <a:spcPct val="0"/>
                </a:spcBef>
                <a:buFontTx/>
                <a:buNone/>
                <a:defRPr/>
              </a:pPr>
              <a:endParaRPr lang="en-GB" sz="180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40973" name="Rectangle 14"/>
            <p:cNvSpPr>
              <a:spLocks noChangeArrowheads="1"/>
            </p:cNvSpPr>
            <p:nvPr/>
          </p:nvSpPr>
          <p:spPr bwMode="auto">
            <a:xfrm>
              <a:off x="5786446" y="1500174"/>
              <a:ext cx="1116012" cy="20467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lnSpc>
                  <a:spcPct val="95000"/>
                </a:lnSpc>
                <a:spcBef>
                  <a:spcPct val="0"/>
                </a:spcBef>
                <a:buFontTx/>
                <a:buNone/>
                <a:defRPr/>
              </a:pPr>
              <a:r>
                <a:rPr lang="en-GB" sz="1400" dirty="0">
                  <a:solidFill>
                    <a:srgbClr val="000000"/>
                  </a:solidFill>
                  <a:ea typeface="ＭＳ Ｐゴシック" charset="0"/>
                  <a:cs typeface="ＭＳ Ｐゴシック" charset="0"/>
                </a:rPr>
                <a:t>Clinical AD</a:t>
              </a:r>
              <a:endParaRPr lang="en-US" sz="1400" dirty="0">
                <a:solidFill>
                  <a:srgbClr val="000000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cxnSp>
        <p:nvCxnSpPr>
          <p:cNvPr id="223247" name="Straight Connector 72"/>
          <p:cNvCxnSpPr>
            <a:cxnSpLocks noChangeShapeType="1"/>
          </p:cNvCxnSpPr>
          <p:nvPr/>
        </p:nvCxnSpPr>
        <p:spPr bwMode="auto">
          <a:xfrm>
            <a:off x="2214563" y="2214563"/>
            <a:ext cx="4714875" cy="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3" name="Group 77"/>
          <p:cNvGrpSpPr>
            <a:grpSpLocks/>
          </p:cNvGrpSpPr>
          <p:nvPr/>
        </p:nvGrpSpPr>
        <p:grpSpPr bwMode="auto">
          <a:xfrm>
            <a:off x="2268538" y="2205038"/>
            <a:ext cx="3443287" cy="3862387"/>
            <a:chOff x="2285984" y="2214554"/>
            <a:chExt cx="3443318" cy="3863145"/>
          </a:xfrm>
        </p:grpSpPr>
        <p:sp>
          <p:nvSpPr>
            <p:cNvPr id="223263" name="Right Triangle 66"/>
            <p:cNvSpPr>
              <a:spLocks noChangeArrowheads="1"/>
            </p:cNvSpPr>
            <p:nvPr/>
          </p:nvSpPr>
          <p:spPr bwMode="auto">
            <a:xfrm flipH="1">
              <a:off x="2285984" y="2214554"/>
              <a:ext cx="3443318" cy="3571900"/>
            </a:xfrm>
            <a:prstGeom prst="rtTriangle">
              <a:avLst/>
            </a:prstGeom>
            <a:blipFill dpi="0" rotWithShape="1">
              <a:blip r:embed="rId4"/>
              <a:srcRect/>
              <a:tile tx="0" ty="0" sx="100000" sy="100000" flip="none" algn="tl"/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3264" name="Rectangle 34"/>
            <p:cNvSpPr>
              <a:spLocks noChangeArrowheads="1"/>
            </p:cNvSpPr>
            <p:nvPr/>
          </p:nvSpPr>
          <p:spPr bwMode="auto">
            <a:xfrm rot="-2930153">
              <a:off x="2955853" y="4433209"/>
              <a:ext cx="2994025" cy="2949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>
                <a:lnSpc>
                  <a:spcPct val="95000"/>
                </a:lnSpc>
                <a:spcBef>
                  <a:spcPct val="0"/>
                </a:spcBef>
                <a:buFontTx/>
                <a:buNone/>
              </a:pPr>
              <a:r>
                <a:rPr lang="en-GB" sz="2000">
                  <a:solidFill>
                    <a:srgbClr val="000000"/>
                  </a:solidFill>
                </a:rPr>
                <a:t>Amyloid accumulation</a:t>
              </a:r>
              <a:endParaRPr lang="en-US" sz="2000">
                <a:solidFill>
                  <a:srgbClr val="000000"/>
                </a:solidFill>
              </a:endParaRPr>
            </a:p>
          </p:txBody>
        </p:sp>
      </p:grpSp>
      <p:sp>
        <p:nvSpPr>
          <p:cNvPr id="58395" name="Line 32"/>
          <p:cNvSpPr>
            <a:spLocks noChangeShapeType="1"/>
          </p:cNvSpPr>
          <p:nvPr/>
        </p:nvSpPr>
        <p:spPr bwMode="auto">
          <a:xfrm flipV="1">
            <a:off x="4283968" y="3408363"/>
            <a:ext cx="1368152" cy="0"/>
          </a:xfrm>
          <a:prstGeom prst="line">
            <a:avLst/>
          </a:prstGeom>
          <a:noFill/>
          <a:ln w="28575" cmpd="sng">
            <a:solidFill>
              <a:schemeClr val="accent3">
                <a:lumMod val="50000"/>
              </a:schemeClr>
            </a:solidFill>
            <a:prstDash val="dot"/>
            <a:round/>
            <a:headEnd type="oval"/>
            <a:tailEnd type="oval"/>
          </a:ln>
          <a:scene3d>
            <a:camera prst="orthographicFront"/>
            <a:lightRig rig="threePt" dir="t"/>
          </a:scene3d>
          <a:sp3d>
            <a:bevelT w="12700"/>
            <a:bevelB w="0"/>
          </a:sp3d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224278" name="Picture 17"/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72" r="7272"/>
          <a:stretch>
            <a:fillRect/>
          </a:stretch>
        </p:blipFill>
        <p:spPr bwMode="auto">
          <a:xfrm>
            <a:off x="6929438" y="2117725"/>
            <a:ext cx="1295400" cy="95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3253" name="Picture 6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60350"/>
            <a:ext cx="1690687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3254" name="Line 51"/>
          <p:cNvSpPr>
            <a:spLocks noChangeShapeType="1"/>
          </p:cNvSpPr>
          <p:nvPr/>
        </p:nvSpPr>
        <p:spPr bwMode="auto">
          <a:xfrm>
            <a:off x="0" y="1063625"/>
            <a:ext cx="9144000" cy="0"/>
          </a:xfrm>
          <a:prstGeom prst="line">
            <a:avLst/>
          </a:prstGeom>
          <a:noFill/>
          <a:ln w="38100">
            <a:solidFill>
              <a:srgbClr val="00009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30" name="Group 12"/>
          <p:cNvGrpSpPr>
            <a:grpSpLocks/>
          </p:cNvGrpSpPr>
          <p:nvPr/>
        </p:nvGrpSpPr>
        <p:grpSpPr bwMode="auto">
          <a:xfrm>
            <a:off x="2339975" y="2708275"/>
            <a:ext cx="1584325" cy="1152525"/>
            <a:chOff x="295" y="2341"/>
            <a:chExt cx="2752" cy="1883"/>
          </a:xfrm>
        </p:grpSpPr>
        <p:sp>
          <p:nvSpPr>
            <p:cNvPr id="223260" name="Rectangle 2"/>
            <p:cNvSpPr>
              <a:spLocks noChangeArrowheads="1"/>
            </p:cNvSpPr>
            <p:nvPr/>
          </p:nvSpPr>
          <p:spPr bwMode="auto">
            <a:xfrm>
              <a:off x="432" y="3936"/>
              <a:ext cx="1200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488" tIns="44450" rIns="90488" bIns="44450"/>
            <a:lstStyle/>
            <a:p>
              <a:pPr algn="l">
                <a:spcBef>
                  <a:spcPct val="0"/>
                </a:spcBef>
                <a:buFontTx/>
                <a:buNone/>
              </a:pPr>
              <a:endParaRPr lang="en-GB" sz="2400">
                <a:solidFill>
                  <a:srgbClr val="000000"/>
                </a:solidFill>
                <a:latin typeface="Times New Roman" pitchFamily="18" charset="0"/>
              </a:endParaRPr>
            </a:p>
          </p:txBody>
        </p:sp>
        <p:graphicFrame>
          <p:nvGraphicFramePr>
            <p:cNvPr id="223261" name="Object 2"/>
            <p:cNvGraphicFramePr>
              <a:graphicFrameLocks/>
            </p:cNvGraphicFramePr>
            <p:nvPr/>
          </p:nvGraphicFramePr>
          <p:xfrm>
            <a:off x="1655" y="2750"/>
            <a:ext cx="1392" cy="139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23265" r:id="rId7" imgW="7011583" imgH="5047297" progId="">
                    <p:embed/>
                  </p:oleObj>
                </mc:Choice>
                <mc:Fallback>
                  <p:oleObj r:id="rId7" imgW="7011583" imgH="5047297" progId="">
                    <p:embed/>
                    <p:pic>
                      <p:nvPicPr>
                        <p:cNvPr id="0" name="Object 2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 t="1610"/>
                        <a:stretch>
                          <a:fillRect/>
                        </a:stretch>
                      </p:blipFill>
                      <p:spPr bwMode="auto">
                        <a:xfrm>
                          <a:off x="1655" y="2750"/>
                          <a:ext cx="1392" cy="1392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>
                                    <a:alpha val="74997"/>
                                  </a:schemeClr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23262" name="Object 3"/>
            <p:cNvGraphicFramePr>
              <a:graphicFrameLocks/>
            </p:cNvGraphicFramePr>
            <p:nvPr/>
          </p:nvGraphicFramePr>
          <p:xfrm>
            <a:off x="295" y="2341"/>
            <a:ext cx="1392" cy="144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23266" r:id="rId9" imgW="7087500" imgH="5189063" progId="">
                    <p:embed/>
                  </p:oleObj>
                </mc:Choice>
                <mc:Fallback>
                  <p:oleObj r:id="rId9" imgW="7087500" imgH="5189063" progId="">
                    <p:embed/>
                    <p:pic>
                      <p:nvPicPr>
                        <p:cNvPr id="0" name="Object 3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10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95" y="2341"/>
                          <a:ext cx="1392" cy="144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>
                                    <a:alpha val="74997"/>
                                  </a:schemeClr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cxnSp>
        <p:nvCxnSpPr>
          <p:cNvPr id="6" name="Straight Arrow Connector 5"/>
          <p:cNvCxnSpPr/>
          <p:nvPr/>
        </p:nvCxnSpPr>
        <p:spPr>
          <a:xfrm>
            <a:off x="5580112" y="1844824"/>
            <a:ext cx="288032" cy="360040"/>
          </a:xfrm>
          <a:prstGeom prst="straightConnector1">
            <a:avLst/>
          </a:prstGeom>
          <a:ln>
            <a:tailEnd type="arrow"/>
          </a:ln>
          <a:scene3d>
            <a:camera prst="orthographicFront"/>
            <a:lightRig rig="threePt" dir="t"/>
          </a:scene3d>
          <a:sp3d>
            <a:bevelT w="95250"/>
            <a:bevelB/>
          </a:sp3d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390" name="Line 27"/>
          <p:cNvSpPr>
            <a:spLocks noChangeShapeType="1"/>
          </p:cNvSpPr>
          <p:nvPr/>
        </p:nvSpPr>
        <p:spPr bwMode="auto">
          <a:xfrm>
            <a:off x="5867400" y="2565400"/>
            <a:ext cx="1062038" cy="7938"/>
          </a:xfrm>
          <a:prstGeom prst="line">
            <a:avLst/>
          </a:prstGeom>
          <a:noFill/>
          <a:ln w="31750">
            <a:solidFill>
              <a:srgbClr val="EB13D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58386" name="Freeform 19"/>
          <p:cNvSpPr>
            <a:spLocks/>
          </p:cNvSpPr>
          <p:nvPr/>
        </p:nvSpPr>
        <p:spPr bwMode="auto">
          <a:xfrm flipH="1">
            <a:off x="5724525" y="2220913"/>
            <a:ext cx="1014413" cy="3581400"/>
          </a:xfrm>
          <a:custGeom>
            <a:avLst/>
            <a:gdLst>
              <a:gd name="T0" fmla="*/ 0 w 2815"/>
              <a:gd name="T1" fmla="*/ 2147483647 h 1899"/>
              <a:gd name="T2" fmla="*/ 2147483647 w 2815"/>
              <a:gd name="T3" fmla="*/ 2147483647 h 1899"/>
              <a:gd name="T4" fmla="*/ 2147483647 w 2815"/>
              <a:gd name="T5" fmla="*/ 2147483647 h 1899"/>
              <a:gd name="T6" fmla="*/ 2147483647 w 2815"/>
              <a:gd name="T7" fmla="*/ 2147483647 h 1899"/>
              <a:gd name="T8" fmla="*/ 2147483647 w 2815"/>
              <a:gd name="T9" fmla="*/ 2147483647 h 1899"/>
              <a:gd name="T10" fmla="*/ 2147483647 w 2815"/>
              <a:gd name="T11" fmla="*/ 2147483647 h 1899"/>
              <a:gd name="T12" fmla="*/ 2147483647 w 2815"/>
              <a:gd name="T13" fmla="*/ 2147483647 h 1899"/>
              <a:gd name="T14" fmla="*/ 2147483647 w 2815"/>
              <a:gd name="T15" fmla="*/ 0 h 189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815"/>
              <a:gd name="T25" fmla="*/ 0 h 1899"/>
              <a:gd name="T26" fmla="*/ 2815 w 2815"/>
              <a:gd name="T27" fmla="*/ 1899 h 189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815" h="1899">
                <a:moveTo>
                  <a:pt x="0" y="1899"/>
                </a:moveTo>
                <a:cubicBezTo>
                  <a:pt x="113" y="1882"/>
                  <a:pt x="462" y="1871"/>
                  <a:pt x="684" y="1798"/>
                </a:cubicBezTo>
                <a:cubicBezTo>
                  <a:pt x="906" y="1725"/>
                  <a:pt x="1154" y="1581"/>
                  <a:pt x="1332" y="1458"/>
                </a:cubicBezTo>
                <a:cubicBezTo>
                  <a:pt x="1510" y="1335"/>
                  <a:pt x="1638" y="1192"/>
                  <a:pt x="1752" y="1062"/>
                </a:cubicBezTo>
                <a:cubicBezTo>
                  <a:pt x="1866" y="932"/>
                  <a:pt x="1931" y="797"/>
                  <a:pt x="2016" y="676"/>
                </a:cubicBezTo>
                <a:lnTo>
                  <a:pt x="2184" y="424"/>
                </a:lnTo>
                <a:cubicBezTo>
                  <a:pt x="2266" y="331"/>
                  <a:pt x="2403" y="191"/>
                  <a:pt x="2508" y="120"/>
                </a:cubicBezTo>
                <a:cubicBezTo>
                  <a:pt x="2613" y="49"/>
                  <a:pt x="2751" y="25"/>
                  <a:pt x="2815" y="0"/>
                </a:cubicBezTo>
              </a:path>
            </a:pathLst>
          </a:custGeom>
          <a:noFill/>
          <a:ln w="38100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43" name="Line 27"/>
          <p:cNvSpPr>
            <a:spLocks noChangeShapeType="1"/>
          </p:cNvSpPr>
          <p:nvPr/>
        </p:nvSpPr>
        <p:spPr bwMode="auto">
          <a:xfrm>
            <a:off x="4284663" y="2205038"/>
            <a:ext cx="2590800" cy="0"/>
          </a:xfrm>
          <a:prstGeom prst="line">
            <a:avLst/>
          </a:prstGeom>
          <a:noFill/>
          <a:ln w="31750">
            <a:solidFill>
              <a:srgbClr val="000090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GB"/>
          </a:p>
        </p:txBody>
      </p:sp>
    </p:spTree>
  </p:cSld>
  <p:clrMapOvr>
    <a:masterClrMapping/>
  </p:clrMapOvr>
  <p:transition spd="slow">
    <p:cover dir="l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224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 nodeType="clickPar">
                      <p:stCondLst>
                        <p:cond delay="indefinite"/>
                      </p:stCondLst>
                      <p:childTnLst>
                        <p:par>
                          <p:cTn id="1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0" dur="1000"/>
                                        <p:tgtEl>
                                          <p:spTgt spid="583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5" dur="1000"/>
                                        <p:tgtEl>
                                          <p:spTgt spid="583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 nodeType="clickPar">
                      <p:stCondLst>
                        <p:cond delay="indefinite"/>
                      </p:stCondLst>
                      <p:childTnLst>
                        <p:par>
                          <p:cTn id="2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0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32" dur="1000"/>
                                        <p:tgtEl>
                                          <p:spTgt spid="583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37" dur="1000"/>
                                        <p:tgtEl>
                                          <p:spTgt spid="583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40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389" grpId="0" animBg="1"/>
      <p:bldP spid="224272" grpId="0"/>
      <p:bldP spid="58390" grpId="0" animBg="1"/>
      <p:bldP spid="58386" grpId="0" animBg="1"/>
      <p:bldP spid="43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81" name="Rectangle 1"/>
          <p:cNvSpPr>
            <a:spLocks noChangeArrowheads="1"/>
          </p:cNvSpPr>
          <p:nvPr/>
        </p:nvSpPr>
        <p:spPr bwMode="auto">
          <a:xfrm>
            <a:off x="0" y="11113"/>
            <a:ext cx="9144000" cy="6858000"/>
          </a:xfrm>
          <a:prstGeom prst="rect">
            <a:avLst/>
          </a:prstGeom>
          <a:solidFill>
            <a:srgbClr val="FFFF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5282" name="Line 3"/>
          <p:cNvSpPr>
            <a:spLocks noChangeShapeType="1"/>
          </p:cNvSpPr>
          <p:nvPr/>
        </p:nvSpPr>
        <p:spPr bwMode="auto">
          <a:xfrm flipH="1">
            <a:off x="1004888" y="1511300"/>
            <a:ext cx="1587" cy="2235200"/>
          </a:xfrm>
          <a:prstGeom prst="line">
            <a:avLst/>
          </a:prstGeom>
          <a:noFill/>
          <a:ln w="76200">
            <a:solidFill>
              <a:schemeClr val="bg1"/>
            </a:solidFill>
            <a:round/>
            <a:headEnd/>
            <a:tailEnd/>
          </a:ln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chemeClr val="bg1"/>
            </a:extrusionClr>
          </a:sp3d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>
            <a:flatTx/>
          </a:bodyPr>
          <a:lstStyle/>
          <a:p>
            <a:endParaRPr lang="en-GB"/>
          </a:p>
        </p:txBody>
      </p:sp>
      <p:sp>
        <p:nvSpPr>
          <p:cNvPr id="225283" name="Line 4"/>
          <p:cNvSpPr>
            <a:spLocks noChangeShapeType="1"/>
          </p:cNvSpPr>
          <p:nvPr/>
        </p:nvSpPr>
        <p:spPr bwMode="auto">
          <a:xfrm>
            <a:off x="987425" y="3743325"/>
            <a:ext cx="4697413" cy="0"/>
          </a:xfrm>
          <a:prstGeom prst="line">
            <a:avLst/>
          </a:prstGeom>
          <a:noFill/>
          <a:ln w="76200">
            <a:solidFill>
              <a:schemeClr val="bg1"/>
            </a:solidFill>
            <a:round/>
            <a:headEnd/>
            <a:tailEnd/>
          </a:ln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chemeClr val="bg1"/>
            </a:extrusionClr>
          </a:sp3d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>
            <a:flatTx/>
          </a:bodyPr>
          <a:lstStyle/>
          <a:p>
            <a:endParaRPr lang="en-GB"/>
          </a:p>
        </p:txBody>
      </p:sp>
      <p:sp>
        <p:nvSpPr>
          <p:cNvPr id="225284" name="Freeform 5"/>
          <p:cNvSpPr>
            <a:spLocks/>
          </p:cNvSpPr>
          <p:nvPr/>
        </p:nvSpPr>
        <p:spPr bwMode="auto">
          <a:xfrm>
            <a:off x="1079500" y="1743075"/>
            <a:ext cx="3384550" cy="1714500"/>
          </a:xfrm>
          <a:custGeom>
            <a:avLst/>
            <a:gdLst>
              <a:gd name="T0" fmla="*/ 0 w 1996"/>
              <a:gd name="T1" fmla="*/ 2147483647 h 922"/>
              <a:gd name="T2" fmla="*/ 2147483647 w 1996"/>
              <a:gd name="T3" fmla="*/ 2147483647 h 922"/>
              <a:gd name="T4" fmla="*/ 2147483647 w 1996"/>
              <a:gd name="T5" fmla="*/ 2147483647 h 922"/>
              <a:gd name="T6" fmla="*/ 0 60000 65536"/>
              <a:gd name="T7" fmla="*/ 0 60000 65536"/>
              <a:gd name="T8" fmla="*/ 0 60000 65536"/>
              <a:gd name="T9" fmla="*/ 0 w 1996"/>
              <a:gd name="T10" fmla="*/ 0 h 922"/>
              <a:gd name="T11" fmla="*/ 1996 w 1996"/>
              <a:gd name="T12" fmla="*/ 922 h 92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96" h="922">
                <a:moveTo>
                  <a:pt x="0" y="15"/>
                </a:moveTo>
                <a:cubicBezTo>
                  <a:pt x="400" y="7"/>
                  <a:pt x="801" y="0"/>
                  <a:pt x="1134" y="151"/>
                </a:cubicBezTo>
                <a:cubicBezTo>
                  <a:pt x="1467" y="302"/>
                  <a:pt x="1731" y="612"/>
                  <a:pt x="1996" y="922"/>
                </a:cubicBezTo>
              </a:path>
            </a:pathLst>
          </a:custGeom>
          <a:noFill/>
          <a:ln w="76200">
            <a:solidFill>
              <a:srgbClr val="CC3300"/>
            </a:solidFill>
            <a:round/>
            <a:headEnd/>
            <a:tailEnd/>
          </a:ln>
          <a:scene3d>
            <a:camera prst="legacyObliqueTopRight"/>
            <a:lightRig rig="legacyFlat3" dir="b"/>
          </a:scene3d>
          <a:sp3d extrusionH="125400" prstMaterial="legacyMatte">
            <a:bevelT w="13500" h="13500" prst="angle"/>
            <a:bevelB w="13500" h="13500" prst="angle"/>
            <a:extrusionClr>
              <a:srgbClr val="CC3300"/>
            </a:extrusion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>
            <a:flatTx/>
          </a:bodyPr>
          <a:lstStyle/>
          <a:p>
            <a:endParaRPr lang="en-GB"/>
          </a:p>
        </p:txBody>
      </p:sp>
      <p:sp>
        <p:nvSpPr>
          <p:cNvPr id="225285" name="Freeform 6"/>
          <p:cNvSpPr>
            <a:spLocks/>
          </p:cNvSpPr>
          <p:nvPr/>
        </p:nvSpPr>
        <p:spPr bwMode="auto">
          <a:xfrm rot="-1447145">
            <a:off x="3636963" y="1890713"/>
            <a:ext cx="1223962" cy="1711325"/>
          </a:xfrm>
          <a:custGeom>
            <a:avLst/>
            <a:gdLst>
              <a:gd name="T0" fmla="*/ 0 w 1996"/>
              <a:gd name="T1" fmla="*/ 2147483647 h 922"/>
              <a:gd name="T2" fmla="*/ 2147483647 w 1996"/>
              <a:gd name="T3" fmla="*/ 2147483647 h 922"/>
              <a:gd name="T4" fmla="*/ 2147483647 w 1996"/>
              <a:gd name="T5" fmla="*/ 2147483647 h 922"/>
              <a:gd name="T6" fmla="*/ 0 60000 65536"/>
              <a:gd name="T7" fmla="*/ 0 60000 65536"/>
              <a:gd name="T8" fmla="*/ 0 60000 65536"/>
              <a:gd name="T9" fmla="*/ 0 w 1996"/>
              <a:gd name="T10" fmla="*/ 0 h 922"/>
              <a:gd name="T11" fmla="*/ 1996 w 1996"/>
              <a:gd name="T12" fmla="*/ 922 h 92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96" h="922">
                <a:moveTo>
                  <a:pt x="0" y="15"/>
                </a:moveTo>
                <a:cubicBezTo>
                  <a:pt x="400" y="7"/>
                  <a:pt x="801" y="0"/>
                  <a:pt x="1134" y="151"/>
                </a:cubicBezTo>
                <a:cubicBezTo>
                  <a:pt x="1467" y="302"/>
                  <a:pt x="1731" y="612"/>
                  <a:pt x="1996" y="922"/>
                </a:cubicBezTo>
              </a:path>
            </a:pathLst>
          </a:custGeom>
          <a:noFill/>
          <a:ln w="38100">
            <a:solidFill>
              <a:srgbClr val="FF9933"/>
            </a:solidFill>
            <a:round/>
            <a:headEnd/>
            <a:tailEnd/>
          </a:ln>
          <a:scene3d>
            <a:camera prst="legacyObliqueTopRight"/>
            <a:lightRig rig="legacyFlat3" dir="b"/>
          </a:scene3d>
          <a:sp3d extrusionH="125400" prstMaterial="legacyMatte">
            <a:bevelT w="13500" h="13500" prst="angle"/>
            <a:bevelB w="13500" h="13500" prst="angle"/>
            <a:extrusionClr>
              <a:srgbClr val="FF9933"/>
            </a:extrusion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>
            <a:flatTx/>
          </a:bodyPr>
          <a:lstStyle/>
          <a:p>
            <a:endParaRPr lang="en-GB"/>
          </a:p>
        </p:txBody>
      </p:sp>
      <p:sp>
        <p:nvSpPr>
          <p:cNvPr id="225286" name="Text Box 10"/>
          <p:cNvSpPr txBox="1">
            <a:spLocks noChangeArrowheads="1"/>
          </p:cNvSpPr>
          <p:nvPr/>
        </p:nvSpPr>
        <p:spPr bwMode="auto">
          <a:xfrm>
            <a:off x="5181600" y="3013075"/>
            <a:ext cx="39624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50000"/>
              </a:spcBef>
              <a:buFontTx/>
              <a:buNone/>
            </a:pPr>
            <a:r>
              <a:rPr lang="en-GB" sz="1600" b="1">
                <a:solidFill>
                  <a:srgbClr val="000000"/>
                </a:solidFill>
              </a:rPr>
              <a:t>SYMPTOMATIC ACTION</a:t>
            </a:r>
          </a:p>
        </p:txBody>
      </p:sp>
      <p:grpSp>
        <p:nvGrpSpPr>
          <p:cNvPr id="225287" name="Group 14"/>
          <p:cNvGrpSpPr>
            <a:grpSpLocks/>
          </p:cNvGrpSpPr>
          <p:nvPr/>
        </p:nvGrpSpPr>
        <p:grpSpPr bwMode="auto">
          <a:xfrm>
            <a:off x="2771775" y="1557338"/>
            <a:ext cx="6027738" cy="954087"/>
            <a:chOff x="1124" y="2468"/>
            <a:chExt cx="3797" cy="601"/>
          </a:xfrm>
        </p:grpSpPr>
        <p:sp>
          <p:nvSpPr>
            <p:cNvPr id="225295" name="Freeform 15"/>
            <p:cNvSpPr>
              <a:spLocks/>
            </p:cNvSpPr>
            <p:nvPr/>
          </p:nvSpPr>
          <p:spPr bwMode="auto">
            <a:xfrm rot="-188561">
              <a:off x="1124" y="2645"/>
              <a:ext cx="1543" cy="44"/>
            </a:xfrm>
            <a:custGeom>
              <a:avLst/>
              <a:gdLst>
                <a:gd name="T0" fmla="*/ 0 w 1996"/>
                <a:gd name="T1" fmla="*/ 0 h 136"/>
                <a:gd name="T2" fmla="*/ 2 w 1996"/>
                <a:gd name="T3" fmla="*/ 0 h 136"/>
                <a:gd name="T4" fmla="*/ 2 w 1996"/>
                <a:gd name="T5" fmla="*/ 0 h 136"/>
                <a:gd name="T6" fmla="*/ 0 60000 65536"/>
                <a:gd name="T7" fmla="*/ 0 60000 65536"/>
                <a:gd name="T8" fmla="*/ 0 60000 65536"/>
                <a:gd name="T9" fmla="*/ 0 w 1996"/>
                <a:gd name="T10" fmla="*/ 0 h 136"/>
                <a:gd name="T11" fmla="*/ 1996 w 1996"/>
                <a:gd name="T12" fmla="*/ 136 h 1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996" h="136">
                  <a:moveTo>
                    <a:pt x="0" y="0"/>
                  </a:moveTo>
                  <a:cubicBezTo>
                    <a:pt x="446" y="68"/>
                    <a:pt x="892" y="136"/>
                    <a:pt x="1225" y="136"/>
                  </a:cubicBezTo>
                  <a:cubicBezTo>
                    <a:pt x="1558" y="136"/>
                    <a:pt x="1868" y="23"/>
                    <a:pt x="1996" y="0"/>
                  </a:cubicBezTo>
                </a:path>
              </a:pathLst>
            </a:custGeom>
            <a:noFill/>
            <a:ln w="38100">
              <a:solidFill>
                <a:schemeClr val="accent1"/>
              </a:solidFill>
              <a:round/>
              <a:headEnd/>
              <a:tailEnd/>
            </a:ln>
            <a:scene3d>
              <a:camera prst="legacyObliqueTopRight"/>
              <a:lightRig rig="legacyFlat3" dir="b"/>
            </a:scene3d>
            <a:sp3d extrusionH="125400" prstMaterial="legacyMatte">
              <a:bevelT w="13500" h="13500" prst="angle"/>
              <a:bevelB w="13500" h="13500" prst="angle"/>
              <a:extrusionClr>
                <a:schemeClr val="accent1"/>
              </a:extrusion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>
              <a:flatTx/>
            </a:bodyPr>
            <a:lstStyle/>
            <a:p>
              <a:endParaRPr lang="en-GB"/>
            </a:p>
          </p:txBody>
        </p:sp>
        <p:sp>
          <p:nvSpPr>
            <p:cNvPr id="225296" name="Text Box 16"/>
            <p:cNvSpPr txBox="1">
              <a:spLocks noChangeArrowheads="1"/>
            </p:cNvSpPr>
            <p:nvPr/>
          </p:nvSpPr>
          <p:spPr bwMode="auto">
            <a:xfrm>
              <a:off x="2834" y="2468"/>
              <a:ext cx="2087" cy="6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l">
                <a:spcBef>
                  <a:spcPct val="50000"/>
                </a:spcBef>
                <a:buFontTx/>
                <a:buNone/>
              </a:pPr>
              <a:r>
                <a:rPr lang="en-GB" sz="1600" b="1">
                  <a:solidFill>
                    <a:srgbClr val="000000"/>
                  </a:solidFill>
                </a:rPr>
                <a:t>DISEASE MODIFICATION  REGENERATION</a:t>
              </a:r>
            </a:p>
            <a:p>
              <a:pPr algn="l">
                <a:spcBef>
                  <a:spcPct val="50000"/>
                </a:spcBef>
                <a:buFontTx/>
                <a:buNone/>
              </a:pPr>
              <a:endParaRPr lang="en-GB" sz="1600" b="1">
                <a:solidFill>
                  <a:srgbClr val="000000"/>
                </a:solidFill>
                <a:sym typeface="Wingdings" pitchFamily="2" charset="2"/>
              </a:endParaRPr>
            </a:p>
          </p:txBody>
        </p:sp>
      </p:grpSp>
      <p:sp>
        <p:nvSpPr>
          <p:cNvPr id="225288" name="Text Box 17"/>
          <p:cNvSpPr txBox="1">
            <a:spLocks noChangeArrowheads="1"/>
          </p:cNvSpPr>
          <p:nvPr/>
        </p:nvSpPr>
        <p:spPr bwMode="auto">
          <a:xfrm>
            <a:off x="3094038" y="3478213"/>
            <a:ext cx="151288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50000"/>
              </a:spcBef>
              <a:buFontTx/>
              <a:buNone/>
            </a:pPr>
            <a:r>
              <a:rPr lang="en-GB" sz="1400" b="1">
                <a:solidFill>
                  <a:srgbClr val="000000"/>
                </a:solidFill>
              </a:rPr>
              <a:t>TIME</a:t>
            </a:r>
          </a:p>
        </p:txBody>
      </p:sp>
      <p:sp>
        <p:nvSpPr>
          <p:cNvPr id="225289" name="Text Box 18"/>
          <p:cNvSpPr txBox="1">
            <a:spLocks noChangeArrowheads="1"/>
          </p:cNvSpPr>
          <p:nvPr/>
        </p:nvSpPr>
        <p:spPr bwMode="auto">
          <a:xfrm rot="-5400000">
            <a:off x="330994" y="2691607"/>
            <a:ext cx="1512887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50000"/>
              </a:spcBef>
              <a:buFontTx/>
              <a:buNone/>
            </a:pPr>
            <a:r>
              <a:rPr lang="en-GB" sz="1400" b="1">
                <a:solidFill>
                  <a:srgbClr val="000000"/>
                </a:solidFill>
              </a:rPr>
              <a:t>FUNCTION</a:t>
            </a:r>
          </a:p>
        </p:txBody>
      </p:sp>
      <p:sp>
        <p:nvSpPr>
          <p:cNvPr id="225290" name="Rectangle 19"/>
          <p:cNvSpPr>
            <a:spLocks noChangeArrowheads="1"/>
          </p:cNvSpPr>
          <p:nvPr/>
        </p:nvSpPr>
        <p:spPr bwMode="auto">
          <a:xfrm>
            <a:off x="2806700" y="3097213"/>
            <a:ext cx="1431925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l">
              <a:spcBef>
                <a:spcPct val="0"/>
              </a:spcBef>
              <a:buFontTx/>
              <a:buNone/>
            </a:pPr>
            <a:r>
              <a:rPr lang="en-GB" sz="1600" b="1">
                <a:solidFill>
                  <a:srgbClr val="000000"/>
                </a:solidFill>
              </a:rPr>
              <a:t>UNTREATED</a:t>
            </a:r>
          </a:p>
        </p:txBody>
      </p:sp>
      <p:sp>
        <p:nvSpPr>
          <p:cNvPr id="225291" name="Rectangle 2"/>
          <p:cNvSpPr>
            <a:spLocks noChangeArrowheads="1"/>
          </p:cNvSpPr>
          <p:nvPr/>
        </p:nvSpPr>
        <p:spPr bwMode="auto">
          <a:xfrm>
            <a:off x="1187450" y="260350"/>
            <a:ext cx="389572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l">
              <a:spcBef>
                <a:spcPct val="0"/>
              </a:spcBef>
              <a:buFontTx/>
              <a:buNone/>
            </a:pPr>
            <a:r>
              <a:rPr lang="en-GB" sz="2400" b="1">
                <a:solidFill>
                  <a:srgbClr val="16165D"/>
                </a:solidFill>
              </a:rPr>
              <a:t>Interpretability of Results</a:t>
            </a:r>
          </a:p>
        </p:txBody>
      </p:sp>
      <p:sp>
        <p:nvSpPr>
          <p:cNvPr id="22" name="Text Box 15"/>
          <p:cNvSpPr txBox="1">
            <a:spLocks noChangeArrowheads="1"/>
          </p:cNvSpPr>
          <p:nvPr/>
        </p:nvSpPr>
        <p:spPr bwMode="auto">
          <a:xfrm>
            <a:off x="971550" y="3879850"/>
            <a:ext cx="6337300" cy="2322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spcBef>
                <a:spcPct val="0"/>
              </a:spcBef>
              <a:spcAft>
                <a:spcPts val="1800"/>
              </a:spcAft>
              <a:buFontTx/>
              <a:buNone/>
              <a:defRPr/>
            </a:pPr>
            <a:r>
              <a:rPr lang="en-GB" sz="2000" dirty="0">
                <a:solidFill>
                  <a:srgbClr val="002060"/>
                </a:solidFill>
                <a:latin typeface="Arial" charset="0"/>
                <a:ea typeface="ＭＳ Ｐゴシック" charset="0"/>
                <a:cs typeface="Arial" pitchFamily="34" charset="0"/>
              </a:rPr>
              <a:t>Prior to large clinical trials </a:t>
            </a:r>
          </a:p>
          <a:p>
            <a:pPr marL="457200" indent="-457200" algn="l">
              <a:spcBef>
                <a:spcPct val="0"/>
              </a:spcBef>
              <a:spcAft>
                <a:spcPts val="1200"/>
              </a:spcAft>
              <a:buFont typeface="Wingdings" pitchFamily="2" charset="2"/>
              <a:buChar char="Ø"/>
              <a:defRPr/>
            </a:pPr>
            <a:r>
              <a:rPr lang="en-GB" sz="2000" dirty="0">
                <a:solidFill>
                  <a:srgbClr val="002060"/>
                </a:solidFill>
                <a:latin typeface="Arial" charset="0"/>
                <a:ea typeface="ＭＳ Ｐゴシック" charset="0"/>
                <a:cs typeface="Arial" pitchFamily="34" charset="0"/>
              </a:rPr>
              <a:t>Correct dose-selection </a:t>
            </a:r>
          </a:p>
          <a:p>
            <a:pPr marL="457200" indent="-457200" algn="l">
              <a:spcBef>
                <a:spcPct val="0"/>
              </a:spcBef>
              <a:spcAft>
                <a:spcPts val="1200"/>
              </a:spcAft>
              <a:buFont typeface="Wingdings" pitchFamily="2" charset="2"/>
              <a:buChar char="Ø"/>
              <a:defRPr/>
            </a:pPr>
            <a:r>
              <a:rPr lang="en-GB" sz="2000" dirty="0">
                <a:solidFill>
                  <a:srgbClr val="002060"/>
                </a:solidFill>
                <a:latin typeface="Arial" charset="0"/>
                <a:ea typeface="ＭＳ Ｐゴシック" charset="0"/>
                <a:cs typeface="Arial" pitchFamily="34" charset="0"/>
              </a:rPr>
              <a:t>Receptor Occupancy</a:t>
            </a:r>
          </a:p>
          <a:p>
            <a:pPr marL="457200" indent="-457200" algn="l">
              <a:spcBef>
                <a:spcPct val="0"/>
              </a:spcBef>
              <a:spcAft>
                <a:spcPts val="1200"/>
              </a:spcAft>
              <a:buFont typeface="Wingdings" pitchFamily="2" charset="2"/>
              <a:buChar char="Ø"/>
              <a:defRPr/>
            </a:pPr>
            <a:r>
              <a:rPr lang="en-GB" sz="2000" dirty="0">
                <a:solidFill>
                  <a:srgbClr val="002060"/>
                </a:solidFill>
                <a:latin typeface="Arial" charset="0"/>
                <a:ea typeface="ＭＳ Ｐゴシック" charset="0"/>
                <a:cs typeface="Arial" pitchFamily="34" charset="0"/>
              </a:rPr>
              <a:t>Target Pharmacology</a:t>
            </a:r>
          </a:p>
          <a:p>
            <a:pPr marL="457200" indent="-457200" algn="l">
              <a:spcBef>
                <a:spcPct val="0"/>
              </a:spcBef>
              <a:spcAft>
                <a:spcPts val="1200"/>
              </a:spcAft>
              <a:buFont typeface="Wingdings" pitchFamily="2" charset="2"/>
              <a:buChar char="Ø"/>
              <a:defRPr/>
            </a:pPr>
            <a:r>
              <a:rPr lang="en-GB" sz="2000" dirty="0">
                <a:solidFill>
                  <a:srgbClr val="002060"/>
                </a:solidFill>
                <a:latin typeface="Arial" charset="0"/>
                <a:ea typeface="ＭＳ Ｐゴシック" charset="0"/>
                <a:cs typeface="Arial" pitchFamily="34" charset="0"/>
              </a:rPr>
              <a:t>PK/PD relationships</a:t>
            </a:r>
          </a:p>
        </p:txBody>
      </p:sp>
      <p:sp>
        <p:nvSpPr>
          <p:cNvPr id="225293" name="Line 51"/>
          <p:cNvSpPr>
            <a:spLocks noChangeShapeType="1"/>
          </p:cNvSpPr>
          <p:nvPr/>
        </p:nvSpPr>
        <p:spPr bwMode="auto">
          <a:xfrm>
            <a:off x="0" y="1063625"/>
            <a:ext cx="9144000" cy="0"/>
          </a:xfrm>
          <a:prstGeom prst="line">
            <a:avLst/>
          </a:prstGeom>
          <a:noFill/>
          <a:ln w="38100">
            <a:solidFill>
              <a:srgbClr val="16165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225294" name="Picture 6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60350"/>
            <a:ext cx="1690687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smtClean="0">
                <a:solidFill>
                  <a:srgbClr val="FF0000"/>
                </a:solidFill>
                <a:ea typeface="ＭＳ Ｐゴシック" pitchFamily="34" charset="-128"/>
              </a:rPr>
              <a:t>How Are Drugs Discovered?</a:t>
            </a:r>
          </a:p>
        </p:txBody>
      </p:sp>
      <p:sp>
        <p:nvSpPr>
          <p:cNvPr id="177154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457200" y="1620838"/>
            <a:ext cx="4033838" cy="1579562"/>
          </a:xfrm>
        </p:spPr>
        <p:txBody>
          <a:bodyPr/>
          <a:lstStyle/>
          <a:p>
            <a:pPr marL="0" indent="0"/>
            <a:r>
              <a:rPr lang="en-GB" sz="2200" smtClean="0">
                <a:ea typeface="ＭＳ Ｐゴシック" pitchFamily="34" charset="-128"/>
              </a:rPr>
              <a:t>Random screening</a:t>
            </a:r>
          </a:p>
          <a:p>
            <a:pPr marL="0" indent="0"/>
            <a:r>
              <a:rPr lang="en-GB" sz="2200" smtClean="0">
                <a:ea typeface="ＭＳ Ｐゴシック" pitchFamily="34" charset="-128"/>
              </a:rPr>
              <a:t>Rational drug design (combinatorial chemistry, pharmacology, bioinformatics, etc.)</a:t>
            </a:r>
          </a:p>
          <a:p>
            <a:pPr marL="0" indent="0"/>
            <a:endParaRPr lang="en-GB" sz="2200" smtClean="0">
              <a:ea typeface="ＭＳ Ｐゴシック" pitchFamily="34" charset="-128"/>
            </a:endParaRPr>
          </a:p>
        </p:txBody>
      </p:sp>
      <p:graphicFrame>
        <p:nvGraphicFramePr>
          <p:cNvPr id="177155" name="Object 2"/>
          <p:cNvGraphicFramePr>
            <a:graphicFrameLocks noChangeAspect="1"/>
          </p:cNvGraphicFramePr>
          <p:nvPr>
            <p:ph type="clipArt" sz="half" idx="2"/>
          </p:nvPr>
        </p:nvGraphicFramePr>
        <p:xfrm>
          <a:off x="4652963" y="1949450"/>
          <a:ext cx="4033837" cy="3816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58" name="Clip" r:id="rId3" imgW="1920240" imgH="1769364" progId="MS_ClipArt_Gallery.2">
                  <p:embed/>
                </p:oleObj>
              </mc:Choice>
              <mc:Fallback>
                <p:oleObj name="Clip" r:id="rId3" imgW="1920240" imgH="1769364" progId="MS_ClipArt_Gallery.2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52963" y="1949450"/>
                        <a:ext cx="4033837" cy="38163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>
                                  <a:alpha val="74997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4086" name="Rectangle 6"/>
          <p:cNvSpPr>
            <a:spLocks noChangeArrowheads="1"/>
          </p:cNvSpPr>
          <p:nvPr/>
        </p:nvSpPr>
        <p:spPr bwMode="auto">
          <a:xfrm>
            <a:off x="474663" y="3429000"/>
            <a:ext cx="4033837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109728" bIns="0"/>
          <a:lstStyle/>
          <a:p>
            <a:pPr algn="l">
              <a:spcBef>
                <a:spcPct val="75000"/>
              </a:spcBef>
              <a:buFontTx/>
              <a:buNone/>
            </a:pPr>
            <a:endParaRPr lang="en-GB" sz="2200"/>
          </a:p>
          <a:p>
            <a:pPr algn="l">
              <a:spcBef>
                <a:spcPct val="75000"/>
              </a:spcBef>
              <a:buFontTx/>
              <a:buNone/>
            </a:pPr>
            <a:r>
              <a:rPr lang="en-GB" sz="2200">
                <a:solidFill>
                  <a:srgbClr val="000099"/>
                </a:solidFill>
              </a:rPr>
              <a:t>		</a:t>
            </a:r>
            <a:r>
              <a:rPr lang="en-GB">
                <a:solidFill>
                  <a:srgbClr val="000099"/>
                </a:solidFill>
              </a:rPr>
              <a:t>Luck!</a:t>
            </a:r>
          </a:p>
        </p:txBody>
      </p:sp>
      <p:pic>
        <p:nvPicPr>
          <p:cNvPr id="177157" name="Picture 6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60350"/>
            <a:ext cx="1690687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0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40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40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4086" grpId="0" autoUpdateAnimBg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6305" name="Picture 2" descr="EB060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13" y="1557338"/>
            <a:ext cx="7356475" cy="436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6306" name="Rectangle 3"/>
          <p:cNvSpPr>
            <a:spLocks noChangeArrowheads="1"/>
          </p:cNvSpPr>
          <p:nvPr/>
        </p:nvSpPr>
        <p:spPr bwMode="auto">
          <a:xfrm>
            <a:off x="406400" y="188913"/>
            <a:ext cx="48768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buFontTx/>
              <a:buNone/>
            </a:pPr>
            <a:r>
              <a:rPr lang="en-GB" sz="2400" b="1">
                <a:solidFill>
                  <a:srgbClr val="16165D"/>
                </a:solidFill>
              </a:rPr>
              <a:t>ADAS-cog changes with Aricept</a:t>
            </a:r>
          </a:p>
        </p:txBody>
      </p:sp>
      <p:pic>
        <p:nvPicPr>
          <p:cNvPr id="226307" name="Picture 6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60350"/>
            <a:ext cx="1690687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6308" name="Line 51"/>
          <p:cNvSpPr>
            <a:spLocks noChangeShapeType="1"/>
          </p:cNvSpPr>
          <p:nvPr/>
        </p:nvSpPr>
        <p:spPr bwMode="auto">
          <a:xfrm>
            <a:off x="0" y="904875"/>
            <a:ext cx="9144000" cy="0"/>
          </a:xfrm>
          <a:prstGeom prst="line">
            <a:avLst/>
          </a:prstGeom>
          <a:noFill/>
          <a:ln w="38100">
            <a:solidFill>
              <a:srgbClr val="16165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732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488" y="457200"/>
            <a:ext cx="8586787" cy="628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7330" name="Picture 6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988" y="44450"/>
            <a:ext cx="1690687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7331" name="Line 51"/>
          <p:cNvSpPr>
            <a:spLocks noChangeShapeType="1"/>
          </p:cNvSpPr>
          <p:nvPr/>
        </p:nvSpPr>
        <p:spPr bwMode="auto">
          <a:xfrm>
            <a:off x="0" y="712788"/>
            <a:ext cx="9144000" cy="0"/>
          </a:xfrm>
          <a:prstGeom prst="line">
            <a:avLst/>
          </a:prstGeom>
          <a:noFill/>
          <a:ln w="38100">
            <a:solidFill>
              <a:srgbClr val="16165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8353" name="Picture 2" descr="slide033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450" y="1268413"/>
            <a:ext cx="6642100" cy="4987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8354" name="Rectangle 3"/>
          <p:cNvSpPr>
            <a:spLocks noChangeArrowheads="1"/>
          </p:cNvSpPr>
          <p:nvPr/>
        </p:nvSpPr>
        <p:spPr bwMode="auto">
          <a:xfrm>
            <a:off x="1825625" y="188913"/>
            <a:ext cx="382746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buFontTx/>
              <a:buNone/>
            </a:pPr>
            <a:r>
              <a:rPr lang="en-GB" b="1">
                <a:solidFill>
                  <a:srgbClr val="191966"/>
                </a:solidFill>
              </a:rPr>
              <a:t>Fluid-phase markers</a:t>
            </a:r>
          </a:p>
        </p:txBody>
      </p:sp>
      <p:grpSp>
        <p:nvGrpSpPr>
          <p:cNvPr id="228355" name="Group 4"/>
          <p:cNvGrpSpPr>
            <a:grpSpLocks/>
          </p:cNvGrpSpPr>
          <p:nvPr/>
        </p:nvGrpSpPr>
        <p:grpSpPr bwMode="auto">
          <a:xfrm>
            <a:off x="7715250" y="214313"/>
            <a:ext cx="1298575" cy="681037"/>
            <a:chOff x="7500938" y="285728"/>
            <a:chExt cx="1298575" cy="681060"/>
          </a:xfrm>
        </p:grpSpPr>
        <p:pic>
          <p:nvPicPr>
            <p:cNvPr id="228356" name="Picture 6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2396" y="285728"/>
              <a:ext cx="1071590" cy="2823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8357" name="Picture 63" descr="C:\Documents and Settings\KMosley\Local Settings\Temporary Internet Files\Content.IE5\8F8TCVUH\SJMC[1].gif"/>
            <p:cNvPicPr>
              <a:picLocks noChangeAspect="1" noChangeArrowheads="1"/>
            </p:cNvPicPr>
            <p:nvPr/>
          </p:nvPicPr>
          <p:blipFill>
            <a:blip r:embed="rId4" r:link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0938" y="668338"/>
              <a:ext cx="1298575" cy="298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377" name="Rectangle 2"/>
          <p:cNvSpPr>
            <a:spLocks noChangeArrowheads="1"/>
          </p:cNvSpPr>
          <p:nvPr/>
        </p:nvSpPr>
        <p:spPr bwMode="auto">
          <a:xfrm>
            <a:off x="1143000" y="1643063"/>
            <a:ext cx="6769100" cy="3357562"/>
          </a:xfrm>
          <a:prstGeom prst="rect">
            <a:avLst/>
          </a:prstGeom>
          <a:solidFill>
            <a:srgbClr val="FFFF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FontTx/>
              <a:buNone/>
            </a:pPr>
            <a:endParaRPr lang="en-GB">
              <a:solidFill>
                <a:srgbClr val="000090"/>
              </a:solidFill>
            </a:endParaRPr>
          </a:p>
        </p:txBody>
      </p:sp>
      <p:sp>
        <p:nvSpPr>
          <p:cNvPr id="229378" name="Text Box 3"/>
          <p:cNvSpPr txBox="1">
            <a:spLocks noChangeArrowheads="1"/>
          </p:cNvSpPr>
          <p:nvPr/>
        </p:nvSpPr>
        <p:spPr bwMode="auto">
          <a:xfrm>
            <a:off x="1828800" y="1143000"/>
            <a:ext cx="16637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50000"/>
              </a:spcBef>
              <a:buFontTx/>
              <a:buNone/>
            </a:pPr>
            <a:r>
              <a:rPr lang="en-GB" sz="2400" b="1">
                <a:solidFill>
                  <a:srgbClr val="000090"/>
                </a:solidFill>
                <a:latin typeface="Times New Roman" pitchFamily="18" charset="0"/>
              </a:rPr>
              <a:t>Alzheimer</a:t>
            </a:r>
          </a:p>
        </p:txBody>
      </p:sp>
      <p:sp>
        <p:nvSpPr>
          <p:cNvPr id="229379" name="Text Box 4"/>
          <p:cNvSpPr txBox="1">
            <a:spLocks noChangeArrowheads="1"/>
          </p:cNvSpPr>
          <p:nvPr/>
        </p:nvSpPr>
        <p:spPr bwMode="auto">
          <a:xfrm>
            <a:off x="1071563" y="5000625"/>
            <a:ext cx="6985000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50000"/>
              </a:spcBef>
              <a:buFontTx/>
              <a:buNone/>
            </a:pPr>
            <a:r>
              <a:rPr lang="en-GB" sz="2400" b="1">
                <a:solidFill>
                  <a:srgbClr val="FF0000"/>
                </a:solidFill>
              </a:rPr>
              <a:t>Do amyloid PET tracers correlate with disease progression?</a:t>
            </a:r>
            <a:r>
              <a:rPr lang="en-US" sz="2400" b="1">
                <a:solidFill>
                  <a:srgbClr val="FF0000"/>
                </a:solidFill>
              </a:rPr>
              <a:t> </a:t>
            </a:r>
          </a:p>
          <a:p>
            <a:pPr algn="l">
              <a:spcBef>
                <a:spcPct val="50000"/>
              </a:spcBef>
              <a:buFontTx/>
              <a:buNone/>
            </a:pPr>
            <a:r>
              <a:rPr lang="en-US" sz="2400" b="1">
                <a:solidFill>
                  <a:srgbClr val="FF0000"/>
                </a:solidFill>
              </a:rPr>
              <a:t>Can they be used for testing pharmacology?</a:t>
            </a:r>
            <a:endParaRPr lang="en-GB" sz="2400" b="1">
              <a:solidFill>
                <a:srgbClr val="FF0000"/>
              </a:solidFill>
            </a:endParaRPr>
          </a:p>
        </p:txBody>
      </p:sp>
      <p:sp>
        <p:nvSpPr>
          <p:cNvPr id="229380" name="Text Box 5"/>
          <p:cNvSpPr txBox="1">
            <a:spLocks noChangeArrowheads="1"/>
          </p:cNvSpPr>
          <p:nvPr/>
        </p:nvSpPr>
        <p:spPr bwMode="auto">
          <a:xfrm>
            <a:off x="5286375" y="1143000"/>
            <a:ext cx="1828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50000"/>
              </a:spcBef>
              <a:buFontTx/>
              <a:buNone/>
            </a:pPr>
            <a:r>
              <a:rPr lang="en-GB" sz="2400" b="1">
                <a:solidFill>
                  <a:srgbClr val="000090"/>
                </a:solidFill>
                <a:latin typeface="Times New Roman" pitchFamily="18" charset="0"/>
              </a:rPr>
              <a:t>Normal</a:t>
            </a:r>
          </a:p>
        </p:txBody>
      </p:sp>
      <p:sp>
        <p:nvSpPr>
          <p:cNvPr id="229381" name="Text Box 6"/>
          <p:cNvSpPr txBox="1">
            <a:spLocks noChangeArrowheads="1"/>
          </p:cNvSpPr>
          <p:nvPr/>
        </p:nvSpPr>
        <p:spPr bwMode="auto">
          <a:xfrm>
            <a:off x="2259013" y="0"/>
            <a:ext cx="3960812" cy="1039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buFontTx/>
              <a:buNone/>
            </a:pPr>
            <a:r>
              <a:rPr lang="en-GB" b="1">
                <a:solidFill>
                  <a:srgbClr val="000090"/>
                </a:solidFill>
              </a:rPr>
              <a:t>[</a:t>
            </a:r>
            <a:r>
              <a:rPr lang="en-GB" b="1" baseline="30000">
                <a:solidFill>
                  <a:srgbClr val="000090"/>
                </a:solidFill>
              </a:rPr>
              <a:t>11</a:t>
            </a:r>
            <a:r>
              <a:rPr lang="en-GB" b="1">
                <a:solidFill>
                  <a:srgbClr val="000090"/>
                </a:solidFill>
              </a:rPr>
              <a:t>C]PIB</a:t>
            </a:r>
          </a:p>
          <a:p>
            <a:pPr>
              <a:buFontTx/>
              <a:buNone/>
            </a:pPr>
            <a:r>
              <a:rPr lang="en-US" b="1">
                <a:solidFill>
                  <a:srgbClr val="FF0000"/>
                </a:solidFill>
              </a:rPr>
              <a:t>Trait or state marker? </a:t>
            </a:r>
            <a:endParaRPr lang="en-GB" b="1">
              <a:solidFill>
                <a:srgbClr val="FF0000"/>
              </a:solidFill>
            </a:endParaRPr>
          </a:p>
        </p:txBody>
      </p:sp>
      <p:pic>
        <p:nvPicPr>
          <p:cNvPr id="229382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6700" y="1911350"/>
            <a:ext cx="2260600" cy="2828925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9383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4600" y="1936750"/>
            <a:ext cx="2482850" cy="2781300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pull dir="ld"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1425" name="Group 11"/>
          <p:cNvGrpSpPr>
            <a:grpSpLocks/>
          </p:cNvGrpSpPr>
          <p:nvPr/>
        </p:nvGrpSpPr>
        <p:grpSpPr bwMode="auto">
          <a:xfrm>
            <a:off x="0" y="571500"/>
            <a:ext cx="9136063" cy="5815013"/>
            <a:chOff x="5" y="210"/>
            <a:chExt cx="5755" cy="3663"/>
          </a:xfrm>
        </p:grpSpPr>
        <p:pic>
          <p:nvPicPr>
            <p:cNvPr id="231427" name="Picture 2"/>
            <p:cNvPicPr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" y="210"/>
              <a:ext cx="5755" cy="36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1428" name="Rectangle 3"/>
            <p:cNvSpPr>
              <a:spLocks noChangeArrowheads="1"/>
            </p:cNvSpPr>
            <p:nvPr/>
          </p:nvSpPr>
          <p:spPr bwMode="auto">
            <a:xfrm>
              <a:off x="12" y="240"/>
              <a:ext cx="505" cy="2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algn="l" defTabSz="762000">
                <a:spcBef>
                  <a:spcPct val="0"/>
                </a:spcBef>
                <a:buFontTx/>
                <a:buNone/>
              </a:pPr>
              <a:r>
                <a:rPr lang="en-GB" sz="2400">
                  <a:solidFill>
                    <a:srgbClr val="FFFFFF"/>
                  </a:solidFill>
                  <a:latin typeface="Times" charset="0"/>
                </a:rPr>
                <a:t>1993</a:t>
              </a:r>
              <a:endParaRPr lang="en-GB" sz="3200">
                <a:solidFill>
                  <a:srgbClr val="FFFFFF"/>
                </a:solidFill>
                <a:latin typeface="Times" charset="0"/>
              </a:endParaRPr>
            </a:p>
          </p:txBody>
        </p:sp>
        <p:sp>
          <p:nvSpPr>
            <p:cNvPr id="231429" name="Rectangle 4"/>
            <p:cNvSpPr>
              <a:spLocks noChangeArrowheads="1"/>
            </p:cNvSpPr>
            <p:nvPr/>
          </p:nvSpPr>
          <p:spPr bwMode="auto">
            <a:xfrm>
              <a:off x="3938" y="2093"/>
              <a:ext cx="710" cy="2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algn="l" defTabSz="762000">
                <a:spcBef>
                  <a:spcPct val="0"/>
                </a:spcBef>
                <a:buFontTx/>
                <a:buNone/>
              </a:pPr>
              <a:r>
                <a:rPr lang="en-GB" sz="2400">
                  <a:solidFill>
                    <a:srgbClr val="FFFFFF"/>
                  </a:solidFill>
                  <a:latin typeface="Times" charset="0"/>
                </a:rPr>
                <a:t>Nov</a:t>
              </a:r>
              <a:r>
                <a:rPr lang="en-GB" altLang="en-US" sz="2400">
                  <a:solidFill>
                    <a:srgbClr val="FFFFFF"/>
                  </a:solidFill>
                  <a:latin typeface="Times" charset="0"/>
                </a:rPr>
                <a:t>’</a:t>
              </a:r>
              <a:r>
                <a:rPr lang="en-GB" sz="2400">
                  <a:solidFill>
                    <a:srgbClr val="FFFFFF"/>
                  </a:solidFill>
                  <a:latin typeface="Times" charset="0"/>
                </a:rPr>
                <a:t>97</a:t>
              </a:r>
              <a:endParaRPr lang="en-GB" sz="3200">
                <a:solidFill>
                  <a:srgbClr val="FFFFFF"/>
                </a:solidFill>
                <a:latin typeface="Times" charset="0"/>
              </a:endParaRPr>
            </a:p>
          </p:txBody>
        </p:sp>
        <p:sp>
          <p:nvSpPr>
            <p:cNvPr id="231430" name="Rectangle 5"/>
            <p:cNvSpPr>
              <a:spLocks noChangeArrowheads="1"/>
            </p:cNvSpPr>
            <p:nvPr/>
          </p:nvSpPr>
          <p:spPr bwMode="auto">
            <a:xfrm>
              <a:off x="1932" y="2064"/>
              <a:ext cx="685" cy="2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algn="l" defTabSz="762000">
                <a:spcBef>
                  <a:spcPct val="0"/>
                </a:spcBef>
                <a:buFontTx/>
                <a:buNone/>
              </a:pPr>
              <a:r>
                <a:rPr lang="en-GB" sz="2400">
                  <a:solidFill>
                    <a:srgbClr val="FFFFFF"/>
                  </a:solidFill>
                  <a:latin typeface="Times" charset="0"/>
                </a:rPr>
                <a:t>Apr</a:t>
              </a:r>
              <a:r>
                <a:rPr lang="en-GB" altLang="en-US" sz="2400">
                  <a:solidFill>
                    <a:srgbClr val="FFFFFF"/>
                  </a:solidFill>
                  <a:latin typeface="Times" charset="0"/>
                </a:rPr>
                <a:t>’</a:t>
              </a:r>
              <a:r>
                <a:rPr lang="en-GB" sz="2400">
                  <a:solidFill>
                    <a:srgbClr val="FFFFFF"/>
                  </a:solidFill>
                  <a:latin typeface="Times" charset="0"/>
                </a:rPr>
                <a:t>97</a:t>
              </a:r>
              <a:endParaRPr lang="en-GB" sz="3200">
                <a:solidFill>
                  <a:srgbClr val="FFFFFF"/>
                </a:solidFill>
                <a:latin typeface="Times" charset="0"/>
              </a:endParaRPr>
            </a:p>
          </p:txBody>
        </p:sp>
        <p:sp>
          <p:nvSpPr>
            <p:cNvPr id="231431" name="Rectangle 7"/>
            <p:cNvSpPr>
              <a:spLocks noChangeArrowheads="1"/>
            </p:cNvSpPr>
            <p:nvPr/>
          </p:nvSpPr>
          <p:spPr bwMode="auto">
            <a:xfrm>
              <a:off x="3936" y="240"/>
              <a:ext cx="505" cy="2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algn="l" defTabSz="762000">
                <a:spcBef>
                  <a:spcPct val="0"/>
                </a:spcBef>
                <a:buFontTx/>
                <a:buNone/>
              </a:pPr>
              <a:r>
                <a:rPr lang="en-GB" sz="2400">
                  <a:solidFill>
                    <a:srgbClr val="FFFFFF"/>
                  </a:solidFill>
                  <a:latin typeface="Times" charset="0"/>
                </a:rPr>
                <a:t>1995</a:t>
              </a:r>
              <a:endParaRPr lang="en-GB" sz="3200">
                <a:solidFill>
                  <a:srgbClr val="FFFFFF"/>
                </a:solidFill>
                <a:latin typeface="Times" charset="0"/>
              </a:endParaRPr>
            </a:p>
          </p:txBody>
        </p:sp>
        <p:sp>
          <p:nvSpPr>
            <p:cNvPr id="231432" name="Rectangle 8"/>
            <p:cNvSpPr>
              <a:spLocks noChangeArrowheads="1"/>
            </p:cNvSpPr>
            <p:nvPr/>
          </p:nvSpPr>
          <p:spPr bwMode="auto">
            <a:xfrm>
              <a:off x="1937" y="240"/>
              <a:ext cx="505" cy="2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algn="l" defTabSz="762000">
                <a:spcBef>
                  <a:spcPct val="0"/>
                </a:spcBef>
                <a:buFontTx/>
                <a:buNone/>
              </a:pPr>
              <a:r>
                <a:rPr lang="en-GB" sz="2400">
                  <a:solidFill>
                    <a:srgbClr val="FFFFFF"/>
                  </a:solidFill>
                  <a:latin typeface="Times" charset="0"/>
                </a:rPr>
                <a:t>1994</a:t>
              </a:r>
              <a:endParaRPr lang="en-GB" sz="3200">
                <a:solidFill>
                  <a:srgbClr val="FFFFFF"/>
                </a:solidFill>
                <a:latin typeface="Times" charset="0"/>
              </a:endParaRPr>
            </a:p>
          </p:txBody>
        </p:sp>
        <p:sp>
          <p:nvSpPr>
            <p:cNvPr id="231433" name="Rectangle 9"/>
            <p:cNvSpPr>
              <a:spLocks noChangeArrowheads="1"/>
            </p:cNvSpPr>
            <p:nvPr/>
          </p:nvSpPr>
          <p:spPr bwMode="auto">
            <a:xfrm>
              <a:off x="17" y="2064"/>
              <a:ext cx="505" cy="2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algn="l" defTabSz="762000">
                <a:spcBef>
                  <a:spcPct val="0"/>
                </a:spcBef>
                <a:buFontTx/>
                <a:buNone/>
              </a:pPr>
              <a:r>
                <a:rPr lang="en-GB" sz="2400">
                  <a:solidFill>
                    <a:srgbClr val="FFFFFF"/>
                  </a:solidFill>
                  <a:latin typeface="Times" charset="0"/>
                </a:rPr>
                <a:t>1996</a:t>
              </a:r>
              <a:endParaRPr lang="en-GB" sz="3200">
                <a:solidFill>
                  <a:srgbClr val="FFFFFF"/>
                </a:solidFill>
                <a:latin typeface="Times" charset="0"/>
              </a:endParaRPr>
            </a:p>
          </p:txBody>
        </p:sp>
      </p:grpSp>
      <p:sp>
        <p:nvSpPr>
          <p:cNvPr id="231426" name="Rectangle 121"/>
          <p:cNvSpPr>
            <a:spLocks noChangeArrowheads="1"/>
          </p:cNvSpPr>
          <p:nvPr/>
        </p:nvSpPr>
        <p:spPr bwMode="auto">
          <a:xfrm>
            <a:off x="1619250" y="28575"/>
            <a:ext cx="5640388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en-GB" b="1">
                <a:solidFill>
                  <a:srgbClr val="FFFF00"/>
                </a:solidFill>
              </a:rPr>
              <a:t>Can MRI detect brain changes?</a:t>
            </a:r>
            <a:r>
              <a:rPr lang="en-GB"/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2449" name="Group 2"/>
          <p:cNvGrpSpPr>
            <a:grpSpLocks/>
          </p:cNvGrpSpPr>
          <p:nvPr/>
        </p:nvGrpSpPr>
        <p:grpSpPr bwMode="auto">
          <a:xfrm>
            <a:off x="539750" y="1198563"/>
            <a:ext cx="7740650" cy="5659437"/>
            <a:chOff x="340" y="618"/>
            <a:chExt cx="4876" cy="3565"/>
          </a:xfrm>
        </p:grpSpPr>
        <p:sp>
          <p:nvSpPr>
            <p:cNvPr id="232453" name="AutoShape 3"/>
            <p:cNvSpPr>
              <a:spLocks noChangeAspect="1" noChangeArrowheads="1" noTextEdit="1"/>
            </p:cNvSpPr>
            <p:nvPr/>
          </p:nvSpPr>
          <p:spPr bwMode="auto">
            <a:xfrm>
              <a:off x="884" y="799"/>
              <a:ext cx="3697" cy="20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54" name="Rectangle 4"/>
            <p:cNvSpPr>
              <a:spLocks noChangeArrowheads="1"/>
            </p:cNvSpPr>
            <p:nvPr/>
          </p:nvSpPr>
          <p:spPr bwMode="auto">
            <a:xfrm>
              <a:off x="340" y="618"/>
              <a:ext cx="4876" cy="3538"/>
            </a:xfrm>
            <a:prstGeom prst="rect">
              <a:avLst/>
            </a:prstGeom>
            <a:solidFill>
              <a:srgbClr val="EBEAB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pic>
          <p:nvPicPr>
            <p:cNvPr id="232455" name="Picture 5"/>
            <p:cNvPicPr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00" t="9689" r="5540" b="15399"/>
            <a:stretch>
              <a:fillRect/>
            </a:stretch>
          </p:blipFill>
          <p:spPr bwMode="auto">
            <a:xfrm>
              <a:off x="3673" y="2786"/>
              <a:ext cx="1452" cy="1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2456" name="Picture 6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20" t="10179" r="5170" b="15869"/>
            <a:stretch>
              <a:fillRect/>
            </a:stretch>
          </p:blipFill>
          <p:spPr bwMode="auto">
            <a:xfrm>
              <a:off x="2086" y="2786"/>
              <a:ext cx="1452" cy="12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2457" name="Picture 7"/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40" t="10880" r="5290" b="15790"/>
            <a:stretch>
              <a:fillRect/>
            </a:stretch>
          </p:blipFill>
          <p:spPr bwMode="auto">
            <a:xfrm>
              <a:off x="498" y="2786"/>
              <a:ext cx="1406" cy="12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2458" name="Rectangle 8"/>
            <p:cNvSpPr>
              <a:spLocks noChangeArrowheads="1"/>
            </p:cNvSpPr>
            <p:nvPr/>
          </p:nvSpPr>
          <p:spPr bwMode="auto">
            <a:xfrm>
              <a:off x="2539" y="1041"/>
              <a:ext cx="1304" cy="2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>
                <a:buFontTx/>
                <a:buNone/>
              </a:pPr>
              <a:r>
                <a:rPr lang="en-GB" sz="1600" b="1">
                  <a:solidFill>
                    <a:srgbClr val="FF3300"/>
                  </a:solidFill>
                </a:rPr>
                <a:t>Symptom onset</a:t>
              </a:r>
              <a:endParaRPr lang="en-GB"/>
            </a:p>
          </p:txBody>
        </p:sp>
        <p:sp>
          <p:nvSpPr>
            <p:cNvPr id="232459" name="Rectangle 9"/>
            <p:cNvSpPr>
              <a:spLocks noChangeArrowheads="1"/>
            </p:cNvSpPr>
            <p:nvPr/>
          </p:nvSpPr>
          <p:spPr bwMode="auto">
            <a:xfrm>
              <a:off x="2222" y="1747"/>
              <a:ext cx="1304" cy="3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>
                <a:buFontTx/>
                <a:buNone/>
              </a:pPr>
              <a:r>
                <a:rPr lang="en-GB" sz="1600" b="1">
                  <a:solidFill>
                    <a:srgbClr val="FF3300"/>
                  </a:solidFill>
                </a:rPr>
                <a:t>Fulfils clinical criteria for AD</a:t>
              </a:r>
              <a:endParaRPr lang="en-GB"/>
            </a:p>
          </p:txBody>
        </p:sp>
        <p:sp>
          <p:nvSpPr>
            <p:cNvPr id="232460" name="Line 10"/>
            <p:cNvSpPr>
              <a:spLocks noChangeShapeType="1"/>
            </p:cNvSpPr>
            <p:nvPr/>
          </p:nvSpPr>
          <p:spPr bwMode="auto">
            <a:xfrm flipH="1">
              <a:off x="2403" y="1166"/>
              <a:ext cx="268" cy="265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round/>
              <a:headEnd type="none" w="sm" len="sm"/>
              <a:tailEnd type="stealth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61" name="Text Box 11"/>
            <p:cNvSpPr txBox="1">
              <a:spLocks noChangeArrowheads="1"/>
            </p:cNvSpPr>
            <p:nvPr/>
          </p:nvSpPr>
          <p:spPr bwMode="auto">
            <a:xfrm>
              <a:off x="2585" y="3991"/>
              <a:ext cx="2592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r">
                <a:buFontTx/>
                <a:buNone/>
              </a:pPr>
              <a:r>
                <a:rPr lang="en-GB" sz="1400">
                  <a:solidFill>
                    <a:srgbClr val="000099"/>
                  </a:solidFill>
                  <a:latin typeface="Times New Roman" pitchFamily="18" charset="0"/>
                </a:rPr>
                <a:t>Scahill et al PNAS 2001</a:t>
              </a:r>
              <a:endParaRPr lang="en-GB">
                <a:solidFill>
                  <a:srgbClr val="000099"/>
                </a:solidFill>
              </a:endParaRPr>
            </a:p>
          </p:txBody>
        </p:sp>
        <p:sp>
          <p:nvSpPr>
            <p:cNvPr id="232462" name="Line 12"/>
            <p:cNvSpPr>
              <a:spLocks noChangeShapeType="1"/>
            </p:cNvSpPr>
            <p:nvPr/>
          </p:nvSpPr>
          <p:spPr bwMode="auto">
            <a:xfrm flipV="1">
              <a:off x="2766" y="1623"/>
              <a:ext cx="410" cy="163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round/>
              <a:headEnd type="none" w="sm" len="sm"/>
              <a:tailEnd type="stealth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63" name="Line 13"/>
            <p:cNvSpPr>
              <a:spLocks noChangeShapeType="1"/>
            </p:cNvSpPr>
            <p:nvPr/>
          </p:nvSpPr>
          <p:spPr bwMode="auto">
            <a:xfrm>
              <a:off x="1247" y="1480"/>
              <a:ext cx="3221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64" name="Line 14"/>
            <p:cNvSpPr>
              <a:spLocks noChangeShapeType="1"/>
            </p:cNvSpPr>
            <p:nvPr/>
          </p:nvSpPr>
          <p:spPr bwMode="auto">
            <a:xfrm>
              <a:off x="1269" y="876"/>
              <a:ext cx="3221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65" name="Line 15"/>
            <p:cNvSpPr>
              <a:spLocks noChangeShapeType="1"/>
            </p:cNvSpPr>
            <p:nvPr/>
          </p:nvSpPr>
          <p:spPr bwMode="auto">
            <a:xfrm>
              <a:off x="4377" y="935"/>
              <a:ext cx="0" cy="539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66" name="Text Box 16"/>
            <p:cNvSpPr txBox="1">
              <a:spLocks noChangeArrowheads="1"/>
            </p:cNvSpPr>
            <p:nvPr/>
          </p:nvSpPr>
          <p:spPr bwMode="auto">
            <a:xfrm>
              <a:off x="3833" y="890"/>
              <a:ext cx="541" cy="5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l">
                <a:buFontTx/>
                <a:buNone/>
              </a:pPr>
              <a:r>
                <a:rPr lang="en-GB" sz="1600"/>
                <a:t>Normal</a:t>
              </a:r>
            </a:p>
            <a:p>
              <a:pPr algn="l">
                <a:buFontTx/>
                <a:buNone/>
              </a:pPr>
              <a:r>
                <a:rPr lang="en-GB" sz="1600"/>
                <a:t>Control</a:t>
              </a:r>
            </a:p>
            <a:p>
              <a:pPr algn="l">
                <a:buFontTx/>
                <a:buNone/>
              </a:pPr>
              <a:r>
                <a:rPr lang="en-GB" sz="1600"/>
                <a:t>Range</a:t>
              </a:r>
              <a:endParaRPr lang="en-GB"/>
            </a:p>
          </p:txBody>
        </p:sp>
        <p:sp>
          <p:nvSpPr>
            <p:cNvPr id="232467" name="Line 17"/>
            <p:cNvSpPr>
              <a:spLocks noChangeShapeType="1"/>
            </p:cNvSpPr>
            <p:nvPr/>
          </p:nvSpPr>
          <p:spPr bwMode="auto">
            <a:xfrm flipH="1">
              <a:off x="1224" y="1290"/>
              <a:ext cx="590" cy="145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68" name="Line 18"/>
            <p:cNvSpPr>
              <a:spLocks noChangeShapeType="1"/>
            </p:cNvSpPr>
            <p:nvPr/>
          </p:nvSpPr>
          <p:spPr bwMode="auto">
            <a:xfrm>
              <a:off x="2539" y="1457"/>
              <a:ext cx="454" cy="12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69" name="Line 19"/>
            <p:cNvSpPr>
              <a:spLocks noChangeShapeType="1"/>
            </p:cNvSpPr>
            <p:nvPr/>
          </p:nvSpPr>
          <p:spPr bwMode="auto">
            <a:xfrm>
              <a:off x="3764" y="1872"/>
              <a:ext cx="363" cy="83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70" name="Rectangle 20"/>
            <p:cNvSpPr>
              <a:spLocks noChangeArrowheads="1"/>
            </p:cNvSpPr>
            <p:nvPr/>
          </p:nvSpPr>
          <p:spPr bwMode="auto">
            <a:xfrm>
              <a:off x="1245" y="717"/>
              <a:ext cx="3219" cy="16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2471" name="Rectangle 21"/>
            <p:cNvSpPr>
              <a:spLocks noChangeArrowheads="1"/>
            </p:cNvSpPr>
            <p:nvPr/>
          </p:nvSpPr>
          <p:spPr bwMode="auto">
            <a:xfrm>
              <a:off x="1245" y="717"/>
              <a:ext cx="3219" cy="1662"/>
            </a:xfrm>
            <a:prstGeom prst="rect">
              <a:avLst/>
            </a:prstGeom>
            <a:noFill/>
            <a:ln w="7938">
              <a:solidFill>
                <a:srgbClr val="80808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2472" name="Line 22"/>
            <p:cNvSpPr>
              <a:spLocks noChangeShapeType="1"/>
            </p:cNvSpPr>
            <p:nvPr/>
          </p:nvSpPr>
          <p:spPr bwMode="auto">
            <a:xfrm>
              <a:off x="1245" y="717"/>
              <a:ext cx="1" cy="1662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73" name="Line 23"/>
            <p:cNvSpPr>
              <a:spLocks noChangeShapeType="1"/>
            </p:cNvSpPr>
            <p:nvPr/>
          </p:nvSpPr>
          <p:spPr bwMode="auto">
            <a:xfrm>
              <a:off x="1229" y="2379"/>
              <a:ext cx="31" cy="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74" name="Line 24"/>
            <p:cNvSpPr>
              <a:spLocks noChangeShapeType="1"/>
            </p:cNvSpPr>
            <p:nvPr/>
          </p:nvSpPr>
          <p:spPr bwMode="auto">
            <a:xfrm>
              <a:off x="1229" y="2212"/>
              <a:ext cx="31" cy="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75" name="Line 25"/>
            <p:cNvSpPr>
              <a:spLocks noChangeShapeType="1"/>
            </p:cNvSpPr>
            <p:nvPr/>
          </p:nvSpPr>
          <p:spPr bwMode="auto">
            <a:xfrm>
              <a:off x="1229" y="2045"/>
              <a:ext cx="31" cy="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76" name="Line 26"/>
            <p:cNvSpPr>
              <a:spLocks noChangeShapeType="1"/>
            </p:cNvSpPr>
            <p:nvPr/>
          </p:nvSpPr>
          <p:spPr bwMode="auto">
            <a:xfrm>
              <a:off x="1229" y="1879"/>
              <a:ext cx="31" cy="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77" name="Line 27"/>
            <p:cNvSpPr>
              <a:spLocks noChangeShapeType="1"/>
            </p:cNvSpPr>
            <p:nvPr/>
          </p:nvSpPr>
          <p:spPr bwMode="auto">
            <a:xfrm>
              <a:off x="1229" y="1712"/>
              <a:ext cx="31" cy="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78" name="Line 28"/>
            <p:cNvSpPr>
              <a:spLocks noChangeShapeType="1"/>
            </p:cNvSpPr>
            <p:nvPr/>
          </p:nvSpPr>
          <p:spPr bwMode="auto">
            <a:xfrm>
              <a:off x="1229" y="1550"/>
              <a:ext cx="31" cy="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79" name="Line 29"/>
            <p:cNvSpPr>
              <a:spLocks noChangeShapeType="1"/>
            </p:cNvSpPr>
            <p:nvPr/>
          </p:nvSpPr>
          <p:spPr bwMode="auto">
            <a:xfrm>
              <a:off x="1229" y="1384"/>
              <a:ext cx="31" cy="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80" name="Line 30"/>
            <p:cNvSpPr>
              <a:spLocks noChangeShapeType="1"/>
            </p:cNvSpPr>
            <p:nvPr/>
          </p:nvSpPr>
          <p:spPr bwMode="auto">
            <a:xfrm>
              <a:off x="1229" y="1217"/>
              <a:ext cx="31" cy="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81" name="Line 31"/>
            <p:cNvSpPr>
              <a:spLocks noChangeShapeType="1"/>
            </p:cNvSpPr>
            <p:nvPr/>
          </p:nvSpPr>
          <p:spPr bwMode="auto">
            <a:xfrm>
              <a:off x="1229" y="1051"/>
              <a:ext cx="31" cy="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82" name="Line 32"/>
            <p:cNvSpPr>
              <a:spLocks noChangeShapeType="1"/>
            </p:cNvSpPr>
            <p:nvPr/>
          </p:nvSpPr>
          <p:spPr bwMode="auto">
            <a:xfrm>
              <a:off x="1229" y="884"/>
              <a:ext cx="31" cy="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83" name="Line 33"/>
            <p:cNvSpPr>
              <a:spLocks noChangeShapeType="1"/>
            </p:cNvSpPr>
            <p:nvPr/>
          </p:nvSpPr>
          <p:spPr bwMode="auto">
            <a:xfrm>
              <a:off x="1229" y="717"/>
              <a:ext cx="31" cy="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84" name="Line 34"/>
            <p:cNvSpPr>
              <a:spLocks noChangeShapeType="1"/>
            </p:cNvSpPr>
            <p:nvPr/>
          </p:nvSpPr>
          <p:spPr bwMode="auto">
            <a:xfrm>
              <a:off x="1245" y="2379"/>
              <a:ext cx="3219" cy="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85" name="Line 35"/>
            <p:cNvSpPr>
              <a:spLocks noChangeShapeType="1"/>
            </p:cNvSpPr>
            <p:nvPr/>
          </p:nvSpPr>
          <p:spPr bwMode="auto">
            <a:xfrm flipV="1">
              <a:off x="1245" y="2365"/>
              <a:ext cx="1" cy="2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86" name="Line 36"/>
            <p:cNvSpPr>
              <a:spLocks noChangeShapeType="1"/>
            </p:cNvSpPr>
            <p:nvPr/>
          </p:nvSpPr>
          <p:spPr bwMode="auto">
            <a:xfrm flipV="1">
              <a:off x="1864" y="2365"/>
              <a:ext cx="1" cy="2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87" name="Line 37"/>
            <p:cNvSpPr>
              <a:spLocks noChangeShapeType="1"/>
            </p:cNvSpPr>
            <p:nvPr/>
          </p:nvSpPr>
          <p:spPr bwMode="auto">
            <a:xfrm flipV="1">
              <a:off x="2484" y="2365"/>
              <a:ext cx="1" cy="2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88" name="Line 38"/>
            <p:cNvSpPr>
              <a:spLocks noChangeShapeType="1"/>
            </p:cNvSpPr>
            <p:nvPr/>
          </p:nvSpPr>
          <p:spPr bwMode="auto">
            <a:xfrm flipV="1">
              <a:off x="3103" y="2365"/>
              <a:ext cx="1" cy="2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89" name="Line 39"/>
            <p:cNvSpPr>
              <a:spLocks noChangeShapeType="1"/>
            </p:cNvSpPr>
            <p:nvPr/>
          </p:nvSpPr>
          <p:spPr bwMode="auto">
            <a:xfrm flipV="1">
              <a:off x="3723" y="2365"/>
              <a:ext cx="1" cy="2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90" name="Line 40"/>
            <p:cNvSpPr>
              <a:spLocks noChangeShapeType="1"/>
            </p:cNvSpPr>
            <p:nvPr/>
          </p:nvSpPr>
          <p:spPr bwMode="auto">
            <a:xfrm flipV="1">
              <a:off x="4342" y="2365"/>
              <a:ext cx="1" cy="27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91" name="Rectangle 41"/>
            <p:cNvSpPr>
              <a:spLocks noChangeArrowheads="1"/>
            </p:cNvSpPr>
            <p:nvPr/>
          </p:nvSpPr>
          <p:spPr bwMode="auto">
            <a:xfrm>
              <a:off x="1224" y="1115"/>
              <a:ext cx="46" cy="42"/>
            </a:xfrm>
            <a:prstGeom prst="rect">
              <a:avLst/>
            </a:prstGeom>
            <a:solidFill>
              <a:srgbClr val="000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2492" name="Line 42"/>
            <p:cNvSpPr>
              <a:spLocks noChangeShapeType="1"/>
            </p:cNvSpPr>
            <p:nvPr/>
          </p:nvSpPr>
          <p:spPr bwMode="auto">
            <a:xfrm flipH="1" flipV="1">
              <a:off x="1229" y="1120"/>
              <a:ext cx="16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93" name="Line 43"/>
            <p:cNvSpPr>
              <a:spLocks noChangeShapeType="1"/>
            </p:cNvSpPr>
            <p:nvPr/>
          </p:nvSpPr>
          <p:spPr bwMode="auto">
            <a:xfrm>
              <a:off x="1245" y="1134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94" name="Line 44"/>
            <p:cNvSpPr>
              <a:spLocks noChangeShapeType="1"/>
            </p:cNvSpPr>
            <p:nvPr/>
          </p:nvSpPr>
          <p:spPr bwMode="auto">
            <a:xfrm flipH="1">
              <a:off x="1229" y="1134"/>
              <a:ext cx="16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95" name="Line 45"/>
            <p:cNvSpPr>
              <a:spLocks noChangeShapeType="1"/>
            </p:cNvSpPr>
            <p:nvPr/>
          </p:nvSpPr>
          <p:spPr bwMode="auto">
            <a:xfrm flipV="1">
              <a:off x="1245" y="1120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96" name="Rectangle 46"/>
            <p:cNvSpPr>
              <a:spLocks noChangeArrowheads="1"/>
            </p:cNvSpPr>
            <p:nvPr/>
          </p:nvSpPr>
          <p:spPr bwMode="auto">
            <a:xfrm>
              <a:off x="1443" y="1148"/>
              <a:ext cx="45" cy="41"/>
            </a:xfrm>
            <a:prstGeom prst="rect">
              <a:avLst/>
            </a:prstGeom>
            <a:solidFill>
              <a:srgbClr val="000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2497" name="Line 47"/>
            <p:cNvSpPr>
              <a:spLocks noChangeShapeType="1"/>
            </p:cNvSpPr>
            <p:nvPr/>
          </p:nvSpPr>
          <p:spPr bwMode="auto">
            <a:xfrm flipH="1" flipV="1">
              <a:off x="1448" y="1152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98" name="Line 48"/>
            <p:cNvSpPr>
              <a:spLocks noChangeShapeType="1"/>
            </p:cNvSpPr>
            <p:nvPr/>
          </p:nvSpPr>
          <p:spPr bwMode="auto">
            <a:xfrm>
              <a:off x="1463" y="1166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499" name="Line 49"/>
            <p:cNvSpPr>
              <a:spLocks noChangeShapeType="1"/>
            </p:cNvSpPr>
            <p:nvPr/>
          </p:nvSpPr>
          <p:spPr bwMode="auto">
            <a:xfrm flipH="1">
              <a:off x="1448" y="1166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00" name="Line 50"/>
            <p:cNvSpPr>
              <a:spLocks noChangeShapeType="1"/>
            </p:cNvSpPr>
            <p:nvPr/>
          </p:nvSpPr>
          <p:spPr bwMode="auto">
            <a:xfrm flipV="1">
              <a:off x="1463" y="1152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01" name="Rectangle 51"/>
            <p:cNvSpPr>
              <a:spLocks noChangeArrowheads="1"/>
            </p:cNvSpPr>
            <p:nvPr/>
          </p:nvSpPr>
          <p:spPr bwMode="auto">
            <a:xfrm>
              <a:off x="1798" y="1199"/>
              <a:ext cx="46" cy="41"/>
            </a:xfrm>
            <a:prstGeom prst="rect">
              <a:avLst/>
            </a:prstGeom>
            <a:solidFill>
              <a:srgbClr val="000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2502" name="Line 52"/>
            <p:cNvSpPr>
              <a:spLocks noChangeShapeType="1"/>
            </p:cNvSpPr>
            <p:nvPr/>
          </p:nvSpPr>
          <p:spPr bwMode="auto">
            <a:xfrm flipH="1" flipV="1">
              <a:off x="1803" y="1203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03" name="Line 53"/>
            <p:cNvSpPr>
              <a:spLocks noChangeShapeType="1"/>
            </p:cNvSpPr>
            <p:nvPr/>
          </p:nvSpPr>
          <p:spPr bwMode="auto">
            <a:xfrm>
              <a:off x="1818" y="1217"/>
              <a:ext cx="16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04" name="Line 54"/>
            <p:cNvSpPr>
              <a:spLocks noChangeShapeType="1"/>
            </p:cNvSpPr>
            <p:nvPr/>
          </p:nvSpPr>
          <p:spPr bwMode="auto">
            <a:xfrm flipH="1">
              <a:off x="1803" y="1217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05" name="Line 55"/>
            <p:cNvSpPr>
              <a:spLocks noChangeShapeType="1"/>
            </p:cNvSpPr>
            <p:nvPr/>
          </p:nvSpPr>
          <p:spPr bwMode="auto">
            <a:xfrm flipV="1">
              <a:off x="1818" y="1203"/>
              <a:ext cx="16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06" name="Rectangle 56"/>
            <p:cNvSpPr>
              <a:spLocks noChangeArrowheads="1"/>
            </p:cNvSpPr>
            <p:nvPr/>
          </p:nvSpPr>
          <p:spPr bwMode="auto">
            <a:xfrm>
              <a:off x="2306" y="1370"/>
              <a:ext cx="46" cy="41"/>
            </a:xfrm>
            <a:prstGeom prst="rect">
              <a:avLst/>
            </a:prstGeom>
            <a:solidFill>
              <a:srgbClr val="000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2507" name="Line 57"/>
            <p:cNvSpPr>
              <a:spLocks noChangeShapeType="1"/>
            </p:cNvSpPr>
            <p:nvPr/>
          </p:nvSpPr>
          <p:spPr bwMode="auto">
            <a:xfrm flipH="1" flipV="1">
              <a:off x="2311" y="1374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08" name="Line 58"/>
            <p:cNvSpPr>
              <a:spLocks noChangeShapeType="1"/>
            </p:cNvSpPr>
            <p:nvPr/>
          </p:nvSpPr>
          <p:spPr bwMode="auto">
            <a:xfrm>
              <a:off x="2326" y="1388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09" name="Line 59"/>
            <p:cNvSpPr>
              <a:spLocks noChangeShapeType="1"/>
            </p:cNvSpPr>
            <p:nvPr/>
          </p:nvSpPr>
          <p:spPr bwMode="auto">
            <a:xfrm flipH="1">
              <a:off x="2311" y="1388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10" name="Line 60"/>
            <p:cNvSpPr>
              <a:spLocks noChangeShapeType="1"/>
            </p:cNvSpPr>
            <p:nvPr/>
          </p:nvSpPr>
          <p:spPr bwMode="auto">
            <a:xfrm flipV="1">
              <a:off x="2326" y="1374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11" name="Rectangle 61"/>
            <p:cNvSpPr>
              <a:spLocks noChangeArrowheads="1"/>
            </p:cNvSpPr>
            <p:nvPr/>
          </p:nvSpPr>
          <p:spPr bwMode="auto">
            <a:xfrm>
              <a:off x="2408" y="1388"/>
              <a:ext cx="45" cy="42"/>
            </a:xfrm>
            <a:prstGeom prst="rect">
              <a:avLst/>
            </a:prstGeom>
            <a:solidFill>
              <a:srgbClr val="000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2512" name="Line 62"/>
            <p:cNvSpPr>
              <a:spLocks noChangeShapeType="1"/>
            </p:cNvSpPr>
            <p:nvPr/>
          </p:nvSpPr>
          <p:spPr bwMode="auto">
            <a:xfrm flipH="1" flipV="1">
              <a:off x="2413" y="1393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13" name="Line 63"/>
            <p:cNvSpPr>
              <a:spLocks noChangeShapeType="1"/>
            </p:cNvSpPr>
            <p:nvPr/>
          </p:nvSpPr>
          <p:spPr bwMode="auto">
            <a:xfrm>
              <a:off x="2428" y="1407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14" name="Line 64"/>
            <p:cNvSpPr>
              <a:spLocks noChangeShapeType="1"/>
            </p:cNvSpPr>
            <p:nvPr/>
          </p:nvSpPr>
          <p:spPr bwMode="auto">
            <a:xfrm flipH="1">
              <a:off x="2413" y="1407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15" name="Line 65"/>
            <p:cNvSpPr>
              <a:spLocks noChangeShapeType="1"/>
            </p:cNvSpPr>
            <p:nvPr/>
          </p:nvSpPr>
          <p:spPr bwMode="auto">
            <a:xfrm flipV="1">
              <a:off x="2428" y="1393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16" name="Rectangle 66"/>
            <p:cNvSpPr>
              <a:spLocks noChangeArrowheads="1"/>
            </p:cNvSpPr>
            <p:nvPr/>
          </p:nvSpPr>
          <p:spPr bwMode="auto">
            <a:xfrm>
              <a:off x="2565" y="1407"/>
              <a:ext cx="46" cy="41"/>
            </a:xfrm>
            <a:prstGeom prst="rect">
              <a:avLst/>
            </a:prstGeom>
            <a:solidFill>
              <a:srgbClr val="000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2517" name="Line 67"/>
            <p:cNvSpPr>
              <a:spLocks noChangeShapeType="1"/>
            </p:cNvSpPr>
            <p:nvPr/>
          </p:nvSpPr>
          <p:spPr bwMode="auto">
            <a:xfrm flipH="1" flipV="1">
              <a:off x="2570" y="1411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18" name="Line 68"/>
            <p:cNvSpPr>
              <a:spLocks noChangeShapeType="1"/>
            </p:cNvSpPr>
            <p:nvPr/>
          </p:nvSpPr>
          <p:spPr bwMode="auto">
            <a:xfrm>
              <a:off x="2585" y="1425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19" name="Line 69"/>
            <p:cNvSpPr>
              <a:spLocks noChangeShapeType="1"/>
            </p:cNvSpPr>
            <p:nvPr/>
          </p:nvSpPr>
          <p:spPr bwMode="auto">
            <a:xfrm flipH="1">
              <a:off x="2570" y="1425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20" name="Line 70"/>
            <p:cNvSpPr>
              <a:spLocks noChangeShapeType="1"/>
            </p:cNvSpPr>
            <p:nvPr/>
          </p:nvSpPr>
          <p:spPr bwMode="auto">
            <a:xfrm flipV="1">
              <a:off x="2585" y="1411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21" name="Rectangle 71"/>
            <p:cNvSpPr>
              <a:spLocks noChangeArrowheads="1"/>
            </p:cNvSpPr>
            <p:nvPr/>
          </p:nvSpPr>
          <p:spPr bwMode="auto">
            <a:xfrm>
              <a:off x="2712" y="1411"/>
              <a:ext cx="46" cy="42"/>
            </a:xfrm>
            <a:prstGeom prst="rect">
              <a:avLst/>
            </a:prstGeom>
            <a:solidFill>
              <a:srgbClr val="000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2522" name="Line 72"/>
            <p:cNvSpPr>
              <a:spLocks noChangeShapeType="1"/>
            </p:cNvSpPr>
            <p:nvPr/>
          </p:nvSpPr>
          <p:spPr bwMode="auto">
            <a:xfrm flipH="1" flipV="1">
              <a:off x="2717" y="1416"/>
              <a:ext cx="16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23" name="Line 73"/>
            <p:cNvSpPr>
              <a:spLocks noChangeShapeType="1"/>
            </p:cNvSpPr>
            <p:nvPr/>
          </p:nvSpPr>
          <p:spPr bwMode="auto">
            <a:xfrm>
              <a:off x="2733" y="1430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24" name="Line 74"/>
            <p:cNvSpPr>
              <a:spLocks noChangeShapeType="1"/>
            </p:cNvSpPr>
            <p:nvPr/>
          </p:nvSpPr>
          <p:spPr bwMode="auto">
            <a:xfrm flipH="1">
              <a:off x="2717" y="1430"/>
              <a:ext cx="16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25" name="Line 75"/>
            <p:cNvSpPr>
              <a:spLocks noChangeShapeType="1"/>
            </p:cNvSpPr>
            <p:nvPr/>
          </p:nvSpPr>
          <p:spPr bwMode="auto">
            <a:xfrm flipV="1">
              <a:off x="2733" y="1416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26" name="Rectangle 76"/>
            <p:cNvSpPr>
              <a:spLocks noChangeArrowheads="1"/>
            </p:cNvSpPr>
            <p:nvPr/>
          </p:nvSpPr>
          <p:spPr bwMode="auto">
            <a:xfrm>
              <a:off x="2900" y="1448"/>
              <a:ext cx="46" cy="42"/>
            </a:xfrm>
            <a:prstGeom prst="rect">
              <a:avLst/>
            </a:prstGeom>
            <a:solidFill>
              <a:srgbClr val="000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2527" name="Line 77"/>
            <p:cNvSpPr>
              <a:spLocks noChangeShapeType="1"/>
            </p:cNvSpPr>
            <p:nvPr/>
          </p:nvSpPr>
          <p:spPr bwMode="auto">
            <a:xfrm flipH="1" flipV="1">
              <a:off x="2905" y="1453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28" name="Line 78"/>
            <p:cNvSpPr>
              <a:spLocks noChangeShapeType="1"/>
            </p:cNvSpPr>
            <p:nvPr/>
          </p:nvSpPr>
          <p:spPr bwMode="auto">
            <a:xfrm>
              <a:off x="2920" y="1467"/>
              <a:ext cx="16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29" name="Line 79"/>
            <p:cNvSpPr>
              <a:spLocks noChangeShapeType="1"/>
            </p:cNvSpPr>
            <p:nvPr/>
          </p:nvSpPr>
          <p:spPr bwMode="auto">
            <a:xfrm flipH="1">
              <a:off x="2905" y="1467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30" name="Line 80"/>
            <p:cNvSpPr>
              <a:spLocks noChangeShapeType="1"/>
            </p:cNvSpPr>
            <p:nvPr/>
          </p:nvSpPr>
          <p:spPr bwMode="auto">
            <a:xfrm flipV="1">
              <a:off x="2920" y="1453"/>
              <a:ext cx="16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31" name="Rectangle 81"/>
            <p:cNvSpPr>
              <a:spLocks noChangeArrowheads="1"/>
            </p:cNvSpPr>
            <p:nvPr/>
          </p:nvSpPr>
          <p:spPr bwMode="auto">
            <a:xfrm>
              <a:off x="3159" y="1536"/>
              <a:ext cx="46" cy="42"/>
            </a:xfrm>
            <a:prstGeom prst="rect">
              <a:avLst/>
            </a:prstGeom>
            <a:solidFill>
              <a:srgbClr val="000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2532" name="Line 82"/>
            <p:cNvSpPr>
              <a:spLocks noChangeShapeType="1"/>
            </p:cNvSpPr>
            <p:nvPr/>
          </p:nvSpPr>
          <p:spPr bwMode="auto">
            <a:xfrm flipH="1" flipV="1">
              <a:off x="3164" y="1541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33" name="Line 83"/>
            <p:cNvSpPr>
              <a:spLocks noChangeShapeType="1"/>
            </p:cNvSpPr>
            <p:nvPr/>
          </p:nvSpPr>
          <p:spPr bwMode="auto">
            <a:xfrm>
              <a:off x="3179" y="1555"/>
              <a:ext cx="16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34" name="Line 84"/>
            <p:cNvSpPr>
              <a:spLocks noChangeShapeType="1"/>
            </p:cNvSpPr>
            <p:nvPr/>
          </p:nvSpPr>
          <p:spPr bwMode="auto">
            <a:xfrm flipH="1">
              <a:off x="3164" y="1555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35" name="Line 85"/>
            <p:cNvSpPr>
              <a:spLocks noChangeShapeType="1"/>
            </p:cNvSpPr>
            <p:nvPr/>
          </p:nvSpPr>
          <p:spPr bwMode="auto">
            <a:xfrm flipV="1">
              <a:off x="3179" y="1541"/>
              <a:ext cx="16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36" name="Rectangle 86"/>
            <p:cNvSpPr>
              <a:spLocks noChangeArrowheads="1"/>
            </p:cNvSpPr>
            <p:nvPr/>
          </p:nvSpPr>
          <p:spPr bwMode="auto">
            <a:xfrm>
              <a:off x="3393" y="1620"/>
              <a:ext cx="45" cy="41"/>
            </a:xfrm>
            <a:prstGeom prst="rect">
              <a:avLst/>
            </a:prstGeom>
            <a:solidFill>
              <a:srgbClr val="000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2537" name="Line 87"/>
            <p:cNvSpPr>
              <a:spLocks noChangeShapeType="1"/>
            </p:cNvSpPr>
            <p:nvPr/>
          </p:nvSpPr>
          <p:spPr bwMode="auto">
            <a:xfrm flipH="1" flipV="1">
              <a:off x="3398" y="1624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38" name="Line 88"/>
            <p:cNvSpPr>
              <a:spLocks noChangeShapeType="1"/>
            </p:cNvSpPr>
            <p:nvPr/>
          </p:nvSpPr>
          <p:spPr bwMode="auto">
            <a:xfrm>
              <a:off x="3413" y="1638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39" name="Line 89"/>
            <p:cNvSpPr>
              <a:spLocks noChangeShapeType="1"/>
            </p:cNvSpPr>
            <p:nvPr/>
          </p:nvSpPr>
          <p:spPr bwMode="auto">
            <a:xfrm flipH="1">
              <a:off x="3398" y="1638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40" name="Line 90"/>
            <p:cNvSpPr>
              <a:spLocks noChangeShapeType="1"/>
            </p:cNvSpPr>
            <p:nvPr/>
          </p:nvSpPr>
          <p:spPr bwMode="auto">
            <a:xfrm flipV="1">
              <a:off x="3413" y="1624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41" name="Rectangle 91"/>
            <p:cNvSpPr>
              <a:spLocks noChangeArrowheads="1"/>
            </p:cNvSpPr>
            <p:nvPr/>
          </p:nvSpPr>
          <p:spPr bwMode="auto">
            <a:xfrm>
              <a:off x="3723" y="1772"/>
              <a:ext cx="46" cy="42"/>
            </a:xfrm>
            <a:prstGeom prst="rect">
              <a:avLst/>
            </a:prstGeom>
            <a:solidFill>
              <a:srgbClr val="000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2542" name="Line 92"/>
            <p:cNvSpPr>
              <a:spLocks noChangeShapeType="1"/>
            </p:cNvSpPr>
            <p:nvPr/>
          </p:nvSpPr>
          <p:spPr bwMode="auto">
            <a:xfrm flipH="1" flipV="1">
              <a:off x="3728" y="1777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43" name="Line 93"/>
            <p:cNvSpPr>
              <a:spLocks noChangeShapeType="1"/>
            </p:cNvSpPr>
            <p:nvPr/>
          </p:nvSpPr>
          <p:spPr bwMode="auto">
            <a:xfrm>
              <a:off x="3743" y="1791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44" name="Line 94"/>
            <p:cNvSpPr>
              <a:spLocks noChangeShapeType="1"/>
            </p:cNvSpPr>
            <p:nvPr/>
          </p:nvSpPr>
          <p:spPr bwMode="auto">
            <a:xfrm flipH="1">
              <a:off x="3728" y="1791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45" name="Line 95"/>
            <p:cNvSpPr>
              <a:spLocks noChangeShapeType="1"/>
            </p:cNvSpPr>
            <p:nvPr/>
          </p:nvSpPr>
          <p:spPr bwMode="auto">
            <a:xfrm flipV="1">
              <a:off x="3743" y="1777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46" name="Rectangle 96"/>
            <p:cNvSpPr>
              <a:spLocks noChangeArrowheads="1"/>
            </p:cNvSpPr>
            <p:nvPr/>
          </p:nvSpPr>
          <p:spPr bwMode="auto">
            <a:xfrm>
              <a:off x="4302" y="2267"/>
              <a:ext cx="45" cy="42"/>
            </a:xfrm>
            <a:prstGeom prst="rect">
              <a:avLst/>
            </a:prstGeom>
            <a:solidFill>
              <a:srgbClr val="000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2547" name="Line 97"/>
            <p:cNvSpPr>
              <a:spLocks noChangeShapeType="1"/>
            </p:cNvSpPr>
            <p:nvPr/>
          </p:nvSpPr>
          <p:spPr bwMode="auto">
            <a:xfrm flipH="1" flipV="1">
              <a:off x="4307" y="2272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48" name="Line 98"/>
            <p:cNvSpPr>
              <a:spLocks noChangeShapeType="1"/>
            </p:cNvSpPr>
            <p:nvPr/>
          </p:nvSpPr>
          <p:spPr bwMode="auto">
            <a:xfrm>
              <a:off x="4322" y="2286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49" name="Line 99"/>
            <p:cNvSpPr>
              <a:spLocks noChangeShapeType="1"/>
            </p:cNvSpPr>
            <p:nvPr/>
          </p:nvSpPr>
          <p:spPr bwMode="auto">
            <a:xfrm flipH="1">
              <a:off x="4307" y="2286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50" name="Line 100"/>
            <p:cNvSpPr>
              <a:spLocks noChangeShapeType="1"/>
            </p:cNvSpPr>
            <p:nvPr/>
          </p:nvSpPr>
          <p:spPr bwMode="auto">
            <a:xfrm flipV="1">
              <a:off x="4322" y="2272"/>
              <a:ext cx="15" cy="14"/>
            </a:xfrm>
            <a:prstGeom prst="line">
              <a:avLst/>
            </a:prstGeom>
            <a:noFill/>
            <a:ln w="7938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51" name="Freeform 101"/>
            <p:cNvSpPr>
              <a:spLocks/>
            </p:cNvSpPr>
            <p:nvPr/>
          </p:nvSpPr>
          <p:spPr bwMode="auto">
            <a:xfrm>
              <a:off x="1245" y="1171"/>
              <a:ext cx="3077" cy="1036"/>
            </a:xfrm>
            <a:custGeom>
              <a:avLst/>
              <a:gdLst>
                <a:gd name="T0" fmla="*/ 2147483647 w 606"/>
                <a:gd name="T1" fmla="*/ 0 h 224"/>
                <a:gd name="T2" fmla="*/ 2147483647 w 606"/>
                <a:gd name="T3" fmla="*/ 2147483647 h 224"/>
                <a:gd name="T4" fmla="*/ 2147483647 w 606"/>
                <a:gd name="T5" fmla="*/ 2147483647 h 224"/>
                <a:gd name="T6" fmla="*/ 2147483647 w 606"/>
                <a:gd name="T7" fmla="*/ 2147483647 h 224"/>
                <a:gd name="T8" fmla="*/ 2147483647 w 606"/>
                <a:gd name="T9" fmla="*/ 2147483647 h 224"/>
                <a:gd name="T10" fmla="*/ 2147483647 w 606"/>
                <a:gd name="T11" fmla="*/ 2147483647 h 224"/>
                <a:gd name="T12" fmla="*/ 2147483647 w 606"/>
                <a:gd name="T13" fmla="*/ 2147483647 h 224"/>
                <a:gd name="T14" fmla="*/ 2147483647 w 606"/>
                <a:gd name="T15" fmla="*/ 2147483647 h 224"/>
                <a:gd name="T16" fmla="*/ 2147483647 w 606"/>
                <a:gd name="T17" fmla="*/ 2147483647 h 224"/>
                <a:gd name="T18" fmla="*/ 2147483647 w 606"/>
                <a:gd name="T19" fmla="*/ 2147483647 h 224"/>
                <a:gd name="T20" fmla="*/ 2147483647 w 606"/>
                <a:gd name="T21" fmla="*/ 2147483647 h 224"/>
                <a:gd name="T22" fmla="*/ 2147483647 w 606"/>
                <a:gd name="T23" fmla="*/ 2147483647 h 224"/>
                <a:gd name="T24" fmla="*/ 2147483647 w 606"/>
                <a:gd name="T25" fmla="*/ 2147483647 h 224"/>
                <a:gd name="T26" fmla="*/ 2147483647 w 606"/>
                <a:gd name="T27" fmla="*/ 2147483647 h 224"/>
                <a:gd name="T28" fmla="*/ 2147483647 w 606"/>
                <a:gd name="T29" fmla="*/ 2147483647 h 224"/>
                <a:gd name="T30" fmla="*/ 2147483647 w 606"/>
                <a:gd name="T31" fmla="*/ 2147483647 h 224"/>
                <a:gd name="T32" fmla="*/ 2147483647 w 606"/>
                <a:gd name="T33" fmla="*/ 2147483647 h 224"/>
                <a:gd name="T34" fmla="*/ 2147483647 w 606"/>
                <a:gd name="T35" fmla="*/ 2147483647 h 224"/>
                <a:gd name="T36" fmla="*/ 2147483647 w 606"/>
                <a:gd name="T37" fmla="*/ 2147483647 h 224"/>
                <a:gd name="T38" fmla="*/ 2147483647 w 606"/>
                <a:gd name="T39" fmla="*/ 2147483647 h 224"/>
                <a:gd name="T40" fmla="*/ 2147483647 w 606"/>
                <a:gd name="T41" fmla="*/ 2147483647 h 224"/>
                <a:gd name="T42" fmla="*/ 2147483647 w 606"/>
                <a:gd name="T43" fmla="*/ 2147483647 h 224"/>
                <a:gd name="T44" fmla="*/ 2147483647 w 606"/>
                <a:gd name="T45" fmla="*/ 2147483647 h 224"/>
                <a:gd name="T46" fmla="*/ 2147483647 w 606"/>
                <a:gd name="T47" fmla="*/ 2147483647 h 224"/>
                <a:gd name="T48" fmla="*/ 2147483647 w 606"/>
                <a:gd name="T49" fmla="*/ 2147483647 h 224"/>
                <a:gd name="T50" fmla="*/ 2147483647 w 606"/>
                <a:gd name="T51" fmla="*/ 2147483647 h 224"/>
                <a:gd name="T52" fmla="*/ 2147483647 w 606"/>
                <a:gd name="T53" fmla="*/ 2147483647 h 224"/>
                <a:gd name="T54" fmla="*/ 2147483647 w 606"/>
                <a:gd name="T55" fmla="*/ 2147483647 h 224"/>
                <a:gd name="T56" fmla="*/ 2147483647 w 606"/>
                <a:gd name="T57" fmla="*/ 2147483647 h 224"/>
                <a:gd name="T58" fmla="*/ 2147483647 w 606"/>
                <a:gd name="T59" fmla="*/ 2147483647 h 224"/>
                <a:gd name="T60" fmla="*/ 2147483647 w 606"/>
                <a:gd name="T61" fmla="*/ 2147483647 h 224"/>
                <a:gd name="T62" fmla="*/ 2147483647 w 606"/>
                <a:gd name="T63" fmla="*/ 2147483647 h 224"/>
                <a:gd name="T64" fmla="*/ 2147483647 w 606"/>
                <a:gd name="T65" fmla="*/ 2147483647 h 224"/>
                <a:gd name="T66" fmla="*/ 2147483647 w 606"/>
                <a:gd name="T67" fmla="*/ 2147483647 h 224"/>
                <a:gd name="T68" fmla="*/ 2147483647 w 606"/>
                <a:gd name="T69" fmla="*/ 2147483647 h 224"/>
                <a:gd name="T70" fmla="*/ 2147483647 w 606"/>
                <a:gd name="T71" fmla="*/ 2147483647 h 224"/>
                <a:gd name="T72" fmla="*/ 2147483647 w 606"/>
                <a:gd name="T73" fmla="*/ 2147483647 h 224"/>
                <a:gd name="T74" fmla="*/ 2147483647 w 606"/>
                <a:gd name="T75" fmla="*/ 2147483647 h 224"/>
                <a:gd name="T76" fmla="*/ 2147483647 w 606"/>
                <a:gd name="T77" fmla="*/ 2147483647 h 224"/>
                <a:gd name="T78" fmla="*/ 2147483647 w 606"/>
                <a:gd name="T79" fmla="*/ 2147483647 h 224"/>
                <a:gd name="T80" fmla="*/ 2147483647 w 606"/>
                <a:gd name="T81" fmla="*/ 2147483647 h 224"/>
                <a:gd name="T82" fmla="*/ 2147483647 w 606"/>
                <a:gd name="T83" fmla="*/ 2147483647 h 224"/>
                <a:gd name="T84" fmla="*/ 2147483647 w 606"/>
                <a:gd name="T85" fmla="*/ 2147483647 h 224"/>
                <a:gd name="T86" fmla="*/ 2147483647 w 606"/>
                <a:gd name="T87" fmla="*/ 2147483647 h 224"/>
                <a:gd name="T88" fmla="*/ 2147483647 w 606"/>
                <a:gd name="T89" fmla="*/ 2147483647 h 224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06"/>
                <a:gd name="T136" fmla="*/ 0 h 224"/>
                <a:gd name="T137" fmla="*/ 606 w 606"/>
                <a:gd name="T138" fmla="*/ 224 h 224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06" h="224">
                  <a:moveTo>
                    <a:pt x="0" y="0"/>
                  </a:moveTo>
                  <a:lnTo>
                    <a:pt x="7" y="0"/>
                  </a:lnTo>
                  <a:lnTo>
                    <a:pt x="14" y="0"/>
                  </a:lnTo>
                  <a:lnTo>
                    <a:pt x="20" y="1"/>
                  </a:lnTo>
                  <a:lnTo>
                    <a:pt x="27" y="1"/>
                  </a:lnTo>
                  <a:lnTo>
                    <a:pt x="34" y="1"/>
                  </a:lnTo>
                  <a:lnTo>
                    <a:pt x="41" y="2"/>
                  </a:lnTo>
                  <a:lnTo>
                    <a:pt x="48" y="2"/>
                  </a:lnTo>
                  <a:lnTo>
                    <a:pt x="54" y="3"/>
                  </a:lnTo>
                  <a:lnTo>
                    <a:pt x="61" y="3"/>
                  </a:lnTo>
                  <a:lnTo>
                    <a:pt x="68" y="4"/>
                  </a:lnTo>
                  <a:lnTo>
                    <a:pt x="75" y="5"/>
                  </a:lnTo>
                  <a:lnTo>
                    <a:pt x="82" y="6"/>
                  </a:lnTo>
                  <a:lnTo>
                    <a:pt x="89" y="7"/>
                  </a:lnTo>
                  <a:lnTo>
                    <a:pt x="95" y="7"/>
                  </a:lnTo>
                  <a:lnTo>
                    <a:pt x="102" y="8"/>
                  </a:lnTo>
                  <a:lnTo>
                    <a:pt x="109" y="9"/>
                  </a:lnTo>
                  <a:lnTo>
                    <a:pt x="116" y="10"/>
                  </a:lnTo>
                  <a:lnTo>
                    <a:pt x="123" y="11"/>
                  </a:lnTo>
                  <a:lnTo>
                    <a:pt x="129" y="13"/>
                  </a:lnTo>
                  <a:lnTo>
                    <a:pt x="136" y="14"/>
                  </a:lnTo>
                  <a:lnTo>
                    <a:pt x="143" y="15"/>
                  </a:lnTo>
                  <a:lnTo>
                    <a:pt x="150" y="16"/>
                  </a:lnTo>
                  <a:lnTo>
                    <a:pt x="157" y="18"/>
                  </a:lnTo>
                  <a:lnTo>
                    <a:pt x="163" y="19"/>
                  </a:lnTo>
                  <a:lnTo>
                    <a:pt x="170" y="21"/>
                  </a:lnTo>
                  <a:lnTo>
                    <a:pt x="177" y="22"/>
                  </a:lnTo>
                  <a:lnTo>
                    <a:pt x="184" y="24"/>
                  </a:lnTo>
                  <a:lnTo>
                    <a:pt x="191" y="25"/>
                  </a:lnTo>
                  <a:lnTo>
                    <a:pt x="197" y="27"/>
                  </a:lnTo>
                  <a:lnTo>
                    <a:pt x="204" y="29"/>
                  </a:lnTo>
                  <a:lnTo>
                    <a:pt x="211" y="31"/>
                  </a:lnTo>
                  <a:lnTo>
                    <a:pt x="218" y="32"/>
                  </a:lnTo>
                  <a:lnTo>
                    <a:pt x="225" y="34"/>
                  </a:lnTo>
                  <a:lnTo>
                    <a:pt x="231" y="36"/>
                  </a:lnTo>
                  <a:lnTo>
                    <a:pt x="238" y="38"/>
                  </a:lnTo>
                  <a:lnTo>
                    <a:pt x="245" y="40"/>
                  </a:lnTo>
                  <a:lnTo>
                    <a:pt x="252" y="42"/>
                  </a:lnTo>
                  <a:lnTo>
                    <a:pt x="259" y="45"/>
                  </a:lnTo>
                  <a:lnTo>
                    <a:pt x="266" y="47"/>
                  </a:lnTo>
                  <a:lnTo>
                    <a:pt x="272" y="49"/>
                  </a:lnTo>
                  <a:lnTo>
                    <a:pt x="279" y="51"/>
                  </a:lnTo>
                  <a:lnTo>
                    <a:pt x="286" y="54"/>
                  </a:lnTo>
                  <a:lnTo>
                    <a:pt x="293" y="56"/>
                  </a:lnTo>
                  <a:lnTo>
                    <a:pt x="300" y="59"/>
                  </a:lnTo>
                  <a:lnTo>
                    <a:pt x="306" y="61"/>
                  </a:lnTo>
                  <a:lnTo>
                    <a:pt x="313" y="64"/>
                  </a:lnTo>
                  <a:lnTo>
                    <a:pt x="320" y="66"/>
                  </a:lnTo>
                  <a:lnTo>
                    <a:pt x="327" y="69"/>
                  </a:lnTo>
                  <a:lnTo>
                    <a:pt x="334" y="72"/>
                  </a:lnTo>
                  <a:lnTo>
                    <a:pt x="340" y="75"/>
                  </a:lnTo>
                  <a:lnTo>
                    <a:pt x="347" y="77"/>
                  </a:lnTo>
                  <a:lnTo>
                    <a:pt x="354" y="80"/>
                  </a:lnTo>
                  <a:lnTo>
                    <a:pt x="361" y="83"/>
                  </a:lnTo>
                  <a:lnTo>
                    <a:pt x="368" y="86"/>
                  </a:lnTo>
                  <a:lnTo>
                    <a:pt x="374" y="89"/>
                  </a:lnTo>
                  <a:lnTo>
                    <a:pt x="381" y="92"/>
                  </a:lnTo>
                  <a:lnTo>
                    <a:pt x="388" y="95"/>
                  </a:lnTo>
                  <a:lnTo>
                    <a:pt x="395" y="99"/>
                  </a:lnTo>
                  <a:lnTo>
                    <a:pt x="402" y="102"/>
                  </a:lnTo>
                  <a:lnTo>
                    <a:pt x="409" y="105"/>
                  </a:lnTo>
                  <a:lnTo>
                    <a:pt x="415" y="109"/>
                  </a:lnTo>
                  <a:lnTo>
                    <a:pt x="422" y="112"/>
                  </a:lnTo>
                  <a:lnTo>
                    <a:pt x="429" y="115"/>
                  </a:lnTo>
                  <a:lnTo>
                    <a:pt x="436" y="119"/>
                  </a:lnTo>
                  <a:lnTo>
                    <a:pt x="443" y="123"/>
                  </a:lnTo>
                  <a:lnTo>
                    <a:pt x="449" y="126"/>
                  </a:lnTo>
                  <a:lnTo>
                    <a:pt x="456" y="130"/>
                  </a:lnTo>
                  <a:lnTo>
                    <a:pt x="463" y="134"/>
                  </a:lnTo>
                  <a:lnTo>
                    <a:pt x="470" y="137"/>
                  </a:lnTo>
                  <a:lnTo>
                    <a:pt x="477" y="141"/>
                  </a:lnTo>
                  <a:lnTo>
                    <a:pt x="483" y="145"/>
                  </a:lnTo>
                  <a:lnTo>
                    <a:pt x="490" y="149"/>
                  </a:lnTo>
                  <a:lnTo>
                    <a:pt x="497" y="153"/>
                  </a:lnTo>
                  <a:lnTo>
                    <a:pt x="504" y="157"/>
                  </a:lnTo>
                  <a:lnTo>
                    <a:pt x="511" y="161"/>
                  </a:lnTo>
                  <a:lnTo>
                    <a:pt x="517" y="165"/>
                  </a:lnTo>
                  <a:lnTo>
                    <a:pt x="524" y="170"/>
                  </a:lnTo>
                  <a:lnTo>
                    <a:pt x="531" y="174"/>
                  </a:lnTo>
                  <a:lnTo>
                    <a:pt x="538" y="178"/>
                  </a:lnTo>
                  <a:lnTo>
                    <a:pt x="545" y="183"/>
                  </a:lnTo>
                  <a:lnTo>
                    <a:pt x="551" y="187"/>
                  </a:lnTo>
                  <a:lnTo>
                    <a:pt x="558" y="191"/>
                  </a:lnTo>
                  <a:lnTo>
                    <a:pt x="565" y="196"/>
                  </a:lnTo>
                  <a:lnTo>
                    <a:pt x="572" y="201"/>
                  </a:lnTo>
                  <a:lnTo>
                    <a:pt x="579" y="205"/>
                  </a:lnTo>
                  <a:lnTo>
                    <a:pt x="586" y="210"/>
                  </a:lnTo>
                  <a:lnTo>
                    <a:pt x="592" y="215"/>
                  </a:lnTo>
                  <a:lnTo>
                    <a:pt x="599" y="219"/>
                  </a:lnTo>
                  <a:lnTo>
                    <a:pt x="606" y="224"/>
                  </a:lnTo>
                </a:path>
              </a:pathLst>
            </a:cu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552" name="Rectangle 102"/>
            <p:cNvSpPr>
              <a:spLocks noChangeArrowheads="1"/>
            </p:cNvSpPr>
            <p:nvPr/>
          </p:nvSpPr>
          <p:spPr bwMode="auto">
            <a:xfrm>
              <a:off x="1153" y="2346"/>
              <a:ext cx="55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>
                <a:buFontTx/>
                <a:buNone/>
              </a:pPr>
              <a:r>
                <a:rPr lang="en-GB" sz="600">
                  <a:solidFill>
                    <a:srgbClr val="000000"/>
                  </a:solidFill>
                </a:rPr>
                <a:t>70</a:t>
              </a:r>
              <a:endParaRPr lang="en-GB"/>
            </a:p>
          </p:txBody>
        </p:sp>
        <p:sp>
          <p:nvSpPr>
            <p:cNvPr id="232553" name="Rectangle 103"/>
            <p:cNvSpPr>
              <a:spLocks noChangeArrowheads="1"/>
            </p:cNvSpPr>
            <p:nvPr/>
          </p:nvSpPr>
          <p:spPr bwMode="auto">
            <a:xfrm>
              <a:off x="1153" y="2180"/>
              <a:ext cx="55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>
                <a:buFontTx/>
                <a:buNone/>
              </a:pPr>
              <a:r>
                <a:rPr lang="en-GB" sz="600">
                  <a:solidFill>
                    <a:srgbClr val="000000"/>
                  </a:solidFill>
                </a:rPr>
                <a:t>72</a:t>
              </a:r>
              <a:endParaRPr lang="en-GB"/>
            </a:p>
          </p:txBody>
        </p:sp>
        <p:sp>
          <p:nvSpPr>
            <p:cNvPr id="232554" name="Rectangle 104"/>
            <p:cNvSpPr>
              <a:spLocks noChangeArrowheads="1"/>
            </p:cNvSpPr>
            <p:nvPr/>
          </p:nvSpPr>
          <p:spPr bwMode="auto">
            <a:xfrm>
              <a:off x="1153" y="2013"/>
              <a:ext cx="55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>
                <a:buFontTx/>
                <a:buNone/>
              </a:pPr>
              <a:r>
                <a:rPr lang="en-GB" sz="600">
                  <a:solidFill>
                    <a:srgbClr val="000000"/>
                  </a:solidFill>
                </a:rPr>
                <a:t>74</a:t>
              </a:r>
              <a:endParaRPr lang="en-GB"/>
            </a:p>
          </p:txBody>
        </p:sp>
        <p:sp>
          <p:nvSpPr>
            <p:cNvPr id="232555" name="Rectangle 105"/>
            <p:cNvSpPr>
              <a:spLocks noChangeArrowheads="1"/>
            </p:cNvSpPr>
            <p:nvPr/>
          </p:nvSpPr>
          <p:spPr bwMode="auto">
            <a:xfrm>
              <a:off x="1153" y="1846"/>
              <a:ext cx="55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>
                <a:buFontTx/>
                <a:buNone/>
              </a:pPr>
              <a:r>
                <a:rPr lang="en-GB" sz="600">
                  <a:solidFill>
                    <a:srgbClr val="000000"/>
                  </a:solidFill>
                </a:rPr>
                <a:t>76</a:t>
              </a:r>
              <a:endParaRPr lang="en-GB"/>
            </a:p>
          </p:txBody>
        </p:sp>
        <p:sp>
          <p:nvSpPr>
            <p:cNvPr id="232556" name="Rectangle 106"/>
            <p:cNvSpPr>
              <a:spLocks noChangeArrowheads="1"/>
            </p:cNvSpPr>
            <p:nvPr/>
          </p:nvSpPr>
          <p:spPr bwMode="auto">
            <a:xfrm>
              <a:off x="1153" y="1680"/>
              <a:ext cx="55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>
                <a:buFontTx/>
                <a:buNone/>
              </a:pPr>
              <a:r>
                <a:rPr lang="en-GB" sz="600">
                  <a:solidFill>
                    <a:srgbClr val="000000"/>
                  </a:solidFill>
                </a:rPr>
                <a:t>78</a:t>
              </a:r>
              <a:endParaRPr lang="en-GB"/>
            </a:p>
          </p:txBody>
        </p:sp>
        <p:sp>
          <p:nvSpPr>
            <p:cNvPr id="232557" name="Rectangle 107"/>
            <p:cNvSpPr>
              <a:spLocks noChangeArrowheads="1"/>
            </p:cNvSpPr>
            <p:nvPr/>
          </p:nvSpPr>
          <p:spPr bwMode="auto">
            <a:xfrm>
              <a:off x="1153" y="1518"/>
              <a:ext cx="55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>
                <a:buFontTx/>
                <a:buNone/>
              </a:pPr>
              <a:r>
                <a:rPr lang="en-GB" sz="600">
                  <a:solidFill>
                    <a:srgbClr val="000000"/>
                  </a:solidFill>
                </a:rPr>
                <a:t>80</a:t>
              </a:r>
              <a:endParaRPr lang="en-GB"/>
            </a:p>
          </p:txBody>
        </p:sp>
        <p:sp>
          <p:nvSpPr>
            <p:cNvPr id="232558" name="Rectangle 108"/>
            <p:cNvSpPr>
              <a:spLocks noChangeArrowheads="1"/>
            </p:cNvSpPr>
            <p:nvPr/>
          </p:nvSpPr>
          <p:spPr bwMode="auto">
            <a:xfrm>
              <a:off x="1153" y="1351"/>
              <a:ext cx="55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>
                <a:buFontTx/>
                <a:buNone/>
              </a:pPr>
              <a:r>
                <a:rPr lang="en-GB" sz="600">
                  <a:solidFill>
                    <a:srgbClr val="000000"/>
                  </a:solidFill>
                </a:rPr>
                <a:t>82</a:t>
              </a:r>
              <a:endParaRPr lang="en-GB"/>
            </a:p>
          </p:txBody>
        </p:sp>
        <p:sp>
          <p:nvSpPr>
            <p:cNvPr id="232559" name="Rectangle 109"/>
            <p:cNvSpPr>
              <a:spLocks noChangeArrowheads="1"/>
            </p:cNvSpPr>
            <p:nvPr/>
          </p:nvSpPr>
          <p:spPr bwMode="auto">
            <a:xfrm>
              <a:off x="1153" y="1185"/>
              <a:ext cx="55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>
                <a:buFontTx/>
                <a:buNone/>
              </a:pPr>
              <a:r>
                <a:rPr lang="en-GB" sz="600">
                  <a:solidFill>
                    <a:srgbClr val="000000"/>
                  </a:solidFill>
                </a:rPr>
                <a:t>84</a:t>
              </a:r>
              <a:endParaRPr lang="en-GB"/>
            </a:p>
          </p:txBody>
        </p:sp>
        <p:sp>
          <p:nvSpPr>
            <p:cNvPr id="232560" name="Rectangle 110"/>
            <p:cNvSpPr>
              <a:spLocks noChangeArrowheads="1"/>
            </p:cNvSpPr>
            <p:nvPr/>
          </p:nvSpPr>
          <p:spPr bwMode="auto">
            <a:xfrm>
              <a:off x="1153" y="1018"/>
              <a:ext cx="55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>
                <a:buFontTx/>
                <a:buNone/>
              </a:pPr>
              <a:r>
                <a:rPr lang="en-GB" sz="600">
                  <a:solidFill>
                    <a:srgbClr val="000000"/>
                  </a:solidFill>
                </a:rPr>
                <a:t>86</a:t>
              </a:r>
              <a:endParaRPr lang="en-GB"/>
            </a:p>
          </p:txBody>
        </p:sp>
        <p:sp>
          <p:nvSpPr>
            <p:cNvPr id="232561" name="Rectangle 111"/>
            <p:cNvSpPr>
              <a:spLocks noChangeArrowheads="1"/>
            </p:cNvSpPr>
            <p:nvPr/>
          </p:nvSpPr>
          <p:spPr bwMode="auto">
            <a:xfrm>
              <a:off x="1153" y="852"/>
              <a:ext cx="55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>
                <a:buFontTx/>
                <a:buNone/>
              </a:pPr>
              <a:r>
                <a:rPr lang="en-GB" sz="600">
                  <a:solidFill>
                    <a:srgbClr val="000000"/>
                  </a:solidFill>
                </a:rPr>
                <a:t>88</a:t>
              </a:r>
              <a:endParaRPr lang="en-GB"/>
            </a:p>
          </p:txBody>
        </p:sp>
        <p:sp>
          <p:nvSpPr>
            <p:cNvPr id="232562" name="Rectangle 112"/>
            <p:cNvSpPr>
              <a:spLocks noChangeArrowheads="1"/>
            </p:cNvSpPr>
            <p:nvPr/>
          </p:nvSpPr>
          <p:spPr bwMode="auto">
            <a:xfrm>
              <a:off x="1153" y="685"/>
              <a:ext cx="55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>
                <a:buFontTx/>
                <a:buNone/>
              </a:pPr>
              <a:r>
                <a:rPr lang="en-GB" sz="600">
                  <a:solidFill>
                    <a:srgbClr val="000000"/>
                  </a:solidFill>
                </a:rPr>
                <a:t>90</a:t>
              </a:r>
              <a:endParaRPr lang="en-GB"/>
            </a:p>
          </p:txBody>
        </p:sp>
        <p:sp>
          <p:nvSpPr>
            <p:cNvPr id="232563" name="Rectangle 113"/>
            <p:cNvSpPr>
              <a:spLocks noChangeArrowheads="1"/>
            </p:cNvSpPr>
            <p:nvPr/>
          </p:nvSpPr>
          <p:spPr bwMode="auto">
            <a:xfrm>
              <a:off x="1237" y="2420"/>
              <a:ext cx="27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>
                <a:buFontTx/>
                <a:buNone/>
              </a:pPr>
              <a:r>
                <a:rPr lang="en-GB" sz="600">
                  <a:solidFill>
                    <a:srgbClr val="000000"/>
                  </a:solidFill>
                </a:rPr>
                <a:t>0</a:t>
              </a:r>
              <a:endParaRPr lang="en-GB"/>
            </a:p>
          </p:txBody>
        </p:sp>
        <p:sp>
          <p:nvSpPr>
            <p:cNvPr id="232564" name="Rectangle 114"/>
            <p:cNvSpPr>
              <a:spLocks noChangeArrowheads="1"/>
            </p:cNvSpPr>
            <p:nvPr/>
          </p:nvSpPr>
          <p:spPr bwMode="auto">
            <a:xfrm>
              <a:off x="1832" y="2420"/>
              <a:ext cx="82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>
                <a:buFontTx/>
                <a:buNone/>
              </a:pPr>
              <a:r>
                <a:rPr lang="en-GB" sz="600">
                  <a:solidFill>
                    <a:srgbClr val="000000"/>
                  </a:solidFill>
                </a:rPr>
                <a:t>500</a:t>
              </a:r>
              <a:endParaRPr lang="en-GB"/>
            </a:p>
          </p:txBody>
        </p:sp>
        <p:sp>
          <p:nvSpPr>
            <p:cNvPr id="232565" name="Rectangle 115"/>
            <p:cNvSpPr>
              <a:spLocks noChangeArrowheads="1"/>
            </p:cNvSpPr>
            <p:nvPr/>
          </p:nvSpPr>
          <p:spPr bwMode="auto">
            <a:xfrm>
              <a:off x="2442" y="2420"/>
              <a:ext cx="109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>
                <a:buFontTx/>
                <a:buNone/>
              </a:pPr>
              <a:r>
                <a:rPr lang="en-GB" sz="600">
                  <a:solidFill>
                    <a:srgbClr val="000000"/>
                  </a:solidFill>
                </a:rPr>
                <a:t>1000</a:t>
              </a:r>
              <a:endParaRPr lang="en-GB"/>
            </a:p>
          </p:txBody>
        </p:sp>
        <p:sp>
          <p:nvSpPr>
            <p:cNvPr id="232566" name="Rectangle 116"/>
            <p:cNvSpPr>
              <a:spLocks noChangeArrowheads="1"/>
            </p:cNvSpPr>
            <p:nvPr/>
          </p:nvSpPr>
          <p:spPr bwMode="auto">
            <a:xfrm>
              <a:off x="3061" y="2420"/>
              <a:ext cx="109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>
                <a:buFontTx/>
                <a:buNone/>
              </a:pPr>
              <a:r>
                <a:rPr lang="en-GB" sz="600">
                  <a:solidFill>
                    <a:srgbClr val="000000"/>
                  </a:solidFill>
                </a:rPr>
                <a:t>1500</a:t>
              </a:r>
              <a:endParaRPr lang="en-GB"/>
            </a:p>
          </p:txBody>
        </p:sp>
        <p:sp>
          <p:nvSpPr>
            <p:cNvPr id="232567" name="Rectangle 117"/>
            <p:cNvSpPr>
              <a:spLocks noChangeArrowheads="1"/>
            </p:cNvSpPr>
            <p:nvPr/>
          </p:nvSpPr>
          <p:spPr bwMode="auto">
            <a:xfrm>
              <a:off x="3681" y="2420"/>
              <a:ext cx="109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>
                <a:buFontTx/>
                <a:buNone/>
              </a:pPr>
              <a:r>
                <a:rPr lang="en-GB" sz="600">
                  <a:solidFill>
                    <a:srgbClr val="000000"/>
                  </a:solidFill>
                </a:rPr>
                <a:t>2000</a:t>
              </a:r>
              <a:endParaRPr lang="en-GB"/>
            </a:p>
          </p:txBody>
        </p:sp>
        <p:sp>
          <p:nvSpPr>
            <p:cNvPr id="232568" name="Rectangle 118"/>
            <p:cNvSpPr>
              <a:spLocks noChangeArrowheads="1"/>
            </p:cNvSpPr>
            <p:nvPr/>
          </p:nvSpPr>
          <p:spPr bwMode="auto">
            <a:xfrm>
              <a:off x="4300" y="2420"/>
              <a:ext cx="109" cy="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>
                <a:buFontTx/>
                <a:buNone/>
              </a:pPr>
              <a:r>
                <a:rPr lang="en-GB" sz="600">
                  <a:solidFill>
                    <a:srgbClr val="000000"/>
                  </a:solidFill>
                </a:rPr>
                <a:t>2500</a:t>
              </a:r>
              <a:endParaRPr lang="en-GB"/>
            </a:p>
          </p:txBody>
        </p:sp>
        <p:sp>
          <p:nvSpPr>
            <p:cNvPr id="232569" name="Rectangle 119"/>
            <p:cNvSpPr>
              <a:spLocks noChangeArrowheads="1"/>
            </p:cNvSpPr>
            <p:nvPr/>
          </p:nvSpPr>
          <p:spPr bwMode="auto">
            <a:xfrm>
              <a:off x="2281" y="2527"/>
              <a:ext cx="1301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>
                <a:buFontTx/>
                <a:buNone/>
              </a:pPr>
              <a:r>
                <a:rPr lang="en-GB" sz="900" b="1">
                  <a:solidFill>
                    <a:srgbClr val="000099"/>
                  </a:solidFill>
                </a:rPr>
                <a:t>TIME SINCE BASELINE SCAN (DAYS)</a:t>
              </a:r>
              <a:endParaRPr lang="en-GB">
                <a:solidFill>
                  <a:srgbClr val="000099"/>
                </a:solidFill>
              </a:endParaRPr>
            </a:p>
          </p:txBody>
        </p:sp>
        <p:sp>
          <p:nvSpPr>
            <p:cNvPr id="232570" name="Rectangle 120"/>
            <p:cNvSpPr>
              <a:spLocks noChangeArrowheads="1"/>
            </p:cNvSpPr>
            <p:nvPr/>
          </p:nvSpPr>
          <p:spPr bwMode="auto">
            <a:xfrm rot="-5400000">
              <a:off x="206" y="1574"/>
              <a:ext cx="1535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>
                <a:buFontTx/>
                <a:buNone/>
              </a:pPr>
              <a:r>
                <a:rPr lang="en-GB" sz="900" b="1">
                  <a:solidFill>
                    <a:srgbClr val="000099"/>
                  </a:solidFill>
                </a:rPr>
                <a:t>BRAIN VOLUME AS A PERCENTAGE OF TIV</a:t>
              </a:r>
              <a:endParaRPr lang="en-GB">
                <a:solidFill>
                  <a:srgbClr val="000099"/>
                </a:solidFill>
              </a:endParaRPr>
            </a:p>
          </p:txBody>
        </p:sp>
      </p:grpSp>
      <p:grpSp>
        <p:nvGrpSpPr>
          <p:cNvPr id="232450" name="Group 4"/>
          <p:cNvGrpSpPr>
            <a:grpSpLocks/>
          </p:cNvGrpSpPr>
          <p:nvPr/>
        </p:nvGrpSpPr>
        <p:grpSpPr bwMode="auto">
          <a:xfrm>
            <a:off x="7715250" y="214313"/>
            <a:ext cx="1298575" cy="681037"/>
            <a:chOff x="7500938" y="285728"/>
            <a:chExt cx="1298575" cy="681060"/>
          </a:xfrm>
        </p:grpSpPr>
        <p:pic>
          <p:nvPicPr>
            <p:cNvPr id="232451" name="Picture 64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2396" y="285728"/>
              <a:ext cx="1071590" cy="2823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2452" name="Picture 63" descr="C:\Documents and Settings\KMosley\Local Settings\Temporary Internet Files\Content.IE5\8F8TCVUH\SJMC[1].gif"/>
            <p:cNvPicPr>
              <a:picLocks noChangeAspect="1" noChangeArrowheads="1"/>
            </p:cNvPicPr>
            <p:nvPr/>
          </p:nvPicPr>
          <p:blipFill>
            <a:blip r:embed="rId6" r:link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0938" y="668338"/>
              <a:ext cx="1298575" cy="298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473" name="Rectangle 272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00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buFontTx/>
              <a:buNone/>
            </a:pPr>
            <a:endParaRPr lang="en-GB"/>
          </a:p>
        </p:txBody>
      </p:sp>
      <p:sp>
        <p:nvSpPr>
          <p:cNvPr id="233474" name="Rectangle 2"/>
          <p:cNvSpPr>
            <a:spLocks noChangeArrowheads="1"/>
          </p:cNvSpPr>
          <p:nvPr/>
        </p:nvSpPr>
        <p:spPr bwMode="auto">
          <a:xfrm>
            <a:off x="395288" y="260350"/>
            <a:ext cx="2646362" cy="1382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en-GB">
                <a:solidFill>
                  <a:srgbClr val="FFFF00"/>
                </a:solidFill>
                <a:latin typeface="Comic Sans MS" pitchFamily="66" charset="0"/>
              </a:rPr>
              <a:t>Control: Scan 1-Scan 2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GB">
                <a:solidFill>
                  <a:srgbClr val="FFFF00"/>
                </a:solidFill>
                <a:latin typeface="Comic Sans MS" pitchFamily="66" charset="0"/>
              </a:rPr>
              <a:t>1 year interval</a:t>
            </a:r>
          </a:p>
        </p:txBody>
      </p:sp>
      <p:sp>
        <p:nvSpPr>
          <p:cNvPr id="233475" name="Rectangle 3"/>
          <p:cNvSpPr>
            <a:spLocks noChangeArrowheads="1"/>
          </p:cNvSpPr>
          <p:nvPr/>
        </p:nvSpPr>
        <p:spPr bwMode="auto">
          <a:xfrm>
            <a:off x="842963" y="2071688"/>
            <a:ext cx="720725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FontTx/>
              <a:buNone/>
            </a:pPr>
            <a:endParaRPr lang="en-GB">
              <a:solidFill>
                <a:srgbClr val="FFFF00"/>
              </a:solidFill>
            </a:endParaRPr>
          </a:p>
        </p:txBody>
      </p:sp>
      <p:pic>
        <p:nvPicPr>
          <p:cNvPr id="233476" name="Picture 4"/>
          <p:cNvPicPr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413" y="3502025"/>
            <a:ext cx="2808287" cy="2495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3477" name="Rectangle 5"/>
          <p:cNvSpPr>
            <a:spLocks noChangeArrowheads="1"/>
          </p:cNvSpPr>
          <p:nvPr/>
        </p:nvSpPr>
        <p:spPr bwMode="auto">
          <a:xfrm>
            <a:off x="250825" y="5949950"/>
            <a:ext cx="24765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en-GB" sz="1400">
                <a:solidFill>
                  <a:srgbClr val="FFFF00"/>
                </a:solidFill>
                <a:latin typeface="Comic Sans MS" pitchFamily="66" charset="0"/>
              </a:rPr>
              <a:t>Alzheimers: Scan 1-Scan 2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GB" sz="1400">
                <a:solidFill>
                  <a:srgbClr val="FFFF00"/>
                </a:solidFill>
                <a:latin typeface="Comic Sans MS" pitchFamily="66" charset="0"/>
              </a:rPr>
              <a:t>1 year interval</a:t>
            </a:r>
          </a:p>
        </p:txBody>
      </p:sp>
      <p:sp>
        <p:nvSpPr>
          <p:cNvPr id="233478" name="Rectangle 6"/>
          <p:cNvSpPr>
            <a:spLocks noChangeArrowheads="1"/>
          </p:cNvSpPr>
          <p:nvPr/>
        </p:nvSpPr>
        <p:spPr bwMode="auto">
          <a:xfrm>
            <a:off x="684213" y="6524625"/>
            <a:ext cx="1819275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>
            <a:spAutoFit/>
          </a:bodyPr>
          <a:lstStyle/>
          <a:p>
            <a:pPr algn="l">
              <a:spcBef>
                <a:spcPct val="0"/>
              </a:spcBef>
              <a:buFontTx/>
              <a:buNone/>
            </a:pPr>
            <a:r>
              <a:rPr lang="en-GB" sz="1600">
                <a:solidFill>
                  <a:srgbClr val="FFFFFF"/>
                </a:solidFill>
                <a:latin typeface="Comic Sans MS" pitchFamily="66" charset="0"/>
              </a:rPr>
              <a:t>(Red = issue loss)</a:t>
            </a:r>
          </a:p>
        </p:txBody>
      </p:sp>
      <p:grpSp>
        <p:nvGrpSpPr>
          <p:cNvPr id="233479" name="Group 7"/>
          <p:cNvGrpSpPr>
            <a:grpSpLocks/>
          </p:cNvGrpSpPr>
          <p:nvPr/>
        </p:nvGrpSpPr>
        <p:grpSpPr bwMode="auto">
          <a:xfrm>
            <a:off x="2987675" y="1125538"/>
            <a:ext cx="3749675" cy="2800350"/>
            <a:chOff x="1927" y="663"/>
            <a:chExt cx="2362" cy="1764"/>
          </a:xfrm>
        </p:grpSpPr>
        <p:sp>
          <p:nvSpPr>
            <p:cNvPr id="233683" name="Rectangle 8"/>
            <p:cNvSpPr>
              <a:spLocks noChangeArrowheads="1"/>
            </p:cNvSpPr>
            <p:nvPr/>
          </p:nvSpPr>
          <p:spPr bwMode="auto">
            <a:xfrm>
              <a:off x="1927" y="663"/>
              <a:ext cx="2362" cy="2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algn="l" defTabSz="762000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r>
                <a:rPr lang="en-GB" sz="2000" b="1">
                  <a:solidFill>
                    <a:srgbClr val="FFFF00"/>
                  </a:solidFill>
                </a:rPr>
                <a:t>Rate of  volume loss (% year)</a:t>
              </a:r>
            </a:p>
          </p:txBody>
        </p:sp>
        <p:sp>
          <p:nvSpPr>
            <p:cNvPr id="233684" name="Line 9"/>
            <p:cNvSpPr>
              <a:spLocks noChangeShapeType="1"/>
            </p:cNvSpPr>
            <p:nvPr/>
          </p:nvSpPr>
          <p:spPr bwMode="auto">
            <a:xfrm>
              <a:off x="2050" y="1071"/>
              <a:ext cx="0" cy="1123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85" name="Line 10"/>
            <p:cNvSpPr>
              <a:spLocks noChangeShapeType="1"/>
            </p:cNvSpPr>
            <p:nvPr/>
          </p:nvSpPr>
          <p:spPr bwMode="auto">
            <a:xfrm>
              <a:off x="2018" y="2194"/>
              <a:ext cx="64" cy="0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86" name="Line 11"/>
            <p:cNvSpPr>
              <a:spLocks noChangeShapeType="1"/>
            </p:cNvSpPr>
            <p:nvPr/>
          </p:nvSpPr>
          <p:spPr bwMode="auto">
            <a:xfrm>
              <a:off x="2018" y="2007"/>
              <a:ext cx="64" cy="0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87" name="Line 12"/>
            <p:cNvSpPr>
              <a:spLocks noChangeShapeType="1"/>
            </p:cNvSpPr>
            <p:nvPr/>
          </p:nvSpPr>
          <p:spPr bwMode="auto">
            <a:xfrm>
              <a:off x="2018" y="1819"/>
              <a:ext cx="64" cy="0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88" name="Line 13"/>
            <p:cNvSpPr>
              <a:spLocks noChangeShapeType="1"/>
            </p:cNvSpPr>
            <p:nvPr/>
          </p:nvSpPr>
          <p:spPr bwMode="auto">
            <a:xfrm>
              <a:off x="2018" y="1633"/>
              <a:ext cx="64" cy="0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89" name="Line 14"/>
            <p:cNvSpPr>
              <a:spLocks noChangeShapeType="1"/>
            </p:cNvSpPr>
            <p:nvPr/>
          </p:nvSpPr>
          <p:spPr bwMode="auto">
            <a:xfrm>
              <a:off x="2018" y="1445"/>
              <a:ext cx="64" cy="0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90" name="Line 15"/>
            <p:cNvSpPr>
              <a:spLocks noChangeShapeType="1"/>
            </p:cNvSpPr>
            <p:nvPr/>
          </p:nvSpPr>
          <p:spPr bwMode="auto">
            <a:xfrm>
              <a:off x="2018" y="1258"/>
              <a:ext cx="64" cy="0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91" name="Line 16"/>
            <p:cNvSpPr>
              <a:spLocks noChangeShapeType="1"/>
            </p:cNvSpPr>
            <p:nvPr/>
          </p:nvSpPr>
          <p:spPr bwMode="auto">
            <a:xfrm>
              <a:off x="2018" y="1071"/>
              <a:ext cx="64" cy="0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92" name="Line 17"/>
            <p:cNvSpPr>
              <a:spLocks noChangeShapeType="1"/>
            </p:cNvSpPr>
            <p:nvPr/>
          </p:nvSpPr>
          <p:spPr bwMode="auto">
            <a:xfrm>
              <a:off x="2050" y="2007"/>
              <a:ext cx="1688" cy="0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93" name="Freeform 18"/>
            <p:cNvSpPr>
              <a:spLocks/>
            </p:cNvSpPr>
            <p:nvPr/>
          </p:nvSpPr>
          <p:spPr bwMode="auto">
            <a:xfrm>
              <a:off x="2498" y="1833"/>
              <a:ext cx="33" cy="31"/>
            </a:xfrm>
            <a:custGeom>
              <a:avLst/>
              <a:gdLst>
                <a:gd name="T0" fmla="*/ 0 w 75"/>
                <a:gd name="T1" fmla="*/ 0 h 86"/>
                <a:gd name="T2" fmla="*/ 0 w 75"/>
                <a:gd name="T3" fmla="*/ 0 h 86"/>
                <a:gd name="T4" fmla="*/ 0 w 75"/>
                <a:gd name="T5" fmla="*/ 0 h 86"/>
                <a:gd name="T6" fmla="*/ 0 w 75"/>
                <a:gd name="T7" fmla="*/ 0 h 86"/>
                <a:gd name="T8" fmla="*/ 0 w 75"/>
                <a:gd name="T9" fmla="*/ 0 h 8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5"/>
                <a:gd name="T16" fmla="*/ 0 h 86"/>
                <a:gd name="T17" fmla="*/ 75 w 75"/>
                <a:gd name="T18" fmla="*/ 86 h 8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5" h="86">
                  <a:moveTo>
                    <a:pt x="37" y="0"/>
                  </a:moveTo>
                  <a:lnTo>
                    <a:pt x="74" y="42"/>
                  </a:lnTo>
                  <a:lnTo>
                    <a:pt x="37" y="85"/>
                  </a:lnTo>
                  <a:lnTo>
                    <a:pt x="0" y="42"/>
                  </a:lnTo>
                  <a:lnTo>
                    <a:pt x="37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694" name="Freeform 19"/>
            <p:cNvSpPr>
              <a:spLocks/>
            </p:cNvSpPr>
            <p:nvPr/>
          </p:nvSpPr>
          <p:spPr bwMode="auto">
            <a:xfrm>
              <a:off x="2413" y="1847"/>
              <a:ext cx="33" cy="30"/>
            </a:xfrm>
            <a:custGeom>
              <a:avLst/>
              <a:gdLst>
                <a:gd name="T0" fmla="*/ 0 w 75"/>
                <a:gd name="T1" fmla="*/ 0 h 84"/>
                <a:gd name="T2" fmla="*/ 0 w 75"/>
                <a:gd name="T3" fmla="*/ 0 h 84"/>
                <a:gd name="T4" fmla="*/ 0 w 75"/>
                <a:gd name="T5" fmla="*/ 0 h 84"/>
                <a:gd name="T6" fmla="*/ 0 w 75"/>
                <a:gd name="T7" fmla="*/ 0 h 84"/>
                <a:gd name="T8" fmla="*/ 0 w 75"/>
                <a:gd name="T9" fmla="*/ 0 h 8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5"/>
                <a:gd name="T16" fmla="*/ 0 h 84"/>
                <a:gd name="T17" fmla="*/ 75 w 75"/>
                <a:gd name="T18" fmla="*/ 84 h 8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5" h="84">
                  <a:moveTo>
                    <a:pt x="36" y="0"/>
                  </a:moveTo>
                  <a:lnTo>
                    <a:pt x="74" y="42"/>
                  </a:lnTo>
                  <a:lnTo>
                    <a:pt x="36" y="83"/>
                  </a:lnTo>
                  <a:lnTo>
                    <a:pt x="0" y="42"/>
                  </a:lnTo>
                  <a:lnTo>
                    <a:pt x="36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695" name="Freeform 20"/>
            <p:cNvSpPr>
              <a:spLocks/>
            </p:cNvSpPr>
            <p:nvPr/>
          </p:nvSpPr>
          <p:spPr bwMode="auto">
            <a:xfrm>
              <a:off x="2455" y="1873"/>
              <a:ext cx="34" cy="31"/>
            </a:xfrm>
            <a:custGeom>
              <a:avLst/>
              <a:gdLst>
                <a:gd name="T0" fmla="*/ 0 w 76"/>
                <a:gd name="T1" fmla="*/ 0 h 85"/>
                <a:gd name="T2" fmla="*/ 0 w 76"/>
                <a:gd name="T3" fmla="*/ 0 h 85"/>
                <a:gd name="T4" fmla="*/ 0 w 76"/>
                <a:gd name="T5" fmla="*/ 0 h 85"/>
                <a:gd name="T6" fmla="*/ 0 w 76"/>
                <a:gd name="T7" fmla="*/ 0 h 85"/>
                <a:gd name="T8" fmla="*/ 0 w 76"/>
                <a:gd name="T9" fmla="*/ 0 h 8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6"/>
                <a:gd name="T16" fmla="*/ 0 h 85"/>
                <a:gd name="T17" fmla="*/ 76 w 76"/>
                <a:gd name="T18" fmla="*/ 85 h 8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6" h="85">
                  <a:moveTo>
                    <a:pt x="37" y="0"/>
                  </a:moveTo>
                  <a:lnTo>
                    <a:pt x="75" y="41"/>
                  </a:lnTo>
                  <a:lnTo>
                    <a:pt x="37" y="84"/>
                  </a:lnTo>
                  <a:lnTo>
                    <a:pt x="0" y="41"/>
                  </a:lnTo>
                  <a:lnTo>
                    <a:pt x="37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696" name="Freeform 21"/>
            <p:cNvSpPr>
              <a:spLocks/>
            </p:cNvSpPr>
            <p:nvPr/>
          </p:nvSpPr>
          <p:spPr bwMode="auto">
            <a:xfrm>
              <a:off x="2287" y="1876"/>
              <a:ext cx="33" cy="31"/>
            </a:xfrm>
            <a:custGeom>
              <a:avLst/>
              <a:gdLst>
                <a:gd name="T0" fmla="*/ 0 w 76"/>
                <a:gd name="T1" fmla="*/ 0 h 85"/>
                <a:gd name="T2" fmla="*/ 0 w 76"/>
                <a:gd name="T3" fmla="*/ 0 h 85"/>
                <a:gd name="T4" fmla="*/ 0 w 76"/>
                <a:gd name="T5" fmla="*/ 0 h 85"/>
                <a:gd name="T6" fmla="*/ 0 w 76"/>
                <a:gd name="T7" fmla="*/ 0 h 85"/>
                <a:gd name="T8" fmla="*/ 0 w 76"/>
                <a:gd name="T9" fmla="*/ 0 h 8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6"/>
                <a:gd name="T16" fmla="*/ 0 h 85"/>
                <a:gd name="T17" fmla="*/ 76 w 76"/>
                <a:gd name="T18" fmla="*/ 85 h 8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6" h="85">
                  <a:moveTo>
                    <a:pt x="37" y="0"/>
                  </a:moveTo>
                  <a:lnTo>
                    <a:pt x="75" y="41"/>
                  </a:lnTo>
                  <a:lnTo>
                    <a:pt x="37" y="84"/>
                  </a:lnTo>
                  <a:lnTo>
                    <a:pt x="0" y="41"/>
                  </a:lnTo>
                  <a:lnTo>
                    <a:pt x="37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697" name="Freeform 22"/>
            <p:cNvSpPr>
              <a:spLocks/>
            </p:cNvSpPr>
            <p:nvPr/>
          </p:nvSpPr>
          <p:spPr bwMode="auto">
            <a:xfrm>
              <a:off x="2329" y="1908"/>
              <a:ext cx="34" cy="31"/>
            </a:xfrm>
            <a:custGeom>
              <a:avLst/>
              <a:gdLst>
                <a:gd name="T0" fmla="*/ 0 w 76"/>
                <a:gd name="T1" fmla="*/ 0 h 85"/>
                <a:gd name="T2" fmla="*/ 0 w 76"/>
                <a:gd name="T3" fmla="*/ 0 h 85"/>
                <a:gd name="T4" fmla="*/ 0 w 76"/>
                <a:gd name="T5" fmla="*/ 0 h 85"/>
                <a:gd name="T6" fmla="*/ 0 w 76"/>
                <a:gd name="T7" fmla="*/ 0 h 85"/>
                <a:gd name="T8" fmla="*/ 0 w 76"/>
                <a:gd name="T9" fmla="*/ 0 h 8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6"/>
                <a:gd name="T16" fmla="*/ 0 h 85"/>
                <a:gd name="T17" fmla="*/ 76 w 76"/>
                <a:gd name="T18" fmla="*/ 85 h 8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6" h="85">
                  <a:moveTo>
                    <a:pt x="37" y="0"/>
                  </a:moveTo>
                  <a:lnTo>
                    <a:pt x="75" y="42"/>
                  </a:lnTo>
                  <a:lnTo>
                    <a:pt x="37" y="84"/>
                  </a:lnTo>
                  <a:lnTo>
                    <a:pt x="0" y="42"/>
                  </a:lnTo>
                  <a:lnTo>
                    <a:pt x="37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698" name="Freeform 23"/>
            <p:cNvSpPr>
              <a:spLocks/>
            </p:cNvSpPr>
            <p:nvPr/>
          </p:nvSpPr>
          <p:spPr bwMode="auto">
            <a:xfrm>
              <a:off x="2370" y="1917"/>
              <a:ext cx="35" cy="30"/>
            </a:xfrm>
            <a:custGeom>
              <a:avLst/>
              <a:gdLst>
                <a:gd name="T0" fmla="*/ 0 w 77"/>
                <a:gd name="T1" fmla="*/ 0 h 84"/>
                <a:gd name="T2" fmla="*/ 0 w 77"/>
                <a:gd name="T3" fmla="*/ 0 h 84"/>
                <a:gd name="T4" fmla="*/ 0 w 77"/>
                <a:gd name="T5" fmla="*/ 0 h 84"/>
                <a:gd name="T6" fmla="*/ 0 w 77"/>
                <a:gd name="T7" fmla="*/ 0 h 84"/>
                <a:gd name="T8" fmla="*/ 0 w 77"/>
                <a:gd name="T9" fmla="*/ 0 h 8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7"/>
                <a:gd name="T16" fmla="*/ 0 h 84"/>
                <a:gd name="T17" fmla="*/ 77 w 77"/>
                <a:gd name="T18" fmla="*/ 84 h 8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7" h="84">
                  <a:moveTo>
                    <a:pt x="38" y="0"/>
                  </a:moveTo>
                  <a:lnTo>
                    <a:pt x="76" y="42"/>
                  </a:lnTo>
                  <a:lnTo>
                    <a:pt x="38" y="83"/>
                  </a:lnTo>
                  <a:lnTo>
                    <a:pt x="0" y="42"/>
                  </a:lnTo>
                  <a:lnTo>
                    <a:pt x="38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699" name="Freeform 24"/>
            <p:cNvSpPr>
              <a:spLocks/>
            </p:cNvSpPr>
            <p:nvPr/>
          </p:nvSpPr>
          <p:spPr bwMode="auto">
            <a:xfrm>
              <a:off x="2455" y="1924"/>
              <a:ext cx="34" cy="30"/>
            </a:xfrm>
            <a:custGeom>
              <a:avLst/>
              <a:gdLst>
                <a:gd name="T0" fmla="*/ 0 w 76"/>
                <a:gd name="T1" fmla="*/ 0 h 86"/>
                <a:gd name="T2" fmla="*/ 0 w 76"/>
                <a:gd name="T3" fmla="*/ 0 h 86"/>
                <a:gd name="T4" fmla="*/ 0 w 76"/>
                <a:gd name="T5" fmla="*/ 0 h 86"/>
                <a:gd name="T6" fmla="*/ 0 w 76"/>
                <a:gd name="T7" fmla="*/ 0 h 86"/>
                <a:gd name="T8" fmla="*/ 0 w 76"/>
                <a:gd name="T9" fmla="*/ 0 h 8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6"/>
                <a:gd name="T16" fmla="*/ 0 h 86"/>
                <a:gd name="T17" fmla="*/ 76 w 76"/>
                <a:gd name="T18" fmla="*/ 86 h 8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6" h="86">
                  <a:moveTo>
                    <a:pt x="37" y="0"/>
                  </a:moveTo>
                  <a:lnTo>
                    <a:pt x="75" y="42"/>
                  </a:lnTo>
                  <a:lnTo>
                    <a:pt x="37" y="85"/>
                  </a:lnTo>
                  <a:lnTo>
                    <a:pt x="0" y="42"/>
                  </a:lnTo>
                  <a:lnTo>
                    <a:pt x="37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00" name="Freeform 25"/>
            <p:cNvSpPr>
              <a:spLocks/>
            </p:cNvSpPr>
            <p:nvPr/>
          </p:nvSpPr>
          <p:spPr bwMode="auto">
            <a:xfrm>
              <a:off x="2540" y="1926"/>
              <a:ext cx="33" cy="30"/>
            </a:xfrm>
            <a:custGeom>
              <a:avLst/>
              <a:gdLst>
                <a:gd name="T0" fmla="*/ 0 w 76"/>
                <a:gd name="T1" fmla="*/ 0 h 84"/>
                <a:gd name="T2" fmla="*/ 0 w 76"/>
                <a:gd name="T3" fmla="*/ 0 h 84"/>
                <a:gd name="T4" fmla="*/ 0 w 76"/>
                <a:gd name="T5" fmla="*/ 0 h 84"/>
                <a:gd name="T6" fmla="*/ 0 w 76"/>
                <a:gd name="T7" fmla="*/ 0 h 84"/>
                <a:gd name="T8" fmla="*/ 0 w 76"/>
                <a:gd name="T9" fmla="*/ 0 h 8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6"/>
                <a:gd name="T16" fmla="*/ 0 h 84"/>
                <a:gd name="T17" fmla="*/ 76 w 76"/>
                <a:gd name="T18" fmla="*/ 84 h 8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6" h="84">
                  <a:moveTo>
                    <a:pt x="37" y="0"/>
                  </a:moveTo>
                  <a:lnTo>
                    <a:pt x="75" y="40"/>
                  </a:lnTo>
                  <a:lnTo>
                    <a:pt x="37" y="83"/>
                  </a:lnTo>
                  <a:lnTo>
                    <a:pt x="0" y="40"/>
                  </a:lnTo>
                  <a:lnTo>
                    <a:pt x="37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01" name="Freeform 26"/>
            <p:cNvSpPr>
              <a:spLocks/>
            </p:cNvSpPr>
            <p:nvPr/>
          </p:nvSpPr>
          <p:spPr bwMode="auto">
            <a:xfrm>
              <a:off x="2624" y="1929"/>
              <a:ext cx="33" cy="30"/>
            </a:xfrm>
            <a:custGeom>
              <a:avLst/>
              <a:gdLst>
                <a:gd name="T0" fmla="*/ 0 w 75"/>
                <a:gd name="T1" fmla="*/ 0 h 84"/>
                <a:gd name="T2" fmla="*/ 0 w 75"/>
                <a:gd name="T3" fmla="*/ 0 h 84"/>
                <a:gd name="T4" fmla="*/ 0 w 75"/>
                <a:gd name="T5" fmla="*/ 0 h 84"/>
                <a:gd name="T6" fmla="*/ 0 w 75"/>
                <a:gd name="T7" fmla="*/ 0 h 84"/>
                <a:gd name="T8" fmla="*/ 0 w 75"/>
                <a:gd name="T9" fmla="*/ 0 h 8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5"/>
                <a:gd name="T16" fmla="*/ 0 h 84"/>
                <a:gd name="T17" fmla="*/ 75 w 75"/>
                <a:gd name="T18" fmla="*/ 84 h 8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5" h="84">
                  <a:moveTo>
                    <a:pt x="37" y="0"/>
                  </a:moveTo>
                  <a:lnTo>
                    <a:pt x="74" y="40"/>
                  </a:lnTo>
                  <a:lnTo>
                    <a:pt x="37" y="83"/>
                  </a:lnTo>
                  <a:lnTo>
                    <a:pt x="0" y="40"/>
                  </a:lnTo>
                  <a:lnTo>
                    <a:pt x="37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02" name="Freeform 27"/>
            <p:cNvSpPr>
              <a:spLocks/>
            </p:cNvSpPr>
            <p:nvPr/>
          </p:nvSpPr>
          <p:spPr bwMode="auto">
            <a:xfrm>
              <a:off x="2708" y="1944"/>
              <a:ext cx="34" cy="31"/>
            </a:xfrm>
            <a:custGeom>
              <a:avLst/>
              <a:gdLst>
                <a:gd name="T0" fmla="*/ 0 w 77"/>
                <a:gd name="T1" fmla="*/ 0 h 86"/>
                <a:gd name="T2" fmla="*/ 0 w 77"/>
                <a:gd name="T3" fmla="*/ 0 h 86"/>
                <a:gd name="T4" fmla="*/ 0 w 77"/>
                <a:gd name="T5" fmla="*/ 0 h 86"/>
                <a:gd name="T6" fmla="*/ 0 w 77"/>
                <a:gd name="T7" fmla="*/ 0 h 86"/>
                <a:gd name="T8" fmla="*/ 0 w 77"/>
                <a:gd name="T9" fmla="*/ 0 h 8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7"/>
                <a:gd name="T16" fmla="*/ 0 h 86"/>
                <a:gd name="T17" fmla="*/ 77 w 77"/>
                <a:gd name="T18" fmla="*/ 86 h 8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7" h="86">
                  <a:moveTo>
                    <a:pt x="38" y="0"/>
                  </a:moveTo>
                  <a:lnTo>
                    <a:pt x="76" y="42"/>
                  </a:lnTo>
                  <a:lnTo>
                    <a:pt x="38" y="85"/>
                  </a:lnTo>
                  <a:lnTo>
                    <a:pt x="0" y="42"/>
                  </a:lnTo>
                  <a:lnTo>
                    <a:pt x="38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03" name="Freeform 28"/>
            <p:cNvSpPr>
              <a:spLocks/>
            </p:cNvSpPr>
            <p:nvPr/>
          </p:nvSpPr>
          <p:spPr bwMode="auto">
            <a:xfrm>
              <a:off x="2751" y="1949"/>
              <a:ext cx="33" cy="31"/>
            </a:xfrm>
            <a:custGeom>
              <a:avLst/>
              <a:gdLst>
                <a:gd name="T0" fmla="*/ 0 w 74"/>
                <a:gd name="T1" fmla="*/ 0 h 85"/>
                <a:gd name="T2" fmla="*/ 0 w 74"/>
                <a:gd name="T3" fmla="*/ 0 h 85"/>
                <a:gd name="T4" fmla="*/ 0 w 74"/>
                <a:gd name="T5" fmla="*/ 0 h 85"/>
                <a:gd name="T6" fmla="*/ 0 w 74"/>
                <a:gd name="T7" fmla="*/ 0 h 85"/>
                <a:gd name="T8" fmla="*/ 0 w 74"/>
                <a:gd name="T9" fmla="*/ 0 h 8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4"/>
                <a:gd name="T16" fmla="*/ 0 h 85"/>
                <a:gd name="T17" fmla="*/ 74 w 74"/>
                <a:gd name="T18" fmla="*/ 85 h 8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4" h="85">
                  <a:moveTo>
                    <a:pt x="37" y="0"/>
                  </a:moveTo>
                  <a:lnTo>
                    <a:pt x="73" y="41"/>
                  </a:lnTo>
                  <a:lnTo>
                    <a:pt x="37" y="84"/>
                  </a:lnTo>
                  <a:lnTo>
                    <a:pt x="0" y="41"/>
                  </a:lnTo>
                  <a:lnTo>
                    <a:pt x="37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04" name="Freeform 29"/>
            <p:cNvSpPr>
              <a:spLocks/>
            </p:cNvSpPr>
            <p:nvPr/>
          </p:nvSpPr>
          <p:spPr bwMode="auto">
            <a:xfrm>
              <a:off x="2160" y="1951"/>
              <a:ext cx="33" cy="30"/>
            </a:xfrm>
            <a:custGeom>
              <a:avLst/>
              <a:gdLst>
                <a:gd name="T0" fmla="*/ 0 w 75"/>
                <a:gd name="T1" fmla="*/ 0 h 84"/>
                <a:gd name="T2" fmla="*/ 0 w 75"/>
                <a:gd name="T3" fmla="*/ 0 h 84"/>
                <a:gd name="T4" fmla="*/ 0 w 75"/>
                <a:gd name="T5" fmla="*/ 0 h 84"/>
                <a:gd name="T6" fmla="*/ 0 w 75"/>
                <a:gd name="T7" fmla="*/ 0 h 84"/>
                <a:gd name="T8" fmla="*/ 0 w 75"/>
                <a:gd name="T9" fmla="*/ 0 h 8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5"/>
                <a:gd name="T16" fmla="*/ 0 h 84"/>
                <a:gd name="T17" fmla="*/ 75 w 75"/>
                <a:gd name="T18" fmla="*/ 84 h 8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5" h="84">
                  <a:moveTo>
                    <a:pt x="36" y="0"/>
                  </a:moveTo>
                  <a:lnTo>
                    <a:pt x="74" y="42"/>
                  </a:lnTo>
                  <a:lnTo>
                    <a:pt x="36" y="83"/>
                  </a:lnTo>
                  <a:lnTo>
                    <a:pt x="0" y="42"/>
                  </a:lnTo>
                  <a:lnTo>
                    <a:pt x="36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05" name="Freeform 30"/>
            <p:cNvSpPr>
              <a:spLocks/>
            </p:cNvSpPr>
            <p:nvPr/>
          </p:nvSpPr>
          <p:spPr bwMode="auto">
            <a:xfrm>
              <a:off x="2244" y="1952"/>
              <a:ext cx="34" cy="31"/>
            </a:xfrm>
            <a:custGeom>
              <a:avLst/>
              <a:gdLst>
                <a:gd name="T0" fmla="*/ 0 w 76"/>
                <a:gd name="T1" fmla="*/ 0 h 85"/>
                <a:gd name="T2" fmla="*/ 0 w 76"/>
                <a:gd name="T3" fmla="*/ 0 h 85"/>
                <a:gd name="T4" fmla="*/ 0 w 76"/>
                <a:gd name="T5" fmla="*/ 0 h 85"/>
                <a:gd name="T6" fmla="*/ 0 w 76"/>
                <a:gd name="T7" fmla="*/ 0 h 85"/>
                <a:gd name="T8" fmla="*/ 0 w 76"/>
                <a:gd name="T9" fmla="*/ 0 h 8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6"/>
                <a:gd name="T16" fmla="*/ 0 h 85"/>
                <a:gd name="T17" fmla="*/ 76 w 76"/>
                <a:gd name="T18" fmla="*/ 85 h 8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6" h="85">
                  <a:moveTo>
                    <a:pt x="38" y="0"/>
                  </a:moveTo>
                  <a:lnTo>
                    <a:pt x="75" y="41"/>
                  </a:lnTo>
                  <a:lnTo>
                    <a:pt x="38" y="84"/>
                  </a:lnTo>
                  <a:lnTo>
                    <a:pt x="0" y="41"/>
                  </a:lnTo>
                  <a:lnTo>
                    <a:pt x="38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06" name="Freeform 31"/>
            <p:cNvSpPr>
              <a:spLocks/>
            </p:cNvSpPr>
            <p:nvPr/>
          </p:nvSpPr>
          <p:spPr bwMode="auto">
            <a:xfrm>
              <a:off x="2329" y="1957"/>
              <a:ext cx="34" cy="30"/>
            </a:xfrm>
            <a:custGeom>
              <a:avLst/>
              <a:gdLst>
                <a:gd name="T0" fmla="*/ 0 w 76"/>
                <a:gd name="T1" fmla="*/ 0 h 84"/>
                <a:gd name="T2" fmla="*/ 0 w 76"/>
                <a:gd name="T3" fmla="*/ 0 h 84"/>
                <a:gd name="T4" fmla="*/ 0 w 76"/>
                <a:gd name="T5" fmla="*/ 0 h 84"/>
                <a:gd name="T6" fmla="*/ 0 w 76"/>
                <a:gd name="T7" fmla="*/ 0 h 84"/>
                <a:gd name="T8" fmla="*/ 0 w 76"/>
                <a:gd name="T9" fmla="*/ 0 h 8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6"/>
                <a:gd name="T16" fmla="*/ 0 h 84"/>
                <a:gd name="T17" fmla="*/ 76 w 76"/>
                <a:gd name="T18" fmla="*/ 84 h 8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6" h="84">
                  <a:moveTo>
                    <a:pt x="37" y="0"/>
                  </a:moveTo>
                  <a:lnTo>
                    <a:pt x="75" y="42"/>
                  </a:lnTo>
                  <a:lnTo>
                    <a:pt x="37" y="83"/>
                  </a:lnTo>
                  <a:lnTo>
                    <a:pt x="0" y="42"/>
                  </a:lnTo>
                  <a:lnTo>
                    <a:pt x="37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07" name="Freeform 32"/>
            <p:cNvSpPr>
              <a:spLocks/>
            </p:cNvSpPr>
            <p:nvPr/>
          </p:nvSpPr>
          <p:spPr bwMode="auto">
            <a:xfrm>
              <a:off x="2413" y="1957"/>
              <a:ext cx="33" cy="30"/>
            </a:xfrm>
            <a:custGeom>
              <a:avLst/>
              <a:gdLst>
                <a:gd name="T0" fmla="*/ 0 w 75"/>
                <a:gd name="T1" fmla="*/ 0 h 84"/>
                <a:gd name="T2" fmla="*/ 0 w 75"/>
                <a:gd name="T3" fmla="*/ 0 h 84"/>
                <a:gd name="T4" fmla="*/ 0 w 75"/>
                <a:gd name="T5" fmla="*/ 0 h 84"/>
                <a:gd name="T6" fmla="*/ 0 w 75"/>
                <a:gd name="T7" fmla="*/ 0 h 84"/>
                <a:gd name="T8" fmla="*/ 0 w 75"/>
                <a:gd name="T9" fmla="*/ 0 h 8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5"/>
                <a:gd name="T16" fmla="*/ 0 h 84"/>
                <a:gd name="T17" fmla="*/ 75 w 75"/>
                <a:gd name="T18" fmla="*/ 84 h 8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5" h="84">
                  <a:moveTo>
                    <a:pt x="36" y="0"/>
                  </a:moveTo>
                  <a:lnTo>
                    <a:pt x="74" y="42"/>
                  </a:lnTo>
                  <a:lnTo>
                    <a:pt x="36" y="83"/>
                  </a:lnTo>
                  <a:lnTo>
                    <a:pt x="0" y="42"/>
                  </a:lnTo>
                  <a:lnTo>
                    <a:pt x="36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08" name="Freeform 33"/>
            <p:cNvSpPr>
              <a:spLocks/>
            </p:cNvSpPr>
            <p:nvPr/>
          </p:nvSpPr>
          <p:spPr bwMode="auto">
            <a:xfrm>
              <a:off x="2498" y="1958"/>
              <a:ext cx="33" cy="30"/>
            </a:xfrm>
            <a:custGeom>
              <a:avLst/>
              <a:gdLst>
                <a:gd name="T0" fmla="*/ 0 w 75"/>
                <a:gd name="T1" fmla="*/ 0 h 85"/>
                <a:gd name="T2" fmla="*/ 0 w 75"/>
                <a:gd name="T3" fmla="*/ 0 h 85"/>
                <a:gd name="T4" fmla="*/ 0 w 75"/>
                <a:gd name="T5" fmla="*/ 0 h 85"/>
                <a:gd name="T6" fmla="*/ 0 w 75"/>
                <a:gd name="T7" fmla="*/ 0 h 85"/>
                <a:gd name="T8" fmla="*/ 0 w 75"/>
                <a:gd name="T9" fmla="*/ 0 h 8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5"/>
                <a:gd name="T16" fmla="*/ 0 h 85"/>
                <a:gd name="T17" fmla="*/ 75 w 75"/>
                <a:gd name="T18" fmla="*/ 85 h 8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5" h="85">
                  <a:moveTo>
                    <a:pt x="37" y="0"/>
                  </a:moveTo>
                  <a:lnTo>
                    <a:pt x="74" y="41"/>
                  </a:lnTo>
                  <a:lnTo>
                    <a:pt x="37" y="84"/>
                  </a:lnTo>
                  <a:lnTo>
                    <a:pt x="0" y="41"/>
                  </a:lnTo>
                  <a:lnTo>
                    <a:pt x="37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09" name="Freeform 34"/>
            <p:cNvSpPr>
              <a:spLocks/>
            </p:cNvSpPr>
            <p:nvPr/>
          </p:nvSpPr>
          <p:spPr bwMode="auto">
            <a:xfrm>
              <a:off x="2581" y="1958"/>
              <a:ext cx="33" cy="31"/>
            </a:xfrm>
            <a:custGeom>
              <a:avLst/>
              <a:gdLst>
                <a:gd name="T0" fmla="*/ 0 w 75"/>
                <a:gd name="T1" fmla="*/ 0 h 86"/>
                <a:gd name="T2" fmla="*/ 0 w 75"/>
                <a:gd name="T3" fmla="*/ 0 h 86"/>
                <a:gd name="T4" fmla="*/ 0 w 75"/>
                <a:gd name="T5" fmla="*/ 0 h 86"/>
                <a:gd name="T6" fmla="*/ 0 w 75"/>
                <a:gd name="T7" fmla="*/ 0 h 86"/>
                <a:gd name="T8" fmla="*/ 0 w 75"/>
                <a:gd name="T9" fmla="*/ 0 h 8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5"/>
                <a:gd name="T16" fmla="*/ 0 h 86"/>
                <a:gd name="T17" fmla="*/ 75 w 75"/>
                <a:gd name="T18" fmla="*/ 86 h 8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5" h="86">
                  <a:moveTo>
                    <a:pt x="37" y="0"/>
                  </a:moveTo>
                  <a:lnTo>
                    <a:pt x="74" y="42"/>
                  </a:lnTo>
                  <a:lnTo>
                    <a:pt x="37" y="85"/>
                  </a:lnTo>
                  <a:lnTo>
                    <a:pt x="0" y="42"/>
                  </a:lnTo>
                  <a:lnTo>
                    <a:pt x="37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10" name="Freeform 35"/>
            <p:cNvSpPr>
              <a:spLocks/>
            </p:cNvSpPr>
            <p:nvPr/>
          </p:nvSpPr>
          <p:spPr bwMode="auto">
            <a:xfrm>
              <a:off x="2667" y="1963"/>
              <a:ext cx="32" cy="31"/>
            </a:xfrm>
            <a:custGeom>
              <a:avLst/>
              <a:gdLst>
                <a:gd name="T0" fmla="*/ 0 w 72"/>
                <a:gd name="T1" fmla="*/ 0 h 85"/>
                <a:gd name="T2" fmla="*/ 0 w 72"/>
                <a:gd name="T3" fmla="*/ 0 h 85"/>
                <a:gd name="T4" fmla="*/ 0 w 72"/>
                <a:gd name="T5" fmla="*/ 0 h 85"/>
                <a:gd name="T6" fmla="*/ 0 w 72"/>
                <a:gd name="T7" fmla="*/ 0 h 85"/>
                <a:gd name="T8" fmla="*/ 0 w 72"/>
                <a:gd name="T9" fmla="*/ 0 h 8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2"/>
                <a:gd name="T16" fmla="*/ 0 h 85"/>
                <a:gd name="T17" fmla="*/ 72 w 72"/>
                <a:gd name="T18" fmla="*/ 85 h 8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2" h="85">
                  <a:moveTo>
                    <a:pt x="35" y="0"/>
                  </a:moveTo>
                  <a:lnTo>
                    <a:pt x="71" y="41"/>
                  </a:lnTo>
                  <a:lnTo>
                    <a:pt x="35" y="84"/>
                  </a:lnTo>
                  <a:lnTo>
                    <a:pt x="0" y="41"/>
                  </a:lnTo>
                  <a:lnTo>
                    <a:pt x="35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11" name="Freeform 36"/>
            <p:cNvSpPr>
              <a:spLocks/>
            </p:cNvSpPr>
            <p:nvPr/>
          </p:nvSpPr>
          <p:spPr bwMode="auto">
            <a:xfrm>
              <a:off x="2202" y="1970"/>
              <a:ext cx="34" cy="30"/>
            </a:xfrm>
            <a:custGeom>
              <a:avLst/>
              <a:gdLst>
                <a:gd name="T0" fmla="*/ 0 w 76"/>
                <a:gd name="T1" fmla="*/ 0 h 86"/>
                <a:gd name="T2" fmla="*/ 0 w 76"/>
                <a:gd name="T3" fmla="*/ 0 h 86"/>
                <a:gd name="T4" fmla="*/ 0 w 76"/>
                <a:gd name="T5" fmla="*/ 0 h 86"/>
                <a:gd name="T6" fmla="*/ 0 w 76"/>
                <a:gd name="T7" fmla="*/ 0 h 86"/>
                <a:gd name="T8" fmla="*/ 0 w 76"/>
                <a:gd name="T9" fmla="*/ 0 h 8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6"/>
                <a:gd name="T16" fmla="*/ 0 h 86"/>
                <a:gd name="T17" fmla="*/ 76 w 76"/>
                <a:gd name="T18" fmla="*/ 86 h 8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6" h="86">
                  <a:moveTo>
                    <a:pt x="37" y="0"/>
                  </a:moveTo>
                  <a:lnTo>
                    <a:pt x="75" y="42"/>
                  </a:lnTo>
                  <a:lnTo>
                    <a:pt x="37" y="85"/>
                  </a:lnTo>
                  <a:lnTo>
                    <a:pt x="0" y="42"/>
                  </a:lnTo>
                  <a:lnTo>
                    <a:pt x="37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12" name="Freeform 37"/>
            <p:cNvSpPr>
              <a:spLocks/>
            </p:cNvSpPr>
            <p:nvPr/>
          </p:nvSpPr>
          <p:spPr bwMode="auto">
            <a:xfrm>
              <a:off x="2287" y="1973"/>
              <a:ext cx="33" cy="31"/>
            </a:xfrm>
            <a:custGeom>
              <a:avLst/>
              <a:gdLst>
                <a:gd name="T0" fmla="*/ 0 w 76"/>
                <a:gd name="T1" fmla="*/ 0 h 86"/>
                <a:gd name="T2" fmla="*/ 0 w 76"/>
                <a:gd name="T3" fmla="*/ 0 h 86"/>
                <a:gd name="T4" fmla="*/ 0 w 76"/>
                <a:gd name="T5" fmla="*/ 0 h 86"/>
                <a:gd name="T6" fmla="*/ 0 w 76"/>
                <a:gd name="T7" fmla="*/ 0 h 86"/>
                <a:gd name="T8" fmla="*/ 0 w 76"/>
                <a:gd name="T9" fmla="*/ 0 h 8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6"/>
                <a:gd name="T16" fmla="*/ 0 h 86"/>
                <a:gd name="T17" fmla="*/ 76 w 76"/>
                <a:gd name="T18" fmla="*/ 86 h 8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6" h="86">
                  <a:moveTo>
                    <a:pt x="37" y="0"/>
                  </a:moveTo>
                  <a:lnTo>
                    <a:pt x="75" y="42"/>
                  </a:lnTo>
                  <a:lnTo>
                    <a:pt x="37" y="85"/>
                  </a:lnTo>
                  <a:lnTo>
                    <a:pt x="0" y="42"/>
                  </a:lnTo>
                  <a:lnTo>
                    <a:pt x="37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13" name="Freeform 38"/>
            <p:cNvSpPr>
              <a:spLocks/>
            </p:cNvSpPr>
            <p:nvPr/>
          </p:nvSpPr>
          <p:spPr bwMode="auto">
            <a:xfrm>
              <a:off x="2370" y="1988"/>
              <a:ext cx="35" cy="30"/>
            </a:xfrm>
            <a:custGeom>
              <a:avLst/>
              <a:gdLst>
                <a:gd name="T0" fmla="*/ 0 w 77"/>
                <a:gd name="T1" fmla="*/ 0 h 85"/>
                <a:gd name="T2" fmla="*/ 0 w 77"/>
                <a:gd name="T3" fmla="*/ 0 h 85"/>
                <a:gd name="T4" fmla="*/ 0 w 77"/>
                <a:gd name="T5" fmla="*/ 0 h 85"/>
                <a:gd name="T6" fmla="*/ 0 w 77"/>
                <a:gd name="T7" fmla="*/ 0 h 85"/>
                <a:gd name="T8" fmla="*/ 0 w 77"/>
                <a:gd name="T9" fmla="*/ 0 h 8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7"/>
                <a:gd name="T16" fmla="*/ 0 h 85"/>
                <a:gd name="T17" fmla="*/ 77 w 77"/>
                <a:gd name="T18" fmla="*/ 85 h 8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7" h="85">
                  <a:moveTo>
                    <a:pt x="38" y="0"/>
                  </a:moveTo>
                  <a:lnTo>
                    <a:pt x="76" y="42"/>
                  </a:lnTo>
                  <a:lnTo>
                    <a:pt x="38" y="84"/>
                  </a:lnTo>
                  <a:lnTo>
                    <a:pt x="0" y="42"/>
                  </a:lnTo>
                  <a:lnTo>
                    <a:pt x="38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14" name="Freeform 39"/>
            <p:cNvSpPr>
              <a:spLocks/>
            </p:cNvSpPr>
            <p:nvPr/>
          </p:nvSpPr>
          <p:spPr bwMode="auto">
            <a:xfrm>
              <a:off x="2455" y="1993"/>
              <a:ext cx="34" cy="30"/>
            </a:xfrm>
            <a:custGeom>
              <a:avLst/>
              <a:gdLst>
                <a:gd name="T0" fmla="*/ 0 w 76"/>
                <a:gd name="T1" fmla="*/ 0 h 86"/>
                <a:gd name="T2" fmla="*/ 0 w 76"/>
                <a:gd name="T3" fmla="*/ 0 h 86"/>
                <a:gd name="T4" fmla="*/ 0 w 76"/>
                <a:gd name="T5" fmla="*/ 0 h 86"/>
                <a:gd name="T6" fmla="*/ 0 w 76"/>
                <a:gd name="T7" fmla="*/ 0 h 86"/>
                <a:gd name="T8" fmla="*/ 0 w 76"/>
                <a:gd name="T9" fmla="*/ 0 h 8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6"/>
                <a:gd name="T16" fmla="*/ 0 h 86"/>
                <a:gd name="T17" fmla="*/ 76 w 76"/>
                <a:gd name="T18" fmla="*/ 86 h 8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6" h="86">
                  <a:moveTo>
                    <a:pt x="37" y="0"/>
                  </a:moveTo>
                  <a:lnTo>
                    <a:pt x="75" y="42"/>
                  </a:lnTo>
                  <a:lnTo>
                    <a:pt x="37" y="85"/>
                  </a:lnTo>
                  <a:lnTo>
                    <a:pt x="0" y="42"/>
                  </a:lnTo>
                  <a:lnTo>
                    <a:pt x="37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15" name="Freeform 40"/>
            <p:cNvSpPr>
              <a:spLocks/>
            </p:cNvSpPr>
            <p:nvPr/>
          </p:nvSpPr>
          <p:spPr bwMode="auto">
            <a:xfrm>
              <a:off x="2540" y="1995"/>
              <a:ext cx="33" cy="31"/>
            </a:xfrm>
            <a:custGeom>
              <a:avLst/>
              <a:gdLst>
                <a:gd name="T0" fmla="*/ 0 w 76"/>
                <a:gd name="T1" fmla="*/ 0 h 85"/>
                <a:gd name="T2" fmla="*/ 0 w 76"/>
                <a:gd name="T3" fmla="*/ 0 h 85"/>
                <a:gd name="T4" fmla="*/ 0 w 76"/>
                <a:gd name="T5" fmla="*/ 0 h 85"/>
                <a:gd name="T6" fmla="*/ 0 w 76"/>
                <a:gd name="T7" fmla="*/ 0 h 85"/>
                <a:gd name="T8" fmla="*/ 0 w 76"/>
                <a:gd name="T9" fmla="*/ 0 h 8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6"/>
                <a:gd name="T16" fmla="*/ 0 h 85"/>
                <a:gd name="T17" fmla="*/ 76 w 76"/>
                <a:gd name="T18" fmla="*/ 85 h 8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6" h="85">
                  <a:moveTo>
                    <a:pt x="37" y="0"/>
                  </a:moveTo>
                  <a:lnTo>
                    <a:pt x="75" y="42"/>
                  </a:lnTo>
                  <a:lnTo>
                    <a:pt x="37" y="84"/>
                  </a:lnTo>
                  <a:lnTo>
                    <a:pt x="0" y="42"/>
                  </a:lnTo>
                  <a:lnTo>
                    <a:pt x="37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16" name="Freeform 41"/>
            <p:cNvSpPr>
              <a:spLocks/>
            </p:cNvSpPr>
            <p:nvPr/>
          </p:nvSpPr>
          <p:spPr bwMode="auto">
            <a:xfrm>
              <a:off x="2624" y="2008"/>
              <a:ext cx="33" cy="31"/>
            </a:xfrm>
            <a:custGeom>
              <a:avLst/>
              <a:gdLst>
                <a:gd name="T0" fmla="*/ 0 w 75"/>
                <a:gd name="T1" fmla="*/ 0 h 85"/>
                <a:gd name="T2" fmla="*/ 0 w 75"/>
                <a:gd name="T3" fmla="*/ 0 h 85"/>
                <a:gd name="T4" fmla="*/ 0 w 75"/>
                <a:gd name="T5" fmla="*/ 0 h 85"/>
                <a:gd name="T6" fmla="*/ 0 w 75"/>
                <a:gd name="T7" fmla="*/ 0 h 85"/>
                <a:gd name="T8" fmla="*/ 0 w 75"/>
                <a:gd name="T9" fmla="*/ 0 h 8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5"/>
                <a:gd name="T16" fmla="*/ 0 h 85"/>
                <a:gd name="T17" fmla="*/ 75 w 75"/>
                <a:gd name="T18" fmla="*/ 85 h 8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5" h="85">
                  <a:moveTo>
                    <a:pt x="37" y="0"/>
                  </a:moveTo>
                  <a:lnTo>
                    <a:pt x="74" y="42"/>
                  </a:lnTo>
                  <a:lnTo>
                    <a:pt x="37" y="84"/>
                  </a:lnTo>
                  <a:lnTo>
                    <a:pt x="0" y="42"/>
                  </a:lnTo>
                  <a:lnTo>
                    <a:pt x="37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17" name="Freeform 42"/>
            <p:cNvSpPr>
              <a:spLocks/>
            </p:cNvSpPr>
            <p:nvPr/>
          </p:nvSpPr>
          <p:spPr bwMode="auto">
            <a:xfrm>
              <a:off x="2244" y="2008"/>
              <a:ext cx="34" cy="31"/>
            </a:xfrm>
            <a:custGeom>
              <a:avLst/>
              <a:gdLst>
                <a:gd name="T0" fmla="*/ 0 w 76"/>
                <a:gd name="T1" fmla="*/ 0 h 85"/>
                <a:gd name="T2" fmla="*/ 0 w 76"/>
                <a:gd name="T3" fmla="*/ 0 h 85"/>
                <a:gd name="T4" fmla="*/ 0 w 76"/>
                <a:gd name="T5" fmla="*/ 0 h 85"/>
                <a:gd name="T6" fmla="*/ 0 w 76"/>
                <a:gd name="T7" fmla="*/ 0 h 85"/>
                <a:gd name="T8" fmla="*/ 0 w 76"/>
                <a:gd name="T9" fmla="*/ 0 h 8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6"/>
                <a:gd name="T16" fmla="*/ 0 h 85"/>
                <a:gd name="T17" fmla="*/ 76 w 76"/>
                <a:gd name="T18" fmla="*/ 85 h 8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6" h="85">
                  <a:moveTo>
                    <a:pt x="38" y="0"/>
                  </a:moveTo>
                  <a:lnTo>
                    <a:pt x="75" y="42"/>
                  </a:lnTo>
                  <a:lnTo>
                    <a:pt x="38" y="84"/>
                  </a:lnTo>
                  <a:lnTo>
                    <a:pt x="0" y="42"/>
                  </a:lnTo>
                  <a:lnTo>
                    <a:pt x="38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18" name="Freeform 43"/>
            <p:cNvSpPr>
              <a:spLocks/>
            </p:cNvSpPr>
            <p:nvPr/>
          </p:nvSpPr>
          <p:spPr bwMode="auto">
            <a:xfrm>
              <a:off x="2329" y="2022"/>
              <a:ext cx="34" cy="31"/>
            </a:xfrm>
            <a:custGeom>
              <a:avLst/>
              <a:gdLst>
                <a:gd name="T0" fmla="*/ 0 w 76"/>
                <a:gd name="T1" fmla="*/ 0 h 85"/>
                <a:gd name="T2" fmla="*/ 0 w 76"/>
                <a:gd name="T3" fmla="*/ 0 h 85"/>
                <a:gd name="T4" fmla="*/ 0 w 76"/>
                <a:gd name="T5" fmla="*/ 0 h 85"/>
                <a:gd name="T6" fmla="*/ 0 w 76"/>
                <a:gd name="T7" fmla="*/ 0 h 85"/>
                <a:gd name="T8" fmla="*/ 0 w 76"/>
                <a:gd name="T9" fmla="*/ 0 h 8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6"/>
                <a:gd name="T16" fmla="*/ 0 h 85"/>
                <a:gd name="T17" fmla="*/ 76 w 76"/>
                <a:gd name="T18" fmla="*/ 85 h 8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6" h="85">
                  <a:moveTo>
                    <a:pt x="37" y="0"/>
                  </a:moveTo>
                  <a:lnTo>
                    <a:pt x="75" y="42"/>
                  </a:lnTo>
                  <a:lnTo>
                    <a:pt x="37" y="84"/>
                  </a:lnTo>
                  <a:lnTo>
                    <a:pt x="0" y="42"/>
                  </a:lnTo>
                  <a:lnTo>
                    <a:pt x="37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19" name="Freeform 44"/>
            <p:cNvSpPr>
              <a:spLocks/>
            </p:cNvSpPr>
            <p:nvPr/>
          </p:nvSpPr>
          <p:spPr bwMode="auto">
            <a:xfrm>
              <a:off x="2413" y="2024"/>
              <a:ext cx="33" cy="30"/>
            </a:xfrm>
            <a:custGeom>
              <a:avLst/>
              <a:gdLst>
                <a:gd name="T0" fmla="*/ 0 w 75"/>
                <a:gd name="T1" fmla="*/ 0 h 85"/>
                <a:gd name="T2" fmla="*/ 0 w 75"/>
                <a:gd name="T3" fmla="*/ 0 h 85"/>
                <a:gd name="T4" fmla="*/ 0 w 75"/>
                <a:gd name="T5" fmla="*/ 0 h 85"/>
                <a:gd name="T6" fmla="*/ 0 w 75"/>
                <a:gd name="T7" fmla="*/ 0 h 85"/>
                <a:gd name="T8" fmla="*/ 0 w 75"/>
                <a:gd name="T9" fmla="*/ 0 h 8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5"/>
                <a:gd name="T16" fmla="*/ 0 h 85"/>
                <a:gd name="T17" fmla="*/ 75 w 75"/>
                <a:gd name="T18" fmla="*/ 85 h 8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5" h="85">
                  <a:moveTo>
                    <a:pt x="36" y="0"/>
                  </a:moveTo>
                  <a:lnTo>
                    <a:pt x="74" y="42"/>
                  </a:lnTo>
                  <a:lnTo>
                    <a:pt x="36" y="84"/>
                  </a:lnTo>
                  <a:lnTo>
                    <a:pt x="0" y="42"/>
                  </a:lnTo>
                  <a:lnTo>
                    <a:pt x="36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20" name="Freeform 45"/>
            <p:cNvSpPr>
              <a:spLocks/>
            </p:cNvSpPr>
            <p:nvPr/>
          </p:nvSpPr>
          <p:spPr bwMode="auto">
            <a:xfrm>
              <a:off x="2498" y="2041"/>
              <a:ext cx="33" cy="31"/>
            </a:xfrm>
            <a:custGeom>
              <a:avLst/>
              <a:gdLst>
                <a:gd name="T0" fmla="*/ 0 w 75"/>
                <a:gd name="T1" fmla="*/ 0 h 85"/>
                <a:gd name="T2" fmla="*/ 0 w 75"/>
                <a:gd name="T3" fmla="*/ 0 h 85"/>
                <a:gd name="T4" fmla="*/ 0 w 75"/>
                <a:gd name="T5" fmla="*/ 0 h 85"/>
                <a:gd name="T6" fmla="*/ 0 w 75"/>
                <a:gd name="T7" fmla="*/ 0 h 85"/>
                <a:gd name="T8" fmla="*/ 0 w 75"/>
                <a:gd name="T9" fmla="*/ 0 h 8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5"/>
                <a:gd name="T16" fmla="*/ 0 h 85"/>
                <a:gd name="T17" fmla="*/ 75 w 75"/>
                <a:gd name="T18" fmla="*/ 85 h 8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5" h="85">
                  <a:moveTo>
                    <a:pt x="37" y="0"/>
                  </a:moveTo>
                  <a:lnTo>
                    <a:pt x="74" y="42"/>
                  </a:lnTo>
                  <a:lnTo>
                    <a:pt x="37" y="84"/>
                  </a:lnTo>
                  <a:lnTo>
                    <a:pt x="0" y="42"/>
                  </a:lnTo>
                  <a:lnTo>
                    <a:pt x="37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21" name="Freeform 46"/>
            <p:cNvSpPr>
              <a:spLocks/>
            </p:cNvSpPr>
            <p:nvPr/>
          </p:nvSpPr>
          <p:spPr bwMode="auto">
            <a:xfrm>
              <a:off x="2455" y="2064"/>
              <a:ext cx="34" cy="31"/>
            </a:xfrm>
            <a:custGeom>
              <a:avLst/>
              <a:gdLst>
                <a:gd name="T0" fmla="*/ 0 w 76"/>
                <a:gd name="T1" fmla="*/ 0 h 85"/>
                <a:gd name="T2" fmla="*/ 0 w 76"/>
                <a:gd name="T3" fmla="*/ 0 h 85"/>
                <a:gd name="T4" fmla="*/ 0 w 76"/>
                <a:gd name="T5" fmla="*/ 0 h 85"/>
                <a:gd name="T6" fmla="*/ 0 w 76"/>
                <a:gd name="T7" fmla="*/ 0 h 85"/>
                <a:gd name="T8" fmla="*/ 0 w 76"/>
                <a:gd name="T9" fmla="*/ 0 h 8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6"/>
                <a:gd name="T16" fmla="*/ 0 h 85"/>
                <a:gd name="T17" fmla="*/ 76 w 76"/>
                <a:gd name="T18" fmla="*/ 85 h 8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6" h="85">
                  <a:moveTo>
                    <a:pt x="37" y="0"/>
                  </a:moveTo>
                  <a:lnTo>
                    <a:pt x="75" y="42"/>
                  </a:lnTo>
                  <a:lnTo>
                    <a:pt x="37" y="84"/>
                  </a:lnTo>
                  <a:lnTo>
                    <a:pt x="0" y="42"/>
                  </a:lnTo>
                  <a:lnTo>
                    <a:pt x="37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22" name="Freeform 47"/>
            <p:cNvSpPr>
              <a:spLocks/>
            </p:cNvSpPr>
            <p:nvPr/>
          </p:nvSpPr>
          <p:spPr bwMode="auto">
            <a:xfrm>
              <a:off x="2413" y="2129"/>
              <a:ext cx="33" cy="30"/>
            </a:xfrm>
            <a:custGeom>
              <a:avLst/>
              <a:gdLst>
                <a:gd name="T0" fmla="*/ 0 w 75"/>
                <a:gd name="T1" fmla="*/ 0 h 85"/>
                <a:gd name="T2" fmla="*/ 0 w 75"/>
                <a:gd name="T3" fmla="*/ 0 h 85"/>
                <a:gd name="T4" fmla="*/ 0 w 75"/>
                <a:gd name="T5" fmla="*/ 0 h 85"/>
                <a:gd name="T6" fmla="*/ 0 w 75"/>
                <a:gd name="T7" fmla="*/ 0 h 85"/>
                <a:gd name="T8" fmla="*/ 0 w 75"/>
                <a:gd name="T9" fmla="*/ 0 h 8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5"/>
                <a:gd name="T16" fmla="*/ 0 h 85"/>
                <a:gd name="T17" fmla="*/ 75 w 75"/>
                <a:gd name="T18" fmla="*/ 85 h 8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5" h="85">
                  <a:moveTo>
                    <a:pt x="36" y="0"/>
                  </a:moveTo>
                  <a:lnTo>
                    <a:pt x="74" y="42"/>
                  </a:lnTo>
                  <a:lnTo>
                    <a:pt x="36" y="84"/>
                  </a:lnTo>
                  <a:lnTo>
                    <a:pt x="0" y="42"/>
                  </a:lnTo>
                  <a:lnTo>
                    <a:pt x="36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23" name="Freeform 48"/>
            <p:cNvSpPr>
              <a:spLocks/>
            </p:cNvSpPr>
            <p:nvPr/>
          </p:nvSpPr>
          <p:spPr bwMode="auto">
            <a:xfrm>
              <a:off x="2498" y="2125"/>
              <a:ext cx="33" cy="30"/>
            </a:xfrm>
            <a:custGeom>
              <a:avLst/>
              <a:gdLst>
                <a:gd name="T0" fmla="*/ 0 w 75"/>
                <a:gd name="T1" fmla="*/ 0 h 84"/>
                <a:gd name="T2" fmla="*/ 0 w 75"/>
                <a:gd name="T3" fmla="*/ 0 h 84"/>
                <a:gd name="T4" fmla="*/ 0 w 75"/>
                <a:gd name="T5" fmla="*/ 0 h 84"/>
                <a:gd name="T6" fmla="*/ 0 w 75"/>
                <a:gd name="T7" fmla="*/ 0 h 84"/>
                <a:gd name="T8" fmla="*/ 0 w 75"/>
                <a:gd name="T9" fmla="*/ 0 h 8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5"/>
                <a:gd name="T16" fmla="*/ 0 h 84"/>
                <a:gd name="T17" fmla="*/ 75 w 75"/>
                <a:gd name="T18" fmla="*/ 84 h 8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5" h="84">
                  <a:moveTo>
                    <a:pt x="37" y="0"/>
                  </a:moveTo>
                  <a:lnTo>
                    <a:pt x="74" y="40"/>
                  </a:lnTo>
                  <a:lnTo>
                    <a:pt x="37" y="83"/>
                  </a:lnTo>
                  <a:lnTo>
                    <a:pt x="0" y="40"/>
                  </a:lnTo>
                  <a:lnTo>
                    <a:pt x="37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24" name="Freeform 49"/>
            <p:cNvSpPr>
              <a:spLocks/>
            </p:cNvSpPr>
            <p:nvPr/>
          </p:nvSpPr>
          <p:spPr bwMode="auto">
            <a:xfrm>
              <a:off x="3299" y="1137"/>
              <a:ext cx="34" cy="31"/>
            </a:xfrm>
            <a:custGeom>
              <a:avLst/>
              <a:gdLst>
                <a:gd name="T0" fmla="*/ 0 w 76"/>
                <a:gd name="T1" fmla="*/ 0 h 85"/>
                <a:gd name="T2" fmla="*/ 0 w 76"/>
                <a:gd name="T3" fmla="*/ 0 h 85"/>
                <a:gd name="T4" fmla="*/ 0 w 76"/>
                <a:gd name="T5" fmla="*/ 0 h 85"/>
                <a:gd name="T6" fmla="*/ 0 w 76"/>
                <a:gd name="T7" fmla="*/ 0 h 85"/>
                <a:gd name="T8" fmla="*/ 0 w 76"/>
                <a:gd name="T9" fmla="*/ 0 h 8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6"/>
                <a:gd name="T16" fmla="*/ 0 h 85"/>
                <a:gd name="T17" fmla="*/ 76 w 76"/>
                <a:gd name="T18" fmla="*/ 85 h 8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6" h="85">
                  <a:moveTo>
                    <a:pt x="36" y="0"/>
                  </a:moveTo>
                  <a:lnTo>
                    <a:pt x="75" y="42"/>
                  </a:lnTo>
                  <a:lnTo>
                    <a:pt x="36" y="84"/>
                  </a:lnTo>
                  <a:lnTo>
                    <a:pt x="0" y="42"/>
                  </a:lnTo>
                  <a:lnTo>
                    <a:pt x="36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25" name="Freeform 50"/>
            <p:cNvSpPr>
              <a:spLocks/>
            </p:cNvSpPr>
            <p:nvPr/>
          </p:nvSpPr>
          <p:spPr bwMode="auto">
            <a:xfrm>
              <a:off x="3299" y="1192"/>
              <a:ext cx="34" cy="31"/>
            </a:xfrm>
            <a:custGeom>
              <a:avLst/>
              <a:gdLst>
                <a:gd name="T0" fmla="*/ 0 w 76"/>
                <a:gd name="T1" fmla="*/ 0 h 86"/>
                <a:gd name="T2" fmla="*/ 0 w 76"/>
                <a:gd name="T3" fmla="*/ 0 h 86"/>
                <a:gd name="T4" fmla="*/ 0 w 76"/>
                <a:gd name="T5" fmla="*/ 0 h 86"/>
                <a:gd name="T6" fmla="*/ 0 w 76"/>
                <a:gd name="T7" fmla="*/ 0 h 86"/>
                <a:gd name="T8" fmla="*/ 0 w 76"/>
                <a:gd name="T9" fmla="*/ 0 h 8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6"/>
                <a:gd name="T16" fmla="*/ 0 h 86"/>
                <a:gd name="T17" fmla="*/ 76 w 76"/>
                <a:gd name="T18" fmla="*/ 86 h 8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6" h="86">
                  <a:moveTo>
                    <a:pt x="36" y="0"/>
                  </a:moveTo>
                  <a:lnTo>
                    <a:pt x="75" y="42"/>
                  </a:lnTo>
                  <a:lnTo>
                    <a:pt x="36" y="85"/>
                  </a:lnTo>
                  <a:lnTo>
                    <a:pt x="0" y="42"/>
                  </a:lnTo>
                  <a:lnTo>
                    <a:pt x="36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26" name="Freeform 51"/>
            <p:cNvSpPr>
              <a:spLocks/>
            </p:cNvSpPr>
            <p:nvPr/>
          </p:nvSpPr>
          <p:spPr bwMode="auto">
            <a:xfrm>
              <a:off x="3299" y="1289"/>
              <a:ext cx="34" cy="31"/>
            </a:xfrm>
            <a:custGeom>
              <a:avLst/>
              <a:gdLst>
                <a:gd name="T0" fmla="*/ 0 w 76"/>
                <a:gd name="T1" fmla="*/ 0 h 85"/>
                <a:gd name="T2" fmla="*/ 0 w 76"/>
                <a:gd name="T3" fmla="*/ 0 h 85"/>
                <a:gd name="T4" fmla="*/ 0 w 76"/>
                <a:gd name="T5" fmla="*/ 0 h 85"/>
                <a:gd name="T6" fmla="*/ 0 w 76"/>
                <a:gd name="T7" fmla="*/ 0 h 85"/>
                <a:gd name="T8" fmla="*/ 0 w 76"/>
                <a:gd name="T9" fmla="*/ 0 h 8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6"/>
                <a:gd name="T16" fmla="*/ 0 h 85"/>
                <a:gd name="T17" fmla="*/ 76 w 76"/>
                <a:gd name="T18" fmla="*/ 85 h 8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6" h="85">
                  <a:moveTo>
                    <a:pt x="36" y="0"/>
                  </a:moveTo>
                  <a:lnTo>
                    <a:pt x="75" y="41"/>
                  </a:lnTo>
                  <a:lnTo>
                    <a:pt x="36" y="84"/>
                  </a:lnTo>
                  <a:lnTo>
                    <a:pt x="0" y="41"/>
                  </a:lnTo>
                  <a:lnTo>
                    <a:pt x="36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27" name="Freeform 52"/>
            <p:cNvSpPr>
              <a:spLocks/>
            </p:cNvSpPr>
            <p:nvPr/>
          </p:nvSpPr>
          <p:spPr bwMode="auto">
            <a:xfrm>
              <a:off x="3258" y="1402"/>
              <a:ext cx="33" cy="30"/>
            </a:xfrm>
            <a:custGeom>
              <a:avLst/>
              <a:gdLst>
                <a:gd name="T0" fmla="*/ 0 w 75"/>
                <a:gd name="T1" fmla="*/ 0 h 84"/>
                <a:gd name="T2" fmla="*/ 0 w 75"/>
                <a:gd name="T3" fmla="*/ 0 h 84"/>
                <a:gd name="T4" fmla="*/ 0 w 75"/>
                <a:gd name="T5" fmla="*/ 0 h 84"/>
                <a:gd name="T6" fmla="*/ 0 w 75"/>
                <a:gd name="T7" fmla="*/ 0 h 84"/>
                <a:gd name="T8" fmla="*/ 0 w 75"/>
                <a:gd name="T9" fmla="*/ 0 h 8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5"/>
                <a:gd name="T16" fmla="*/ 0 h 84"/>
                <a:gd name="T17" fmla="*/ 75 w 75"/>
                <a:gd name="T18" fmla="*/ 84 h 8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5" h="84">
                  <a:moveTo>
                    <a:pt x="37" y="0"/>
                  </a:moveTo>
                  <a:lnTo>
                    <a:pt x="74" y="42"/>
                  </a:lnTo>
                  <a:lnTo>
                    <a:pt x="37" y="83"/>
                  </a:lnTo>
                  <a:lnTo>
                    <a:pt x="0" y="42"/>
                  </a:lnTo>
                  <a:lnTo>
                    <a:pt x="37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28" name="Freeform 53"/>
            <p:cNvSpPr>
              <a:spLocks/>
            </p:cNvSpPr>
            <p:nvPr/>
          </p:nvSpPr>
          <p:spPr bwMode="auto">
            <a:xfrm>
              <a:off x="3342" y="1426"/>
              <a:ext cx="34" cy="31"/>
            </a:xfrm>
            <a:custGeom>
              <a:avLst/>
              <a:gdLst>
                <a:gd name="T0" fmla="*/ 0 w 77"/>
                <a:gd name="T1" fmla="*/ 0 h 86"/>
                <a:gd name="T2" fmla="*/ 0 w 77"/>
                <a:gd name="T3" fmla="*/ 0 h 86"/>
                <a:gd name="T4" fmla="*/ 0 w 77"/>
                <a:gd name="T5" fmla="*/ 0 h 86"/>
                <a:gd name="T6" fmla="*/ 0 w 77"/>
                <a:gd name="T7" fmla="*/ 0 h 86"/>
                <a:gd name="T8" fmla="*/ 0 w 77"/>
                <a:gd name="T9" fmla="*/ 0 h 8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7"/>
                <a:gd name="T16" fmla="*/ 0 h 86"/>
                <a:gd name="T17" fmla="*/ 77 w 77"/>
                <a:gd name="T18" fmla="*/ 86 h 8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7" h="86">
                  <a:moveTo>
                    <a:pt x="38" y="0"/>
                  </a:moveTo>
                  <a:lnTo>
                    <a:pt x="76" y="42"/>
                  </a:lnTo>
                  <a:lnTo>
                    <a:pt x="38" y="85"/>
                  </a:lnTo>
                  <a:lnTo>
                    <a:pt x="0" y="42"/>
                  </a:lnTo>
                  <a:lnTo>
                    <a:pt x="38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29" name="Freeform 54"/>
            <p:cNvSpPr>
              <a:spLocks/>
            </p:cNvSpPr>
            <p:nvPr/>
          </p:nvSpPr>
          <p:spPr bwMode="auto">
            <a:xfrm>
              <a:off x="3299" y="1495"/>
              <a:ext cx="34" cy="30"/>
            </a:xfrm>
            <a:custGeom>
              <a:avLst/>
              <a:gdLst>
                <a:gd name="T0" fmla="*/ 0 w 76"/>
                <a:gd name="T1" fmla="*/ 0 h 85"/>
                <a:gd name="T2" fmla="*/ 0 w 76"/>
                <a:gd name="T3" fmla="*/ 0 h 85"/>
                <a:gd name="T4" fmla="*/ 0 w 76"/>
                <a:gd name="T5" fmla="*/ 0 h 85"/>
                <a:gd name="T6" fmla="*/ 0 w 76"/>
                <a:gd name="T7" fmla="*/ 0 h 85"/>
                <a:gd name="T8" fmla="*/ 0 w 76"/>
                <a:gd name="T9" fmla="*/ 0 h 8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6"/>
                <a:gd name="T16" fmla="*/ 0 h 85"/>
                <a:gd name="T17" fmla="*/ 76 w 76"/>
                <a:gd name="T18" fmla="*/ 85 h 8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6" h="85">
                  <a:moveTo>
                    <a:pt x="36" y="0"/>
                  </a:moveTo>
                  <a:lnTo>
                    <a:pt x="75" y="42"/>
                  </a:lnTo>
                  <a:lnTo>
                    <a:pt x="36" y="84"/>
                  </a:lnTo>
                  <a:lnTo>
                    <a:pt x="0" y="42"/>
                  </a:lnTo>
                  <a:lnTo>
                    <a:pt x="36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30" name="Freeform 55"/>
            <p:cNvSpPr>
              <a:spLocks/>
            </p:cNvSpPr>
            <p:nvPr/>
          </p:nvSpPr>
          <p:spPr bwMode="auto">
            <a:xfrm>
              <a:off x="3215" y="1512"/>
              <a:ext cx="32" cy="31"/>
            </a:xfrm>
            <a:custGeom>
              <a:avLst/>
              <a:gdLst>
                <a:gd name="T0" fmla="*/ 0 w 73"/>
                <a:gd name="T1" fmla="*/ 0 h 86"/>
                <a:gd name="T2" fmla="*/ 0 w 73"/>
                <a:gd name="T3" fmla="*/ 0 h 86"/>
                <a:gd name="T4" fmla="*/ 0 w 73"/>
                <a:gd name="T5" fmla="*/ 0 h 86"/>
                <a:gd name="T6" fmla="*/ 0 w 73"/>
                <a:gd name="T7" fmla="*/ 0 h 86"/>
                <a:gd name="T8" fmla="*/ 0 w 73"/>
                <a:gd name="T9" fmla="*/ 0 h 8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3"/>
                <a:gd name="T16" fmla="*/ 0 h 86"/>
                <a:gd name="T17" fmla="*/ 73 w 73"/>
                <a:gd name="T18" fmla="*/ 86 h 8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3" h="86">
                  <a:moveTo>
                    <a:pt x="36" y="0"/>
                  </a:moveTo>
                  <a:lnTo>
                    <a:pt x="72" y="42"/>
                  </a:lnTo>
                  <a:lnTo>
                    <a:pt x="36" y="85"/>
                  </a:lnTo>
                  <a:lnTo>
                    <a:pt x="0" y="42"/>
                  </a:lnTo>
                  <a:lnTo>
                    <a:pt x="36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31" name="Freeform 56"/>
            <p:cNvSpPr>
              <a:spLocks/>
            </p:cNvSpPr>
            <p:nvPr/>
          </p:nvSpPr>
          <p:spPr bwMode="auto">
            <a:xfrm>
              <a:off x="3299" y="1514"/>
              <a:ext cx="34" cy="31"/>
            </a:xfrm>
            <a:custGeom>
              <a:avLst/>
              <a:gdLst>
                <a:gd name="T0" fmla="*/ 0 w 76"/>
                <a:gd name="T1" fmla="*/ 0 h 86"/>
                <a:gd name="T2" fmla="*/ 0 w 76"/>
                <a:gd name="T3" fmla="*/ 0 h 86"/>
                <a:gd name="T4" fmla="*/ 0 w 76"/>
                <a:gd name="T5" fmla="*/ 0 h 86"/>
                <a:gd name="T6" fmla="*/ 0 w 76"/>
                <a:gd name="T7" fmla="*/ 0 h 86"/>
                <a:gd name="T8" fmla="*/ 0 w 76"/>
                <a:gd name="T9" fmla="*/ 0 h 8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6"/>
                <a:gd name="T16" fmla="*/ 0 h 86"/>
                <a:gd name="T17" fmla="*/ 76 w 76"/>
                <a:gd name="T18" fmla="*/ 86 h 8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6" h="86">
                  <a:moveTo>
                    <a:pt x="36" y="0"/>
                  </a:moveTo>
                  <a:lnTo>
                    <a:pt x="75" y="42"/>
                  </a:lnTo>
                  <a:lnTo>
                    <a:pt x="36" y="85"/>
                  </a:lnTo>
                  <a:lnTo>
                    <a:pt x="0" y="42"/>
                  </a:lnTo>
                  <a:lnTo>
                    <a:pt x="36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32" name="Freeform 57"/>
            <p:cNvSpPr>
              <a:spLocks/>
            </p:cNvSpPr>
            <p:nvPr/>
          </p:nvSpPr>
          <p:spPr bwMode="auto">
            <a:xfrm>
              <a:off x="3384" y="1527"/>
              <a:ext cx="33" cy="31"/>
            </a:xfrm>
            <a:custGeom>
              <a:avLst/>
              <a:gdLst>
                <a:gd name="T0" fmla="*/ 0 w 74"/>
                <a:gd name="T1" fmla="*/ 0 h 84"/>
                <a:gd name="T2" fmla="*/ 0 w 74"/>
                <a:gd name="T3" fmla="*/ 0 h 84"/>
                <a:gd name="T4" fmla="*/ 0 w 74"/>
                <a:gd name="T5" fmla="*/ 0 h 84"/>
                <a:gd name="T6" fmla="*/ 0 w 74"/>
                <a:gd name="T7" fmla="*/ 0 h 84"/>
                <a:gd name="T8" fmla="*/ 0 w 74"/>
                <a:gd name="T9" fmla="*/ 0 h 8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4"/>
                <a:gd name="T16" fmla="*/ 0 h 84"/>
                <a:gd name="T17" fmla="*/ 74 w 74"/>
                <a:gd name="T18" fmla="*/ 84 h 8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4" h="84">
                  <a:moveTo>
                    <a:pt x="37" y="0"/>
                  </a:moveTo>
                  <a:lnTo>
                    <a:pt x="73" y="42"/>
                  </a:lnTo>
                  <a:lnTo>
                    <a:pt x="37" y="83"/>
                  </a:lnTo>
                  <a:lnTo>
                    <a:pt x="0" y="42"/>
                  </a:lnTo>
                  <a:lnTo>
                    <a:pt x="37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33" name="Freeform 58"/>
            <p:cNvSpPr>
              <a:spLocks/>
            </p:cNvSpPr>
            <p:nvPr/>
          </p:nvSpPr>
          <p:spPr bwMode="auto">
            <a:xfrm>
              <a:off x="3258" y="1528"/>
              <a:ext cx="33" cy="31"/>
            </a:xfrm>
            <a:custGeom>
              <a:avLst/>
              <a:gdLst>
                <a:gd name="T0" fmla="*/ 0 w 75"/>
                <a:gd name="T1" fmla="*/ 0 h 86"/>
                <a:gd name="T2" fmla="*/ 0 w 75"/>
                <a:gd name="T3" fmla="*/ 0 h 86"/>
                <a:gd name="T4" fmla="*/ 0 w 75"/>
                <a:gd name="T5" fmla="*/ 0 h 86"/>
                <a:gd name="T6" fmla="*/ 0 w 75"/>
                <a:gd name="T7" fmla="*/ 0 h 86"/>
                <a:gd name="T8" fmla="*/ 0 w 75"/>
                <a:gd name="T9" fmla="*/ 0 h 8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5"/>
                <a:gd name="T16" fmla="*/ 0 h 86"/>
                <a:gd name="T17" fmla="*/ 75 w 75"/>
                <a:gd name="T18" fmla="*/ 86 h 8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5" h="86">
                  <a:moveTo>
                    <a:pt x="37" y="0"/>
                  </a:moveTo>
                  <a:lnTo>
                    <a:pt x="74" y="42"/>
                  </a:lnTo>
                  <a:lnTo>
                    <a:pt x="37" y="85"/>
                  </a:lnTo>
                  <a:lnTo>
                    <a:pt x="0" y="42"/>
                  </a:lnTo>
                  <a:lnTo>
                    <a:pt x="37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34" name="Freeform 59"/>
            <p:cNvSpPr>
              <a:spLocks/>
            </p:cNvSpPr>
            <p:nvPr/>
          </p:nvSpPr>
          <p:spPr bwMode="auto">
            <a:xfrm>
              <a:off x="3342" y="1537"/>
              <a:ext cx="34" cy="31"/>
            </a:xfrm>
            <a:custGeom>
              <a:avLst/>
              <a:gdLst>
                <a:gd name="T0" fmla="*/ 0 w 77"/>
                <a:gd name="T1" fmla="*/ 0 h 86"/>
                <a:gd name="T2" fmla="*/ 0 w 77"/>
                <a:gd name="T3" fmla="*/ 0 h 86"/>
                <a:gd name="T4" fmla="*/ 0 w 77"/>
                <a:gd name="T5" fmla="*/ 0 h 86"/>
                <a:gd name="T6" fmla="*/ 0 w 77"/>
                <a:gd name="T7" fmla="*/ 0 h 86"/>
                <a:gd name="T8" fmla="*/ 0 w 77"/>
                <a:gd name="T9" fmla="*/ 0 h 8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7"/>
                <a:gd name="T16" fmla="*/ 0 h 86"/>
                <a:gd name="T17" fmla="*/ 77 w 77"/>
                <a:gd name="T18" fmla="*/ 86 h 8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7" h="86">
                  <a:moveTo>
                    <a:pt x="38" y="0"/>
                  </a:moveTo>
                  <a:lnTo>
                    <a:pt x="76" y="42"/>
                  </a:lnTo>
                  <a:lnTo>
                    <a:pt x="38" y="85"/>
                  </a:lnTo>
                  <a:lnTo>
                    <a:pt x="0" y="42"/>
                  </a:lnTo>
                  <a:lnTo>
                    <a:pt x="38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35" name="Freeform 60"/>
            <p:cNvSpPr>
              <a:spLocks/>
            </p:cNvSpPr>
            <p:nvPr/>
          </p:nvSpPr>
          <p:spPr bwMode="auto">
            <a:xfrm>
              <a:off x="3299" y="1543"/>
              <a:ext cx="34" cy="31"/>
            </a:xfrm>
            <a:custGeom>
              <a:avLst/>
              <a:gdLst>
                <a:gd name="T0" fmla="*/ 0 w 76"/>
                <a:gd name="T1" fmla="*/ 0 h 86"/>
                <a:gd name="T2" fmla="*/ 0 w 76"/>
                <a:gd name="T3" fmla="*/ 0 h 86"/>
                <a:gd name="T4" fmla="*/ 0 w 76"/>
                <a:gd name="T5" fmla="*/ 0 h 86"/>
                <a:gd name="T6" fmla="*/ 0 w 76"/>
                <a:gd name="T7" fmla="*/ 0 h 86"/>
                <a:gd name="T8" fmla="*/ 0 w 76"/>
                <a:gd name="T9" fmla="*/ 0 h 8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6"/>
                <a:gd name="T16" fmla="*/ 0 h 86"/>
                <a:gd name="T17" fmla="*/ 76 w 76"/>
                <a:gd name="T18" fmla="*/ 86 h 8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6" h="86">
                  <a:moveTo>
                    <a:pt x="36" y="0"/>
                  </a:moveTo>
                  <a:lnTo>
                    <a:pt x="75" y="42"/>
                  </a:lnTo>
                  <a:lnTo>
                    <a:pt x="36" y="85"/>
                  </a:lnTo>
                  <a:lnTo>
                    <a:pt x="0" y="42"/>
                  </a:lnTo>
                  <a:lnTo>
                    <a:pt x="36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36" name="Freeform 61"/>
            <p:cNvSpPr>
              <a:spLocks/>
            </p:cNvSpPr>
            <p:nvPr/>
          </p:nvSpPr>
          <p:spPr bwMode="auto">
            <a:xfrm>
              <a:off x="3215" y="1545"/>
              <a:ext cx="32" cy="31"/>
            </a:xfrm>
            <a:custGeom>
              <a:avLst/>
              <a:gdLst>
                <a:gd name="T0" fmla="*/ 0 w 73"/>
                <a:gd name="T1" fmla="*/ 0 h 85"/>
                <a:gd name="T2" fmla="*/ 0 w 73"/>
                <a:gd name="T3" fmla="*/ 0 h 85"/>
                <a:gd name="T4" fmla="*/ 0 w 73"/>
                <a:gd name="T5" fmla="*/ 0 h 85"/>
                <a:gd name="T6" fmla="*/ 0 w 73"/>
                <a:gd name="T7" fmla="*/ 0 h 85"/>
                <a:gd name="T8" fmla="*/ 0 w 73"/>
                <a:gd name="T9" fmla="*/ 0 h 8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3"/>
                <a:gd name="T16" fmla="*/ 0 h 85"/>
                <a:gd name="T17" fmla="*/ 73 w 73"/>
                <a:gd name="T18" fmla="*/ 85 h 8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3" h="85">
                  <a:moveTo>
                    <a:pt x="36" y="0"/>
                  </a:moveTo>
                  <a:lnTo>
                    <a:pt x="72" y="41"/>
                  </a:lnTo>
                  <a:lnTo>
                    <a:pt x="36" y="84"/>
                  </a:lnTo>
                  <a:lnTo>
                    <a:pt x="0" y="41"/>
                  </a:lnTo>
                  <a:lnTo>
                    <a:pt x="36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37" name="Freeform 62"/>
            <p:cNvSpPr>
              <a:spLocks/>
            </p:cNvSpPr>
            <p:nvPr/>
          </p:nvSpPr>
          <p:spPr bwMode="auto">
            <a:xfrm>
              <a:off x="3299" y="1586"/>
              <a:ext cx="34" cy="31"/>
            </a:xfrm>
            <a:custGeom>
              <a:avLst/>
              <a:gdLst>
                <a:gd name="T0" fmla="*/ 0 w 76"/>
                <a:gd name="T1" fmla="*/ 0 h 86"/>
                <a:gd name="T2" fmla="*/ 0 w 76"/>
                <a:gd name="T3" fmla="*/ 0 h 86"/>
                <a:gd name="T4" fmla="*/ 0 w 76"/>
                <a:gd name="T5" fmla="*/ 0 h 86"/>
                <a:gd name="T6" fmla="*/ 0 w 76"/>
                <a:gd name="T7" fmla="*/ 0 h 86"/>
                <a:gd name="T8" fmla="*/ 0 w 76"/>
                <a:gd name="T9" fmla="*/ 0 h 8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6"/>
                <a:gd name="T16" fmla="*/ 0 h 86"/>
                <a:gd name="T17" fmla="*/ 76 w 76"/>
                <a:gd name="T18" fmla="*/ 86 h 8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6" h="86">
                  <a:moveTo>
                    <a:pt x="36" y="0"/>
                  </a:moveTo>
                  <a:lnTo>
                    <a:pt x="75" y="42"/>
                  </a:lnTo>
                  <a:lnTo>
                    <a:pt x="36" y="85"/>
                  </a:lnTo>
                  <a:lnTo>
                    <a:pt x="0" y="42"/>
                  </a:lnTo>
                  <a:lnTo>
                    <a:pt x="36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38" name="Freeform 63"/>
            <p:cNvSpPr>
              <a:spLocks/>
            </p:cNvSpPr>
            <p:nvPr/>
          </p:nvSpPr>
          <p:spPr bwMode="auto">
            <a:xfrm>
              <a:off x="3384" y="1600"/>
              <a:ext cx="33" cy="31"/>
            </a:xfrm>
            <a:custGeom>
              <a:avLst/>
              <a:gdLst>
                <a:gd name="T0" fmla="*/ 0 w 74"/>
                <a:gd name="T1" fmla="*/ 0 h 85"/>
                <a:gd name="T2" fmla="*/ 0 w 74"/>
                <a:gd name="T3" fmla="*/ 0 h 85"/>
                <a:gd name="T4" fmla="*/ 0 w 74"/>
                <a:gd name="T5" fmla="*/ 0 h 85"/>
                <a:gd name="T6" fmla="*/ 0 w 74"/>
                <a:gd name="T7" fmla="*/ 0 h 85"/>
                <a:gd name="T8" fmla="*/ 0 w 74"/>
                <a:gd name="T9" fmla="*/ 0 h 8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4"/>
                <a:gd name="T16" fmla="*/ 0 h 85"/>
                <a:gd name="T17" fmla="*/ 74 w 74"/>
                <a:gd name="T18" fmla="*/ 85 h 8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4" h="85">
                  <a:moveTo>
                    <a:pt x="37" y="0"/>
                  </a:moveTo>
                  <a:lnTo>
                    <a:pt x="73" y="41"/>
                  </a:lnTo>
                  <a:lnTo>
                    <a:pt x="37" y="84"/>
                  </a:lnTo>
                  <a:lnTo>
                    <a:pt x="0" y="41"/>
                  </a:lnTo>
                  <a:lnTo>
                    <a:pt x="37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39" name="Freeform 64"/>
            <p:cNvSpPr>
              <a:spLocks/>
            </p:cNvSpPr>
            <p:nvPr/>
          </p:nvSpPr>
          <p:spPr bwMode="auto">
            <a:xfrm>
              <a:off x="3258" y="1614"/>
              <a:ext cx="33" cy="31"/>
            </a:xfrm>
            <a:custGeom>
              <a:avLst/>
              <a:gdLst>
                <a:gd name="T0" fmla="*/ 0 w 75"/>
                <a:gd name="T1" fmla="*/ 0 h 85"/>
                <a:gd name="T2" fmla="*/ 0 w 75"/>
                <a:gd name="T3" fmla="*/ 0 h 85"/>
                <a:gd name="T4" fmla="*/ 0 w 75"/>
                <a:gd name="T5" fmla="*/ 0 h 85"/>
                <a:gd name="T6" fmla="*/ 0 w 75"/>
                <a:gd name="T7" fmla="*/ 0 h 85"/>
                <a:gd name="T8" fmla="*/ 0 w 75"/>
                <a:gd name="T9" fmla="*/ 0 h 8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5"/>
                <a:gd name="T16" fmla="*/ 0 h 85"/>
                <a:gd name="T17" fmla="*/ 75 w 75"/>
                <a:gd name="T18" fmla="*/ 85 h 8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5" h="85">
                  <a:moveTo>
                    <a:pt x="37" y="0"/>
                  </a:moveTo>
                  <a:lnTo>
                    <a:pt x="74" y="42"/>
                  </a:lnTo>
                  <a:lnTo>
                    <a:pt x="37" y="84"/>
                  </a:lnTo>
                  <a:lnTo>
                    <a:pt x="0" y="42"/>
                  </a:lnTo>
                  <a:lnTo>
                    <a:pt x="37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40" name="Freeform 65"/>
            <p:cNvSpPr>
              <a:spLocks/>
            </p:cNvSpPr>
            <p:nvPr/>
          </p:nvSpPr>
          <p:spPr bwMode="auto">
            <a:xfrm>
              <a:off x="3342" y="1628"/>
              <a:ext cx="34" cy="31"/>
            </a:xfrm>
            <a:custGeom>
              <a:avLst/>
              <a:gdLst>
                <a:gd name="T0" fmla="*/ 0 w 77"/>
                <a:gd name="T1" fmla="*/ 0 h 86"/>
                <a:gd name="T2" fmla="*/ 0 w 77"/>
                <a:gd name="T3" fmla="*/ 0 h 86"/>
                <a:gd name="T4" fmla="*/ 0 w 77"/>
                <a:gd name="T5" fmla="*/ 0 h 86"/>
                <a:gd name="T6" fmla="*/ 0 w 77"/>
                <a:gd name="T7" fmla="*/ 0 h 86"/>
                <a:gd name="T8" fmla="*/ 0 w 77"/>
                <a:gd name="T9" fmla="*/ 0 h 8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7"/>
                <a:gd name="T16" fmla="*/ 0 h 86"/>
                <a:gd name="T17" fmla="*/ 77 w 77"/>
                <a:gd name="T18" fmla="*/ 86 h 8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7" h="86">
                  <a:moveTo>
                    <a:pt x="38" y="0"/>
                  </a:moveTo>
                  <a:lnTo>
                    <a:pt x="76" y="42"/>
                  </a:lnTo>
                  <a:lnTo>
                    <a:pt x="38" y="85"/>
                  </a:lnTo>
                  <a:lnTo>
                    <a:pt x="0" y="42"/>
                  </a:lnTo>
                  <a:lnTo>
                    <a:pt x="38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41" name="Freeform 66"/>
            <p:cNvSpPr>
              <a:spLocks/>
            </p:cNvSpPr>
            <p:nvPr/>
          </p:nvSpPr>
          <p:spPr bwMode="auto">
            <a:xfrm>
              <a:off x="3215" y="1648"/>
              <a:ext cx="32" cy="31"/>
            </a:xfrm>
            <a:custGeom>
              <a:avLst/>
              <a:gdLst>
                <a:gd name="T0" fmla="*/ 0 w 73"/>
                <a:gd name="T1" fmla="*/ 0 h 86"/>
                <a:gd name="T2" fmla="*/ 0 w 73"/>
                <a:gd name="T3" fmla="*/ 0 h 86"/>
                <a:gd name="T4" fmla="*/ 0 w 73"/>
                <a:gd name="T5" fmla="*/ 0 h 86"/>
                <a:gd name="T6" fmla="*/ 0 w 73"/>
                <a:gd name="T7" fmla="*/ 0 h 86"/>
                <a:gd name="T8" fmla="*/ 0 w 73"/>
                <a:gd name="T9" fmla="*/ 0 h 8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3"/>
                <a:gd name="T16" fmla="*/ 0 h 86"/>
                <a:gd name="T17" fmla="*/ 73 w 73"/>
                <a:gd name="T18" fmla="*/ 86 h 8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3" h="86">
                  <a:moveTo>
                    <a:pt x="36" y="0"/>
                  </a:moveTo>
                  <a:lnTo>
                    <a:pt x="72" y="42"/>
                  </a:lnTo>
                  <a:lnTo>
                    <a:pt x="36" y="85"/>
                  </a:lnTo>
                  <a:lnTo>
                    <a:pt x="0" y="42"/>
                  </a:lnTo>
                  <a:lnTo>
                    <a:pt x="36" y="0"/>
                  </a:lnTo>
                </a:path>
              </a:pathLst>
            </a:custGeom>
            <a:solidFill>
              <a:srgbClr val="FAFD00"/>
            </a:solidFill>
            <a:ln w="28575" cap="rnd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3742" name="Rectangle 67"/>
            <p:cNvSpPr>
              <a:spLocks noChangeArrowheads="1"/>
            </p:cNvSpPr>
            <p:nvPr/>
          </p:nvSpPr>
          <p:spPr bwMode="auto">
            <a:xfrm>
              <a:off x="2109" y="2191"/>
              <a:ext cx="781" cy="2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algn="l" defTabSz="762000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r>
                <a:rPr lang="en-GB" sz="2000" b="1">
                  <a:solidFill>
                    <a:srgbClr val="FFFF00"/>
                  </a:solidFill>
                </a:rPr>
                <a:t>Controls</a:t>
              </a:r>
            </a:p>
          </p:txBody>
        </p:sp>
        <p:sp>
          <p:nvSpPr>
            <p:cNvPr id="233743" name="Rectangle 68"/>
            <p:cNvSpPr>
              <a:spLocks noChangeArrowheads="1"/>
            </p:cNvSpPr>
            <p:nvPr/>
          </p:nvSpPr>
          <p:spPr bwMode="auto">
            <a:xfrm>
              <a:off x="3152" y="2191"/>
              <a:ext cx="465" cy="2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l" defTabSz="762000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r>
                <a:rPr lang="en-GB" sz="2000" b="1">
                  <a:solidFill>
                    <a:srgbClr val="FFFF00"/>
                  </a:solidFill>
                </a:rPr>
                <a:t>AD</a:t>
              </a:r>
            </a:p>
          </p:txBody>
        </p:sp>
        <p:sp>
          <p:nvSpPr>
            <p:cNvPr id="233744" name="Rectangle 69"/>
            <p:cNvSpPr>
              <a:spLocks noChangeArrowheads="1"/>
            </p:cNvSpPr>
            <p:nvPr/>
          </p:nvSpPr>
          <p:spPr bwMode="auto">
            <a:xfrm>
              <a:off x="3107" y="1752"/>
              <a:ext cx="1057" cy="2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defTabSz="762000">
                <a:lnSpc>
                  <a:spcPct val="90000"/>
                </a:lnSpc>
                <a:spcBef>
                  <a:spcPct val="50000"/>
                </a:spcBef>
                <a:buFontTx/>
                <a:buNone/>
              </a:pPr>
              <a:r>
                <a:rPr lang="en-GB" sz="2000">
                  <a:solidFill>
                    <a:srgbClr val="FFFF00"/>
                  </a:solidFill>
                </a:rPr>
                <a:t>2.8%  </a:t>
              </a:r>
              <a:r>
                <a:rPr lang="en-US" sz="2000">
                  <a:solidFill>
                    <a:srgbClr val="FFFF00"/>
                  </a:solidFill>
                  <a:cs typeface="Arial" pitchFamily="34" charset="0"/>
                </a:rPr>
                <a:t>± </a:t>
              </a:r>
              <a:r>
                <a:rPr lang="en-GB" sz="2000">
                  <a:solidFill>
                    <a:srgbClr val="FFFF00"/>
                  </a:solidFill>
                </a:rPr>
                <a:t>1</a:t>
              </a:r>
            </a:p>
          </p:txBody>
        </p:sp>
        <p:sp>
          <p:nvSpPr>
            <p:cNvPr id="233745" name="Rectangle 70"/>
            <p:cNvSpPr>
              <a:spLocks noChangeArrowheads="1"/>
            </p:cNvSpPr>
            <p:nvPr/>
          </p:nvSpPr>
          <p:spPr bwMode="auto">
            <a:xfrm>
              <a:off x="2153" y="1193"/>
              <a:ext cx="933" cy="2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defTabSz="762000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r>
                <a:rPr lang="en-GB" sz="2000">
                  <a:solidFill>
                    <a:srgbClr val="FFFF00"/>
                  </a:solidFill>
                </a:rPr>
                <a:t>0.2%  </a:t>
              </a:r>
              <a:r>
                <a:rPr lang="en-US" sz="2000">
                  <a:solidFill>
                    <a:srgbClr val="FFFF00"/>
                  </a:solidFill>
                </a:rPr>
                <a:t>±</a:t>
              </a:r>
              <a:r>
                <a:rPr lang="en-GB" sz="2000">
                  <a:solidFill>
                    <a:srgbClr val="FFFF00"/>
                  </a:solidFill>
                </a:rPr>
                <a:t> 0.3</a:t>
              </a:r>
            </a:p>
          </p:txBody>
        </p:sp>
      </p:grpSp>
      <p:grpSp>
        <p:nvGrpSpPr>
          <p:cNvPr id="233480" name="Group 71"/>
          <p:cNvGrpSpPr>
            <a:grpSpLocks noChangeAspect="1"/>
          </p:cNvGrpSpPr>
          <p:nvPr/>
        </p:nvGrpSpPr>
        <p:grpSpPr bwMode="auto">
          <a:xfrm>
            <a:off x="252413" y="1125538"/>
            <a:ext cx="2808287" cy="2433637"/>
            <a:chOff x="204" y="754"/>
            <a:chExt cx="1723" cy="1493"/>
          </a:xfrm>
        </p:grpSpPr>
        <p:sp>
          <p:nvSpPr>
            <p:cNvPr id="233681" name="AutoShape 72"/>
            <p:cNvSpPr>
              <a:spLocks noChangeAspect="1" noChangeArrowheads="1" noTextEdit="1"/>
            </p:cNvSpPr>
            <p:nvPr/>
          </p:nvSpPr>
          <p:spPr bwMode="auto">
            <a:xfrm>
              <a:off x="204" y="754"/>
              <a:ext cx="1723" cy="14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pic>
          <p:nvPicPr>
            <p:cNvPr id="233682" name="Picture 73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4" y="754"/>
              <a:ext cx="1659" cy="14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33481" name="Rectangle 74"/>
          <p:cNvSpPr>
            <a:spLocks noChangeArrowheads="1"/>
          </p:cNvSpPr>
          <p:nvPr/>
        </p:nvSpPr>
        <p:spPr bwMode="auto">
          <a:xfrm>
            <a:off x="3419475" y="6521450"/>
            <a:ext cx="244316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buFontTx/>
              <a:buNone/>
            </a:pPr>
            <a:r>
              <a:rPr lang="en-US" sz="1600">
                <a:solidFill>
                  <a:srgbClr val="FFFF00"/>
                </a:solidFill>
              </a:rPr>
              <a:t>(Nick Fox, IoN – London)</a:t>
            </a:r>
            <a:endParaRPr lang="en-GB" sz="1600">
              <a:solidFill>
                <a:srgbClr val="FFFF00"/>
              </a:solidFill>
            </a:endParaRPr>
          </a:p>
        </p:txBody>
      </p:sp>
      <p:sp>
        <p:nvSpPr>
          <p:cNvPr id="233482" name="Rectangle 75"/>
          <p:cNvSpPr>
            <a:spLocks noChangeArrowheads="1"/>
          </p:cNvSpPr>
          <p:nvPr/>
        </p:nvSpPr>
        <p:spPr bwMode="auto">
          <a:xfrm rot="-5400000">
            <a:off x="4363244" y="4639469"/>
            <a:ext cx="1712912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>
            <a:spAutoFit/>
          </a:bodyPr>
          <a:lstStyle/>
          <a:p>
            <a:pPr defTabSz="762000">
              <a:spcBef>
                <a:spcPct val="0"/>
              </a:spcBef>
              <a:buFontTx/>
              <a:buNone/>
            </a:pPr>
            <a:r>
              <a:rPr lang="en-GB" sz="2000">
                <a:solidFill>
                  <a:srgbClr val="FFFF00"/>
                </a:solidFill>
              </a:rPr>
              <a:t>Brain Volume</a:t>
            </a:r>
          </a:p>
          <a:p>
            <a:pPr defTabSz="762000">
              <a:spcBef>
                <a:spcPct val="0"/>
              </a:spcBef>
              <a:buFontTx/>
              <a:buNone/>
            </a:pPr>
            <a:r>
              <a:rPr lang="en-GB" sz="2000">
                <a:solidFill>
                  <a:srgbClr val="FFFF00"/>
                </a:solidFill>
              </a:rPr>
              <a:t>(% change)</a:t>
            </a:r>
          </a:p>
          <a:p>
            <a:pPr defTabSz="762000">
              <a:spcBef>
                <a:spcPct val="0"/>
              </a:spcBef>
              <a:buFontTx/>
              <a:buNone/>
            </a:pPr>
            <a:endParaRPr lang="en-GB" sz="2000">
              <a:solidFill>
                <a:srgbClr val="FFFF00"/>
              </a:solidFill>
            </a:endParaRPr>
          </a:p>
        </p:txBody>
      </p:sp>
      <p:sp>
        <p:nvSpPr>
          <p:cNvPr id="233483" name="Rectangle 76"/>
          <p:cNvSpPr>
            <a:spLocks noChangeArrowheads="1"/>
          </p:cNvSpPr>
          <p:nvPr/>
        </p:nvSpPr>
        <p:spPr bwMode="auto">
          <a:xfrm>
            <a:off x="6643688" y="6338888"/>
            <a:ext cx="15367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>
            <a:spAutoFit/>
          </a:bodyPr>
          <a:lstStyle/>
          <a:p>
            <a:pPr defTabSz="762000">
              <a:spcBef>
                <a:spcPct val="0"/>
              </a:spcBef>
              <a:buFontTx/>
              <a:buNone/>
            </a:pPr>
            <a:r>
              <a:rPr lang="en-GB" sz="2000">
                <a:solidFill>
                  <a:srgbClr val="FFFF00"/>
                </a:solidFill>
              </a:rPr>
              <a:t>time (years)</a:t>
            </a:r>
          </a:p>
        </p:txBody>
      </p:sp>
      <p:grpSp>
        <p:nvGrpSpPr>
          <p:cNvPr id="233484" name="Group 77"/>
          <p:cNvGrpSpPr>
            <a:grpSpLocks/>
          </p:cNvGrpSpPr>
          <p:nvPr/>
        </p:nvGrpSpPr>
        <p:grpSpPr bwMode="auto">
          <a:xfrm>
            <a:off x="5357813" y="3860800"/>
            <a:ext cx="3276600" cy="2484438"/>
            <a:chOff x="4323" y="1850"/>
            <a:chExt cx="3304" cy="2953"/>
          </a:xfrm>
        </p:grpSpPr>
        <p:sp>
          <p:nvSpPr>
            <p:cNvPr id="233488" name="Rectangle 78"/>
            <p:cNvSpPr>
              <a:spLocks noChangeArrowheads="1"/>
            </p:cNvSpPr>
            <p:nvPr/>
          </p:nvSpPr>
          <p:spPr bwMode="auto">
            <a:xfrm>
              <a:off x="4805" y="1850"/>
              <a:ext cx="188" cy="4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algn="l" defTabSz="762000">
                <a:spcBef>
                  <a:spcPct val="0"/>
                </a:spcBef>
                <a:buFontTx/>
                <a:buNone/>
              </a:pPr>
              <a:r>
                <a:rPr lang="en-GB" sz="1700">
                  <a:solidFill>
                    <a:srgbClr val="FFFF00"/>
                  </a:solidFill>
                </a:rPr>
                <a:t>  </a:t>
              </a:r>
            </a:p>
          </p:txBody>
        </p:sp>
        <p:sp>
          <p:nvSpPr>
            <p:cNvPr id="233489" name="Rectangle 79"/>
            <p:cNvSpPr>
              <a:spLocks noChangeArrowheads="1"/>
            </p:cNvSpPr>
            <p:nvPr/>
          </p:nvSpPr>
          <p:spPr bwMode="auto">
            <a:xfrm>
              <a:off x="4783" y="4382"/>
              <a:ext cx="310" cy="4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defTabSz="762000">
                <a:spcBef>
                  <a:spcPct val="0"/>
                </a:spcBef>
                <a:buFontTx/>
                <a:buNone/>
              </a:pPr>
              <a:r>
                <a:rPr lang="en-GB" sz="1700">
                  <a:solidFill>
                    <a:srgbClr val="FFFF00"/>
                  </a:solidFill>
                </a:rPr>
                <a:t>0</a:t>
              </a:r>
            </a:p>
          </p:txBody>
        </p:sp>
        <p:sp>
          <p:nvSpPr>
            <p:cNvPr id="233490" name="Line 80"/>
            <p:cNvSpPr>
              <a:spLocks noChangeShapeType="1"/>
            </p:cNvSpPr>
            <p:nvPr/>
          </p:nvSpPr>
          <p:spPr bwMode="auto">
            <a:xfrm flipV="1">
              <a:off x="4938" y="4356"/>
              <a:ext cx="0" cy="51"/>
            </a:xfrm>
            <a:prstGeom prst="line">
              <a:avLst/>
            </a:prstGeom>
            <a:noFill/>
            <a:ln w="25400">
              <a:solidFill>
                <a:srgbClr val="FFFF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491" name="Rectangle 81"/>
            <p:cNvSpPr>
              <a:spLocks noChangeArrowheads="1"/>
            </p:cNvSpPr>
            <p:nvPr/>
          </p:nvSpPr>
          <p:spPr bwMode="auto">
            <a:xfrm>
              <a:off x="5628" y="4382"/>
              <a:ext cx="310" cy="4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defTabSz="762000">
                <a:spcBef>
                  <a:spcPct val="0"/>
                </a:spcBef>
                <a:buFontTx/>
                <a:buNone/>
              </a:pPr>
              <a:r>
                <a:rPr lang="en-GB" sz="1700">
                  <a:solidFill>
                    <a:srgbClr val="FFFF00"/>
                  </a:solidFill>
                </a:rPr>
                <a:t>2</a:t>
              </a:r>
            </a:p>
          </p:txBody>
        </p:sp>
        <p:sp>
          <p:nvSpPr>
            <p:cNvPr id="233492" name="Line 82"/>
            <p:cNvSpPr>
              <a:spLocks noChangeShapeType="1"/>
            </p:cNvSpPr>
            <p:nvPr/>
          </p:nvSpPr>
          <p:spPr bwMode="auto">
            <a:xfrm flipV="1">
              <a:off x="5783" y="4356"/>
              <a:ext cx="0" cy="51"/>
            </a:xfrm>
            <a:prstGeom prst="line">
              <a:avLst/>
            </a:prstGeom>
            <a:noFill/>
            <a:ln w="25400">
              <a:solidFill>
                <a:srgbClr val="FFFF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493" name="Rectangle 83"/>
            <p:cNvSpPr>
              <a:spLocks noChangeArrowheads="1"/>
            </p:cNvSpPr>
            <p:nvPr/>
          </p:nvSpPr>
          <p:spPr bwMode="auto">
            <a:xfrm>
              <a:off x="6508" y="4382"/>
              <a:ext cx="239" cy="4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defTabSz="762000">
                <a:spcBef>
                  <a:spcPct val="0"/>
                </a:spcBef>
                <a:buFontTx/>
                <a:buNone/>
              </a:pPr>
              <a:r>
                <a:rPr lang="en-GB" sz="1700">
                  <a:solidFill>
                    <a:srgbClr val="FFFF00"/>
                  </a:solidFill>
                </a:rPr>
                <a:t>4</a:t>
              </a:r>
            </a:p>
          </p:txBody>
        </p:sp>
        <p:sp>
          <p:nvSpPr>
            <p:cNvPr id="233494" name="Line 84"/>
            <p:cNvSpPr>
              <a:spLocks noChangeShapeType="1"/>
            </p:cNvSpPr>
            <p:nvPr/>
          </p:nvSpPr>
          <p:spPr bwMode="auto">
            <a:xfrm flipV="1">
              <a:off x="6628" y="4356"/>
              <a:ext cx="0" cy="51"/>
            </a:xfrm>
            <a:prstGeom prst="line">
              <a:avLst/>
            </a:prstGeom>
            <a:noFill/>
            <a:ln w="25400">
              <a:solidFill>
                <a:srgbClr val="FFFF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495" name="Rectangle 85"/>
            <p:cNvSpPr>
              <a:spLocks noChangeArrowheads="1"/>
            </p:cNvSpPr>
            <p:nvPr/>
          </p:nvSpPr>
          <p:spPr bwMode="auto">
            <a:xfrm>
              <a:off x="7317" y="4382"/>
              <a:ext cx="310" cy="4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defTabSz="762000">
                <a:spcBef>
                  <a:spcPct val="0"/>
                </a:spcBef>
                <a:buFontTx/>
                <a:buNone/>
              </a:pPr>
              <a:r>
                <a:rPr lang="en-GB" sz="1700">
                  <a:solidFill>
                    <a:srgbClr val="FFFF00"/>
                  </a:solidFill>
                </a:rPr>
                <a:t>6</a:t>
              </a:r>
            </a:p>
          </p:txBody>
        </p:sp>
        <p:sp>
          <p:nvSpPr>
            <p:cNvPr id="233496" name="Line 86"/>
            <p:cNvSpPr>
              <a:spLocks noChangeShapeType="1"/>
            </p:cNvSpPr>
            <p:nvPr/>
          </p:nvSpPr>
          <p:spPr bwMode="auto">
            <a:xfrm flipV="1">
              <a:off x="7473" y="4356"/>
              <a:ext cx="0" cy="51"/>
            </a:xfrm>
            <a:prstGeom prst="line">
              <a:avLst/>
            </a:prstGeom>
            <a:noFill/>
            <a:ln w="25400">
              <a:solidFill>
                <a:srgbClr val="FFFF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497" name="Rectangle 87"/>
            <p:cNvSpPr>
              <a:spLocks noChangeArrowheads="1"/>
            </p:cNvSpPr>
            <p:nvPr/>
          </p:nvSpPr>
          <p:spPr bwMode="auto">
            <a:xfrm>
              <a:off x="4323" y="4174"/>
              <a:ext cx="506" cy="4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algn="r" defTabSz="762000">
                <a:spcBef>
                  <a:spcPct val="0"/>
                </a:spcBef>
                <a:buFontTx/>
                <a:buNone/>
              </a:pPr>
              <a:r>
                <a:rPr lang="en-GB" sz="1700">
                  <a:solidFill>
                    <a:srgbClr val="FFFF00"/>
                  </a:solidFill>
                </a:rPr>
                <a:t>-15</a:t>
              </a:r>
            </a:p>
          </p:txBody>
        </p:sp>
        <p:sp>
          <p:nvSpPr>
            <p:cNvPr id="233498" name="Line 88"/>
            <p:cNvSpPr>
              <a:spLocks noChangeShapeType="1"/>
            </p:cNvSpPr>
            <p:nvPr/>
          </p:nvSpPr>
          <p:spPr bwMode="auto">
            <a:xfrm flipH="1">
              <a:off x="4833" y="4260"/>
              <a:ext cx="40" cy="0"/>
            </a:xfrm>
            <a:prstGeom prst="line">
              <a:avLst/>
            </a:prstGeom>
            <a:noFill/>
            <a:ln w="25400">
              <a:solidFill>
                <a:srgbClr val="FFFF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499" name="Rectangle 89"/>
            <p:cNvSpPr>
              <a:spLocks noChangeArrowheads="1"/>
            </p:cNvSpPr>
            <p:nvPr/>
          </p:nvSpPr>
          <p:spPr bwMode="auto">
            <a:xfrm>
              <a:off x="4325" y="3491"/>
              <a:ext cx="506" cy="4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algn="r" defTabSz="762000">
                <a:spcBef>
                  <a:spcPct val="0"/>
                </a:spcBef>
                <a:buFontTx/>
                <a:buNone/>
              </a:pPr>
              <a:r>
                <a:rPr lang="en-GB" sz="1700">
                  <a:solidFill>
                    <a:srgbClr val="FFFF00"/>
                  </a:solidFill>
                </a:rPr>
                <a:t>-10</a:t>
              </a:r>
            </a:p>
          </p:txBody>
        </p:sp>
        <p:sp>
          <p:nvSpPr>
            <p:cNvPr id="233500" name="Line 90"/>
            <p:cNvSpPr>
              <a:spLocks noChangeShapeType="1"/>
            </p:cNvSpPr>
            <p:nvPr/>
          </p:nvSpPr>
          <p:spPr bwMode="auto">
            <a:xfrm flipH="1">
              <a:off x="4833" y="3577"/>
              <a:ext cx="40" cy="0"/>
            </a:xfrm>
            <a:prstGeom prst="line">
              <a:avLst/>
            </a:prstGeom>
            <a:noFill/>
            <a:ln w="25400">
              <a:solidFill>
                <a:srgbClr val="FFFF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01" name="Rectangle 91"/>
            <p:cNvSpPr>
              <a:spLocks noChangeArrowheads="1"/>
            </p:cNvSpPr>
            <p:nvPr/>
          </p:nvSpPr>
          <p:spPr bwMode="auto">
            <a:xfrm>
              <a:off x="4446" y="2808"/>
              <a:ext cx="383" cy="4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algn="r" defTabSz="762000">
                <a:spcBef>
                  <a:spcPct val="0"/>
                </a:spcBef>
                <a:buFontTx/>
                <a:buNone/>
              </a:pPr>
              <a:r>
                <a:rPr lang="en-GB" sz="1700">
                  <a:solidFill>
                    <a:srgbClr val="FFFF00"/>
                  </a:solidFill>
                </a:rPr>
                <a:t>-5</a:t>
              </a:r>
            </a:p>
          </p:txBody>
        </p:sp>
        <p:sp>
          <p:nvSpPr>
            <p:cNvPr id="233502" name="Line 92"/>
            <p:cNvSpPr>
              <a:spLocks noChangeShapeType="1"/>
            </p:cNvSpPr>
            <p:nvPr/>
          </p:nvSpPr>
          <p:spPr bwMode="auto">
            <a:xfrm flipH="1">
              <a:off x="4833" y="2894"/>
              <a:ext cx="40" cy="0"/>
            </a:xfrm>
            <a:prstGeom prst="line">
              <a:avLst/>
            </a:prstGeom>
            <a:noFill/>
            <a:ln w="25400">
              <a:solidFill>
                <a:srgbClr val="FFFF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03" name="Rectangle 93"/>
            <p:cNvSpPr>
              <a:spLocks noChangeArrowheads="1"/>
            </p:cNvSpPr>
            <p:nvPr/>
          </p:nvSpPr>
          <p:spPr bwMode="auto">
            <a:xfrm>
              <a:off x="4542" y="2127"/>
              <a:ext cx="310" cy="4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algn="r" defTabSz="762000">
                <a:spcBef>
                  <a:spcPct val="0"/>
                </a:spcBef>
                <a:buFontTx/>
                <a:buNone/>
              </a:pPr>
              <a:r>
                <a:rPr lang="en-GB" sz="1700">
                  <a:solidFill>
                    <a:srgbClr val="FFFF00"/>
                  </a:solidFill>
                </a:rPr>
                <a:t>0</a:t>
              </a:r>
            </a:p>
          </p:txBody>
        </p:sp>
        <p:sp>
          <p:nvSpPr>
            <p:cNvPr id="233504" name="Line 94"/>
            <p:cNvSpPr>
              <a:spLocks noChangeShapeType="1"/>
            </p:cNvSpPr>
            <p:nvPr/>
          </p:nvSpPr>
          <p:spPr bwMode="auto">
            <a:xfrm flipH="1">
              <a:off x="4833" y="2213"/>
              <a:ext cx="40" cy="0"/>
            </a:xfrm>
            <a:prstGeom prst="line">
              <a:avLst/>
            </a:prstGeom>
            <a:noFill/>
            <a:ln w="25400">
              <a:solidFill>
                <a:srgbClr val="FFFF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05" name="Line 95"/>
            <p:cNvSpPr>
              <a:spLocks noChangeShapeType="1"/>
            </p:cNvSpPr>
            <p:nvPr/>
          </p:nvSpPr>
          <p:spPr bwMode="auto">
            <a:xfrm flipH="1">
              <a:off x="4933" y="4356"/>
              <a:ext cx="2664" cy="0"/>
            </a:xfrm>
            <a:prstGeom prst="line">
              <a:avLst/>
            </a:prstGeom>
            <a:noFill/>
            <a:ln w="25400">
              <a:solidFill>
                <a:srgbClr val="FFFF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06" name="Line 96"/>
            <p:cNvSpPr>
              <a:spLocks noChangeShapeType="1"/>
            </p:cNvSpPr>
            <p:nvPr/>
          </p:nvSpPr>
          <p:spPr bwMode="auto">
            <a:xfrm flipV="1">
              <a:off x="4873" y="2097"/>
              <a:ext cx="0" cy="2259"/>
            </a:xfrm>
            <a:prstGeom prst="line">
              <a:avLst/>
            </a:prstGeom>
            <a:noFill/>
            <a:ln w="25400">
              <a:solidFill>
                <a:srgbClr val="FFFF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07" name="Freeform 97"/>
            <p:cNvSpPr>
              <a:spLocks/>
            </p:cNvSpPr>
            <p:nvPr/>
          </p:nvSpPr>
          <p:spPr bwMode="auto">
            <a:xfrm>
              <a:off x="4915" y="2182"/>
              <a:ext cx="47" cy="63"/>
            </a:xfrm>
            <a:custGeom>
              <a:avLst/>
              <a:gdLst>
                <a:gd name="T0" fmla="*/ 1 w 64"/>
                <a:gd name="T1" fmla="*/ 0 h 63"/>
                <a:gd name="T2" fmla="*/ 0 w 64"/>
                <a:gd name="T3" fmla="*/ 62 h 63"/>
                <a:gd name="T4" fmla="*/ 1 w 64"/>
                <a:gd name="T5" fmla="*/ 62 h 63"/>
                <a:gd name="T6" fmla="*/ 1 w 64"/>
                <a:gd name="T7" fmla="*/ 0 h 6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3"/>
                <a:gd name="T14" fmla="*/ 64 w 64"/>
                <a:gd name="T15" fmla="*/ 63 h 6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3">
                  <a:moveTo>
                    <a:pt x="31" y="0"/>
                  </a:moveTo>
                  <a:lnTo>
                    <a:pt x="0" y="62"/>
                  </a:lnTo>
                  <a:lnTo>
                    <a:pt x="63" y="62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08" name="Freeform 98"/>
            <p:cNvSpPr>
              <a:spLocks/>
            </p:cNvSpPr>
            <p:nvPr/>
          </p:nvSpPr>
          <p:spPr bwMode="auto">
            <a:xfrm>
              <a:off x="5672" y="2220"/>
              <a:ext cx="48" cy="64"/>
            </a:xfrm>
            <a:custGeom>
              <a:avLst/>
              <a:gdLst>
                <a:gd name="T0" fmla="*/ 2 w 64"/>
                <a:gd name="T1" fmla="*/ 0 h 64"/>
                <a:gd name="T2" fmla="*/ 0 w 64"/>
                <a:gd name="T3" fmla="*/ 63 h 64"/>
                <a:gd name="T4" fmla="*/ 2 w 64"/>
                <a:gd name="T5" fmla="*/ 63 h 64"/>
                <a:gd name="T6" fmla="*/ 2 w 64"/>
                <a:gd name="T7" fmla="*/ 0 h 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4"/>
                <a:gd name="T14" fmla="*/ 64 w 64"/>
                <a:gd name="T15" fmla="*/ 64 h 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4">
                  <a:moveTo>
                    <a:pt x="31" y="0"/>
                  </a:moveTo>
                  <a:lnTo>
                    <a:pt x="0" y="63"/>
                  </a:lnTo>
                  <a:lnTo>
                    <a:pt x="63" y="63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09" name="Line 99"/>
            <p:cNvSpPr>
              <a:spLocks noChangeShapeType="1"/>
            </p:cNvSpPr>
            <p:nvPr/>
          </p:nvSpPr>
          <p:spPr bwMode="auto">
            <a:xfrm>
              <a:off x="4938" y="2213"/>
              <a:ext cx="757" cy="38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10" name="Freeform 100"/>
            <p:cNvSpPr>
              <a:spLocks/>
            </p:cNvSpPr>
            <p:nvPr/>
          </p:nvSpPr>
          <p:spPr bwMode="auto">
            <a:xfrm>
              <a:off x="6254" y="2244"/>
              <a:ext cx="47" cy="64"/>
            </a:xfrm>
            <a:custGeom>
              <a:avLst/>
              <a:gdLst>
                <a:gd name="T0" fmla="*/ 1 w 64"/>
                <a:gd name="T1" fmla="*/ 0 h 64"/>
                <a:gd name="T2" fmla="*/ 0 w 64"/>
                <a:gd name="T3" fmla="*/ 63 h 64"/>
                <a:gd name="T4" fmla="*/ 1 w 64"/>
                <a:gd name="T5" fmla="*/ 63 h 64"/>
                <a:gd name="T6" fmla="*/ 1 w 64"/>
                <a:gd name="T7" fmla="*/ 0 h 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4"/>
                <a:gd name="T14" fmla="*/ 64 w 64"/>
                <a:gd name="T15" fmla="*/ 64 h 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4">
                  <a:moveTo>
                    <a:pt x="32" y="0"/>
                  </a:moveTo>
                  <a:lnTo>
                    <a:pt x="0" y="63"/>
                  </a:lnTo>
                  <a:lnTo>
                    <a:pt x="63" y="63"/>
                  </a:lnTo>
                  <a:lnTo>
                    <a:pt x="32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11" name="Line 101"/>
            <p:cNvSpPr>
              <a:spLocks noChangeShapeType="1"/>
            </p:cNvSpPr>
            <p:nvPr/>
          </p:nvSpPr>
          <p:spPr bwMode="auto">
            <a:xfrm>
              <a:off x="5695" y="2251"/>
              <a:ext cx="582" cy="24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12" name="Freeform 102"/>
            <p:cNvSpPr>
              <a:spLocks/>
            </p:cNvSpPr>
            <p:nvPr/>
          </p:nvSpPr>
          <p:spPr bwMode="auto">
            <a:xfrm>
              <a:off x="4915" y="2182"/>
              <a:ext cx="47" cy="63"/>
            </a:xfrm>
            <a:custGeom>
              <a:avLst/>
              <a:gdLst>
                <a:gd name="T0" fmla="*/ 1 w 64"/>
                <a:gd name="T1" fmla="*/ 0 h 63"/>
                <a:gd name="T2" fmla="*/ 0 w 64"/>
                <a:gd name="T3" fmla="*/ 62 h 63"/>
                <a:gd name="T4" fmla="*/ 1 w 64"/>
                <a:gd name="T5" fmla="*/ 62 h 63"/>
                <a:gd name="T6" fmla="*/ 1 w 64"/>
                <a:gd name="T7" fmla="*/ 0 h 6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3"/>
                <a:gd name="T14" fmla="*/ 64 w 64"/>
                <a:gd name="T15" fmla="*/ 63 h 6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3">
                  <a:moveTo>
                    <a:pt x="31" y="0"/>
                  </a:moveTo>
                  <a:lnTo>
                    <a:pt x="0" y="62"/>
                  </a:lnTo>
                  <a:lnTo>
                    <a:pt x="63" y="62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13" name="Freeform 103"/>
            <p:cNvSpPr>
              <a:spLocks/>
            </p:cNvSpPr>
            <p:nvPr/>
          </p:nvSpPr>
          <p:spPr bwMode="auto">
            <a:xfrm>
              <a:off x="5466" y="2234"/>
              <a:ext cx="47" cy="64"/>
            </a:xfrm>
            <a:custGeom>
              <a:avLst/>
              <a:gdLst>
                <a:gd name="T0" fmla="*/ 1 w 63"/>
                <a:gd name="T1" fmla="*/ 0 h 64"/>
                <a:gd name="T2" fmla="*/ 0 w 63"/>
                <a:gd name="T3" fmla="*/ 63 h 64"/>
                <a:gd name="T4" fmla="*/ 1 w 63"/>
                <a:gd name="T5" fmla="*/ 63 h 64"/>
                <a:gd name="T6" fmla="*/ 1 w 63"/>
                <a:gd name="T7" fmla="*/ 0 h 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3"/>
                <a:gd name="T13" fmla="*/ 0 h 64"/>
                <a:gd name="T14" fmla="*/ 63 w 63"/>
                <a:gd name="T15" fmla="*/ 64 h 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3" h="64">
                  <a:moveTo>
                    <a:pt x="31" y="0"/>
                  </a:moveTo>
                  <a:lnTo>
                    <a:pt x="0" y="63"/>
                  </a:lnTo>
                  <a:lnTo>
                    <a:pt x="62" y="63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14" name="Line 104"/>
            <p:cNvSpPr>
              <a:spLocks noChangeShapeType="1"/>
            </p:cNvSpPr>
            <p:nvPr/>
          </p:nvSpPr>
          <p:spPr bwMode="auto">
            <a:xfrm>
              <a:off x="4938" y="2213"/>
              <a:ext cx="551" cy="53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15" name="Freeform 105"/>
            <p:cNvSpPr>
              <a:spLocks/>
            </p:cNvSpPr>
            <p:nvPr/>
          </p:nvSpPr>
          <p:spPr bwMode="auto">
            <a:xfrm>
              <a:off x="5935" y="2417"/>
              <a:ext cx="48" cy="64"/>
            </a:xfrm>
            <a:custGeom>
              <a:avLst/>
              <a:gdLst>
                <a:gd name="T0" fmla="*/ 2 w 64"/>
                <a:gd name="T1" fmla="*/ 0 h 64"/>
                <a:gd name="T2" fmla="*/ 0 w 64"/>
                <a:gd name="T3" fmla="*/ 63 h 64"/>
                <a:gd name="T4" fmla="*/ 2 w 64"/>
                <a:gd name="T5" fmla="*/ 63 h 64"/>
                <a:gd name="T6" fmla="*/ 2 w 64"/>
                <a:gd name="T7" fmla="*/ 0 h 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4"/>
                <a:gd name="T14" fmla="*/ 64 w 64"/>
                <a:gd name="T15" fmla="*/ 64 h 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4">
                  <a:moveTo>
                    <a:pt x="31" y="0"/>
                  </a:moveTo>
                  <a:lnTo>
                    <a:pt x="0" y="63"/>
                  </a:lnTo>
                  <a:lnTo>
                    <a:pt x="63" y="63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16" name="Line 106"/>
            <p:cNvSpPr>
              <a:spLocks noChangeShapeType="1"/>
            </p:cNvSpPr>
            <p:nvPr/>
          </p:nvSpPr>
          <p:spPr bwMode="auto">
            <a:xfrm>
              <a:off x="5489" y="2266"/>
              <a:ext cx="469" cy="183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17" name="Freeform 107"/>
            <p:cNvSpPr>
              <a:spLocks/>
            </p:cNvSpPr>
            <p:nvPr/>
          </p:nvSpPr>
          <p:spPr bwMode="auto">
            <a:xfrm>
              <a:off x="4915" y="2182"/>
              <a:ext cx="47" cy="63"/>
            </a:xfrm>
            <a:custGeom>
              <a:avLst/>
              <a:gdLst>
                <a:gd name="T0" fmla="*/ 1 w 64"/>
                <a:gd name="T1" fmla="*/ 0 h 63"/>
                <a:gd name="T2" fmla="*/ 0 w 64"/>
                <a:gd name="T3" fmla="*/ 62 h 63"/>
                <a:gd name="T4" fmla="*/ 1 w 64"/>
                <a:gd name="T5" fmla="*/ 62 h 63"/>
                <a:gd name="T6" fmla="*/ 1 w 64"/>
                <a:gd name="T7" fmla="*/ 0 h 6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3"/>
                <a:gd name="T14" fmla="*/ 64 w 64"/>
                <a:gd name="T15" fmla="*/ 63 h 6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3">
                  <a:moveTo>
                    <a:pt x="31" y="0"/>
                  </a:moveTo>
                  <a:lnTo>
                    <a:pt x="0" y="62"/>
                  </a:lnTo>
                  <a:lnTo>
                    <a:pt x="63" y="62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18" name="Freeform 108"/>
            <p:cNvSpPr>
              <a:spLocks/>
            </p:cNvSpPr>
            <p:nvPr/>
          </p:nvSpPr>
          <p:spPr bwMode="auto">
            <a:xfrm>
              <a:off x="5144" y="2189"/>
              <a:ext cx="47" cy="63"/>
            </a:xfrm>
            <a:custGeom>
              <a:avLst/>
              <a:gdLst>
                <a:gd name="T0" fmla="*/ 1 w 64"/>
                <a:gd name="T1" fmla="*/ 0 h 63"/>
                <a:gd name="T2" fmla="*/ 0 w 64"/>
                <a:gd name="T3" fmla="*/ 62 h 63"/>
                <a:gd name="T4" fmla="*/ 1 w 64"/>
                <a:gd name="T5" fmla="*/ 62 h 63"/>
                <a:gd name="T6" fmla="*/ 1 w 64"/>
                <a:gd name="T7" fmla="*/ 0 h 6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3"/>
                <a:gd name="T14" fmla="*/ 64 w 64"/>
                <a:gd name="T15" fmla="*/ 63 h 6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3">
                  <a:moveTo>
                    <a:pt x="32" y="0"/>
                  </a:moveTo>
                  <a:lnTo>
                    <a:pt x="0" y="62"/>
                  </a:lnTo>
                  <a:lnTo>
                    <a:pt x="63" y="62"/>
                  </a:lnTo>
                  <a:lnTo>
                    <a:pt x="32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19" name="Line 109"/>
            <p:cNvSpPr>
              <a:spLocks noChangeShapeType="1"/>
            </p:cNvSpPr>
            <p:nvPr/>
          </p:nvSpPr>
          <p:spPr bwMode="auto">
            <a:xfrm>
              <a:off x="4938" y="2213"/>
              <a:ext cx="229" cy="7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20" name="Freeform 110"/>
            <p:cNvSpPr>
              <a:spLocks/>
            </p:cNvSpPr>
            <p:nvPr/>
          </p:nvSpPr>
          <p:spPr bwMode="auto">
            <a:xfrm>
              <a:off x="5512" y="2208"/>
              <a:ext cx="48" cy="64"/>
            </a:xfrm>
            <a:custGeom>
              <a:avLst/>
              <a:gdLst>
                <a:gd name="T0" fmla="*/ 2 w 64"/>
                <a:gd name="T1" fmla="*/ 0 h 64"/>
                <a:gd name="T2" fmla="*/ 0 w 64"/>
                <a:gd name="T3" fmla="*/ 63 h 64"/>
                <a:gd name="T4" fmla="*/ 2 w 64"/>
                <a:gd name="T5" fmla="*/ 63 h 64"/>
                <a:gd name="T6" fmla="*/ 2 w 64"/>
                <a:gd name="T7" fmla="*/ 0 h 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4"/>
                <a:gd name="T14" fmla="*/ 64 w 64"/>
                <a:gd name="T15" fmla="*/ 64 h 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4">
                  <a:moveTo>
                    <a:pt x="32" y="0"/>
                  </a:moveTo>
                  <a:lnTo>
                    <a:pt x="0" y="63"/>
                  </a:lnTo>
                  <a:lnTo>
                    <a:pt x="63" y="63"/>
                  </a:lnTo>
                  <a:lnTo>
                    <a:pt x="32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21" name="Line 111"/>
            <p:cNvSpPr>
              <a:spLocks noChangeShapeType="1"/>
            </p:cNvSpPr>
            <p:nvPr/>
          </p:nvSpPr>
          <p:spPr bwMode="auto">
            <a:xfrm>
              <a:off x="5167" y="2220"/>
              <a:ext cx="369" cy="19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22" name="Freeform 112"/>
            <p:cNvSpPr>
              <a:spLocks/>
            </p:cNvSpPr>
            <p:nvPr/>
          </p:nvSpPr>
          <p:spPr bwMode="auto">
            <a:xfrm>
              <a:off x="6354" y="2246"/>
              <a:ext cx="48" cy="64"/>
            </a:xfrm>
            <a:custGeom>
              <a:avLst/>
              <a:gdLst>
                <a:gd name="T0" fmla="*/ 2 w 64"/>
                <a:gd name="T1" fmla="*/ 0 h 64"/>
                <a:gd name="T2" fmla="*/ 0 w 64"/>
                <a:gd name="T3" fmla="*/ 63 h 64"/>
                <a:gd name="T4" fmla="*/ 2 w 64"/>
                <a:gd name="T5" fmla="*/ 63 h 64"/>
                <a:gd name="T6" fmla="*/ 2 w 64"/>
                <a:gd name="T7" fmla="*/ 0 h 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4"/>
                <a:gd name="T14" fmla="*/ 64 w 64"/>
                <a:gd name="T15" fmla="*/ 64 h 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4">
                  <a:moveTo>
                    <a:pt x="31" y="0"/>
                  </a:moveTo>
                  <a:lnTo>
                    <a:pt x="0" y="63"/>
                  </a:lnTo>
                  <a:lnTo>
                    <a:pt x="63" y="63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23" name="Line 113"/>
            <p:cNvSpPr>
              <a:spLocks noChangeShapeType="1"/>
            </p:cNvSpPr>
            <p:nvPr/>
          </p:nvSpPr>
          <p:spPr bwMode="auto">
            <a:xfrm>
              <a:off x="5536" y="2239"/>
              <a:ext cx="841" cy="39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24" name="Freeform 114"/>
            <p:cNvSpPr>
              <a:spLocks/>
            </p:cNvSpPr>
            <p:nvPr/>
          </p:nvSpPr>
          <p:spPr bwMode="auto">
            <a:xfrm>
              <a:off x="4915" y="2182"/>
              <a:ext cx="47" cy="63"/>
            </a:xfrm>
            <a:custGeom>
              <a:avLst/>
              <a:gdLst>
                <a:gd name="T0" fmla="*/ 1 w 64"/>
                <a:gd name="T1" fmla="*/ 0 h 63"/>
                <a:gd name="T2" fmla="*/ 0 w 64"/>
                <a:gd name="T3" fmla="*/ 62 h 63"/>
                <a:gd name="T4" fmla="*/ 1 w 64"/>
                <a:gd name="T5" fmla="*/ 62 h 63"/>
                <a:gd name="T6" fmla="*/ 1 w 64"/>
                <a:gd name="T7" fmla="*/ 0 h 6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3"/>
                <a:gd name="T14" fmla="*/ 64 w 64"/>
                <a:gd name="T15" fmla="*/ 63 h 6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3">
                  <a:moveTo>
                    <a:pt x="31" y="0"/>
                  </a:moveTo>
                  <a:lnTo>
                    <a:pt x="0" y="62"/>
                  </a:lnTo>
                  <a:lnTo>
                    <a:pt x="63" y="62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25" name="Freeform 115"/>
            <p:cNvSpPr>
              <a:spLocks/>
            </p:cNvSpPr>
            <p:nvPr/>
          </p:nvSpPr>
          <p:spPr bwMode="auto">
            <a:xfrm>
              <a:off x="5165" y="2145"/>
              <a:ext cx="47" cy="64"/>
            </a:xfrm>
            <a:custGeom>
              <a:avLst/>
              <a:gdLst>
                <a:gd name="T0" fmla="*/ 1 w 64"/>
                <a:gd name="T1" fmla="*/ 0 h 64"/>
                <a:gd name="T2" fmla="*/ 0 w 64"/>
                <a:gd name="T3" fmla="*/ 63 h 64"/>
                <a:gd name="T4" fmla="*/ 1 w 64"/>
                <a:gd name="T5" fmla="*/ 63 h 64"/>
                <a:gd name="T6" fmla="*/ 1 w 64"/>
                <a:gd name="T7" fmla="*/ 0 h 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4"/>
                <a:gd name="T14" fmla="*/ 64 w 64"/>
                <a:gd name="T15" fmla="*/ 64 h 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4">
                  <a:moveTo>
                    <a:pt x="32" y="0"/>
                  </a:moveTo>
                  <a:lnTo>
                    <a:pt x="0" y="63"/>
                  </a:lnTo>
                  <a:lnTo>
                    <a:pt x="63" y="63"/>
                  </a:lnTo>
                  <a:lnTo>
                    <a:pt x="32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26" name="Line 116"/>
            <p:cNvSpPr>
              <a:spLocks noChangeShapeType="1"/>
            </p:cNvSpPr>
            <p:nvPr/>
          </p:nvSpPr>
          <p:spPr bwMode="auto">
            <a:xfrm flipV="1">
              <a:off x="4938" y="2177"/>
              <a:ext cx="251" cy="36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27" name="Freeform 117"/>
            <p:cNvSpPr>
              <a:spLocks/>
            </p:cNvSpPr>
            <p:nvPr/>
          </p:nvSpPr>
          <p:spPr bwMode="auto">
            <a:xfrm>
              <a:off x="5466" y="2256"/>
              <a:ext cx="47" cy="64"/>
            </a:xfrm>
            <a:custGeom>
              <a:avLst/>
              <a:gdLst>
                <a:gd name="T0" fmla="*/ 1 w 63"/>
                <a:gd name="T1" fmla="*/ 0 h 64"/>
                <a:gd name="T2" fmla="*/ 0 w 63"/>
                <a:gd name="T3" fmla="*/ 63 h 64"/>
                <a:gd name="T4" fmla="*/ 1 w 63"/>
                <a:gd name="T5" fmla="*/ 63 h 64"/>
                <a:gd name="T6" fmla="*/ 1 w 63"/>
                <a:gd name="T7" fmla="*/ 0 h 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3"/>
                <a:gd name="T13" fmla="*/ 0 h 64"/>
                <a:gd name="T14" fmla="*/ 63 w 63"/>
                <a:gd name="T15" fmla="*/ 64 h 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3" h="64">
                  <a:moveTo>
                    <a:pt x="31" y="0"/>
                  </a:moveTo>
                  <a:lnTo>
                    <a:pt x="0" y="63"/>
                  </a:lnTo>
                  <a:lnTo>
                    <a:pt x="62" y="63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28" name="Line 118"/>
            <p:cNvSpPr>
              <a:spLocks noChangeShapeType="1"/>
            </p:cNvSpPr>
            <p:nvPr/>
          </p:nvSpPr>
          <p:spPr bwMode="auto">
            <a:xfrm>
              <a:off x="5189" y="2177"/>
              <a:ext cx="300" cy="110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29" name="Freeform 119"/>
            <p:cNvSpPr>
              <a:spLocks/>
            </p:cNvSpPr>
            <p:nvPr/>
          </p:nvSpPr>
          <p:spPr bwMode="auto">
            <a:xfrm>
              <a:off x="4915" y="2182"/>
              <a:ext cx="47" cy="63"/>
            </a:xfrm>
            <a:custGeom>
              <a:avLst/>
              <a:gdLst>
                <a:gd name="T0" fmla="*/ 1 w 64"/>
                <a:gd name="T1" fmla="*/ 0 h 63"/>
                <a:gd name="T2" fmla="*/ 0 w 64"/>
                <a:gd name="T3" fmla="*/ 62 h 63"/>
                <a:gd name="T4" fmla="*/ 1 w 64"/>
                <a:gd name="T5" fmla="*/ 62 h 63"/>
                <a:gd name="T6" fmla="*/ 1 w 64"/>
                <a:gd name="T7" fmla="*/ 0 h 6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3"/>
                <a:gd name="T14" fmla="*/ 64 w 64"/>
                <a:gd name="T15" fmla="*/ 63 h 6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3">
                  <a:moveTo>
                    <a:pt x="31" y="0"/>
                  </a:moveTo>
                  <a:lnTo>
                    <a:pt x="0" y="62"/>
                  </a:lnTo>
                  <a:lnTo>
                    <a:pt x="63" y="62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30" name="Freeform 120"/>
            <p:cNvSpPr>
              <a:spLocks/>
            </p:cNvSpPr>
            <p:nvPr/>
          </p:nvSpPr>
          <p:spPr bwMode="auto">
            <a:xfrm>
              <a:off x="5846" y="2292"/>
              <a:ext cx="47" cy="64"/>
            </a:xfrm>
            <a:custGeom>
              <a:avLst/>
              <a:gdLst>
                <a:gd name="T0" fmla="*/ 1 w 64"/>
                <a:gd name="T1" fmla="*/ 0 h 64"/>
                <a:gd name="T2" fmla="*/ 0 w 64"/>
                <a:gd name="T3" fmla="*/ 63 h 64"/>
                <a:gd name="T4" fmla="*/ 1 w 64"/>
                <a:gd name="T5" fmla="*/ 63 h 64"/>
                <a:gd name="T6" fmla="*/ 1 w 64"/>
                <a:gd name="T7" fmla="*/ 0 h 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4"/>
                <a:gd name="T14" fmla="*/ 64 w 64"/>
                <a:gd name="T15" fmla="*/ 64 h 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4">
                  <a:moveTo>
                    <a:pt x="32" y="0"/>
                  </a:moveTo>
                  <a:lnTo>
                    <a:pt x="0" y="63"/>
                  </a:lnTo>
                  <a:lnTo>
                    <a:pt x="63" y="63"/>
                  </a:lnTo>
                  <a:lnTo>
                    <a:pt x="32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31" name="Line 121"/>
            <p:cNvSpPr>
              <a:spLocks noChangeShapeType="1"/>
            </p:cNvSpPr>
            <p:nvPr/>
          </p:nvSpPr>
          <p:spPr bwMode="auto">
            <a:xfrm>
              <a:off x="4938" y="2213"/>
              <a:ext cx="931" cy="110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32" name="Freeform 122"/>
            <p:cNvSpPr>
              <a:spLocks/>
            </p:cNvSpPr>
            <p:nvPr/>
          </p:nvSpPr>
          <p:spPr bwMode="auto">
            <a:xfrm>
              <a:off x="6218" y="2323"/>
              <a:ext cx="47" cy="64"/>
            </a:xfrm>
            <a:custGeom>
              <a:avLst/>
              <a:gdLst>
                <a:gd name="T0" fmla="*/ 1 w 64"/>
                <a:gd name="T1" fmla="*/ 0 h 64"/>
                <a:gd name="T2" fmla="*/ 0 w 64"/>
                <a:gd name="T3" fmla="*/ 63 h 64"/>
                <a:gd name="T4" fmla="*/ 1 w 64"/>
                <a:gd name="T5" fmla="*/ 63 h 64"/>
                <a:gd name="T6" fmla="*/ 1 w 64"/>
                <a:gd name="T7" fmla="*/ 0 h 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4"/>
                <a:gd name="T14" fmla="*/ 64 w 64"/>
                <a:gd name="T15" fmla="*/ 64 h 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4">
                  <a:moveTo>
                    <a:pt x="32" y="0"/>
                  </a:moveTo>
                  <a:lnTo>
                    <a:pt x="0" y="63"/>
                  </a:lnTo>
                  <a:lnTo>
                    <a:pt x="63" y="63"/>
                  </a:lnTo>
                  <a:lnTo>
                    <a:pt x="32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33" name="Line 123"/>
            <p:cNvSpPr>
              <a:spLocks noChangeShapeType="1"/>
            </p:cNvSpPr>
            <p:nvPr/>
          </p:nvSpPr>
          <p:spPr bwMode="auto">
            <a:xfrm>
              <a:off x="5869" y="2323"/>
              <a:ext cx="373" cy="32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34" name="Freeform 124"/>
            <p:cNvSpPr>
              <a:spLocks/>
            </p:cNvSpPr>
            <p:nvPr/>
          </p:nvSpPr>
          <p:spPr bwMode="auto">
            <a:xfrm>
              <a:off x="6607" y="2280"/>
              <a:ext cx="47" cy="64"/>
            </a:xfrm>
            <a:custGeom>
              <a:avLst/>
              <a:gdLst>
                <a:gd name="T0" fmla="*/ 1 w 64"/>
                <a:gd name="T1" fmla="*/ 0 h 64"/>
                <a:gd name="T2" fmla="*/ 0 w 64"/>
                <a:gd name="T3" fmla="*/ 63 h 64"/>
                <a:gd name="T4" fmla="*/ 1 w 64"/>
                <a:gd name="T5" fmla="*/ 63 h 64"/>
                <a:gd name="T6" fmla="*/ 1 w 64"/>
                <a:gd name="T7" fmla="*/ 0 h 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4"/>
                <a:gd name="T14" fmla="*/ 64 w 64"/>
                <a:gd name="T15" fmla="*/ 64 h 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4">
                  <a:moveTo>
                    <a:pt x="31" y="0"/>
                  </a:moveTo>
                  <a:lnTo>
                    <a:pt x="0" y="63"/>
                  </a:lnTo>
                  <a:lnTo>
                    <a:pt x="63" y="63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35" name="Line 125"/>
            <p:cNvSpPr>
              <a:spLocks noChangeShapeType="1"/>
            </p:cNvSpPr>
            <p:nvPr/>
          </p:nvSpPr>
          <p:spPr bwMode="auto">
            <a:xfrm flipV="1">
              <a:off x="6242" y="2311"/>
              <a:ext cx="388" cy="44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36" name="Freeform 126"/>
            <p:cNvSpPr>
              <a:spLocks/>
            </p:cNvSpPr>
            <p:nvPr/>
          </p:nvSpPr>
          <p:spPr bwMode="auto">
            <a:xfrm>
              <a:off x="4915" y="2182"/>
              <a:ext cx="47" cy="63"/>
            </a:xfrm>
            <a:custGeom>
              <a:avLst/>
              <a:gdLst>
                <a:gd name="T0" fmla="*/ 1 w 64"/>
                <a:gd name="T1" fmla="*/ 0 h 63"/>
                <a:gd name="T2" fmla="*/ 0 w 64"/>
                <a:gd name="T3" fmla="*/ 62 h 63"/>
                <a:gd name="T4" fmla="*/ 1 w 64"/>
                <a:gd name="T5" fmla="*/ 62 h 63"/>
                <a:gd name="T6" fmla="*/ 1 w 64"/>
                <a:gd name="T7" fmla="*/ 0 h 6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3"/>
                <a:gd name="T14" fmla="*/ 64 w 64"/>
                <a:gd name="T15" fmla="*/ 63 h 6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3">
                  <a:moveTo>
                    <a:pt x="31" y="0"/>
                  </a:moveTo>
                  <a:lnTo>
                    <a:pt x="0" y="62"/>
                  </a:lnTo>
                  <a:lnTo>
                    <a:pt x="63" y="62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37" name="Freeform 127"/>
            <p:cNvSpPr>
              <a:spLocks/>
            </p:cNvSpPr>
            <p:nvPr/>
          </p:nvSpPr>
          <p:spPr bwMode="auto">
            <a:xfrm>
              <a:off x="5409" y="2268"/>
              <a:ext cx="47" cy="64"/>
            </a:xfrm>
            <a:custGeom>
              <a:avLst/>
              <a:gdLst>
                <a:gd name="T0" fmla="*/ 1 w 64"/>
                <a:gd name="T1" fmla="*/ 0 h 64"/>
                <a:gd name="T2" fmla="*/ 0 w 64"/>
                <a:gd name="T3" fmla="*/ 63 h 64"/>
                <a:gd name="T4" fmla="*/ 1 w 64"/>
                <a:gd name="T5" fmla="*/ 63 h 64"/>
                <a:gd name="T6" fmla="*/ 1 w 64"/>
                <a:gd name="T7" fmla="*/ 0 h 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4"/>
                <a:gd name="T14" fmla="*/ 64 w 64"/>
                <a:gd name="T15" fmla="*/ 64 h 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4">
                  <a:moveTo>
                    <a:pt x="32" y="0"/>
                  </a:moveTo>
                  <a:lnTo>
                    <a:pt x="0" y="63"/>
                  </a:lnTo>
                  <a:lnTo>
                    <a:pt x="63" y="63"/>
                  </a:lnTo>
                  <a:lnTo>
                    <a:pt x="32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38" name="Line 128"/>
            <p:cNvSpPr>
              <a:spLocks noChangeShapeType="1"/>
            </p:cNvSpPr>
            <p:nvPr/>
          </p:nvSpPr>
          <p:spPr bwMode="auto">
            <a:xfrm>
              <a:off x="4938" y="2213"/>
              <a:ext cx="494" cy="86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39" name="Freeform 129"/>
            <p:cNvSpPr>
              <a:spLocks/>
            </p:cNvSpPr>
            <p:nvPr/>
          </p:nvSpPr>
          <p:spPr bwMode="auto">
            <a:xfrm>
              <a:off x="5649" y="2287"/>
              <a:ext cx="47" cy="64"/>
            </a:xfrm>
            <a:custGeom>
              <a:avLst/>
              <a:gdLst>
                <a:gd name="T0" fmla="*/ 1 w 64"/>
                <a:gd name="T1" fmla="*/ 0 h 64"/>
                <a:gd name="T2" fmla="*/ 0 w 64"/>
                <a:gd name="T3" fmla="*/ 63 h 64"/>
                <a:gd name="T4" fmla="*/ 1 w 64"/>
                <a:gd name="T5" fmla="*/ 63 h 64"/>
                <a:gd name="T6" fmla="*/ 1 w 64"/>
                <a:gd name="T7" fmla="*/ 0 h 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4"/>
                <a:gd name="T14" fmla="*/ 64 w 64"/>
                <a:gd name="T15" fmla="*/ 64 h 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4">
                  <a:moveTo>
                    <a:pt x="32" y="0"/>
                  </a:moveTo>
                  <a:lnTo>
                    <a:pt x="0" y="63"/>
                  </a:lnTo>
                  <a:lnTo>
                    <a:pt x="63" y="63"/>
                  </a:lnTo>
                  <a:lnTo>
                    <a:pt x="32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40" name="Line 130"/>
            <p:cNvSpPr>
              <a:spLocks noChangeShapeType="1"/>
            </p:cNvSpPr>
            <p:nvPr/>
          </p:nvSpPr>
          <p:spPr bwMode="auto">
            <a:xfrm>
              <a:off x="5432" y="2299"/>
              <a:ext cx="240" cy="20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41" name="Freeform 131"/>
            <p:cNvSpPr>
              <a:spLocks/>
            </p:cNvSpPr>
            <p:nvPr/>
          </p:nvSpPr>
          <p:spPr bwMode="auto">
            <a:xfrm>
              <a:off x="6774" y="2331"/>
              <a:ext cx="46" cy="63"/>
            </a:xfrm>
            <a:custGeom>
              <a:avLst/>
              <a:gdLst>
                <a:gd name="T0" fmla="*/ 1 w 63"/>
                <a:gd name="T1" fmla="*/ 0 h 63"/>
                <a:gd name="T2" fmla="*/ 0 w 63"/>
                <a:gd name="T3" fmla="*/ 62 h 63"/>
                <a:gd name="T4" fmla="*/ 1 w 63"/>
                <a:gd name="T5" fmla="*/ 62 h 63"/>
                <a:gd name="T6" fmla="*/ 1 w 63"/>
                <a:gd name="T7" fmla="*/ 0 h 6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3"/>
                <a:gd name="T13" fmla="*/ 0 h 63"/>
                <a:gd name="T14" fmla="*/ 63 w 63"/>
                <a:gd name="T15" fmla="*/ 63 h 6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3" h="63">
                  <a:moveTo>
                    <a:pt x="31" y="0"/>
                  </a:moveTo>
                  <a:lnTo>
                    <a:pt x="0" y="62"/>
                  </a:lnTo>
                  <a:lnTo>
                    <a:pt x="62" y="62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42" name="Line 132"/>
            <p:cNvSpPr>
              <a:spLocks noChangeShapeType="1"/>
            </p:cNvSpPr>
            <p:nvPr/>
          </p:nvSpPr>
          <p:spPr bwMode="auto">
            <a:xfrm>
              <a:off x="5672" y="2319"/>
              <a:ext cx="1124" cy="43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43" name="Freeform 133"/>
            <p:cNvSpPr>
              <a:spLocks/>
            </p:cNvSpPr>
            <p:nvPr/>
          </p:nvSpPr>
          <p:spPr bwMode="auto">
            <a:xfrm>
              <a:off x="4915" y="2182"/>
              <a:ext cx="47" cy="63"/>
            </a:xfrm>
            <a:custGeom>
              <a:avLst/>
              <a:gdLst>
                <a:gd name="T0" fmla="*/ 1 w 64"/>
                <a:gd name="T1" fmla="*/ 0 h 63"/>
                <a:gd name="T2" fmla="*/ 0 w 64"/>
                <a:gd name="T3" fmla="*/ 62 h 63"/>
                <a:gd name="T4" fmla="*/ 1 w 64"/>
                <a:gd name="T5" fmla="*/ 62 h 63"/>
                <a:gd name="T6" fmla="*/ 1 w 64"/>
                <a:gd name="T7" fmla="*/ 0 h 6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3"/>
                <a:gd name="T14" fmla="*/ 64 w 64"/>
                <a:gd name="T15" fmla="*/ 63 h 6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3">
                  <a:moveTo>
                    <a:pt x="31" y="0"/>
                  </a:moveTo>
                  <a:lnTo>
                    <a:pt x="0" y="62"/>
                  </a:lnTo>
                  <a:lnTo>
                    <a:pt x="63" y="62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44" name="Freeform 134"/>
            <p:cNvSpPr>
              <a:spLocks/>
            </p:cNvSpPr>
            <p:nvPr/>
          </p:nvSpPr>
          <p:spPr bwMode="auto">
            <a:xfrm>
              <a:off x="5176" y="2218"/>
              <a:ext cx="48" cy="63"/>
            </a:xfrm>
            <a:custGeom>
              <a:avLst/>
              <a:gdLst>
                <a:gd name="T0" fmla="*/ 2 w 64"/>
                <a:gd name="T1" fmla="*/ 0 h 63"/>
                <a:gd name="T2" fmla="*/ 0 w 64"/>
                <a:gd name="T3" fmla="*/ 62 h 63"/>
                <a:gd name="T4" fmla="*/ 2 w 64"/>
                <a:gd name="T5" fmla="*/ 62 h 63"/>
                <a:gd name="T6" fmla="*/ 2 w 64"/>
                <a:gd name="T7" fmla="*/ 0 h 6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3"/>
                <a:gd name="T14" fmla="*/ 64 w 64"/>
                <a:gd name="T15" fmla="*/ 63 h 6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3">
                  <a:moveTo>
                    <a:pt x="31" y="0"/>
                  </a:moveTo>
                  <a:lnTo>
                    <a:pt x="0" y="62"/>
                  </a:lnTo>
                  <a:lnTo>
                    <a:pt x="63" y="62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45" name="Line 135"/>
            <p:cNvSpPr>
              <a:spLocks noChangeShapeType="1"/>
            </p:cNvSpPr>
            <p:nvPr/>
          </p:nvSpPr>
          <p:spPr bwMode="auto">
            <a:xfrm>
              <a:off x="4938" y="2213"/>
              <a:ext cx="261" cy="36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46" name="Freeform 136"/>
            <p:cNvSpPr>
              <a:spLocks/>
            </p:cNvSpPr>
            <p:nvPr/>
          </p:nvSpPr>
          <p:spPr bwMode="auto">
            <a:xfrm>
              <a:off x="5418" y="2182"/>
              <a:ext cx="47" cy="63"/>
            </a:xfrm>
            <a:custGeom>
              <a:avLst/>
              <a:gdLst>
                <a:gd name="T0" fmla="*/ 1 w 64"/>
                <a:gd name="T1" fmla="*/ 0 h 63"/>
                <a:gd name="T2" fmla="*/ 0 w 64"/>
                <a:gd name="T3" fmla="*/ 62 h 63"/>
                <a:gd name="T4" fmla="*/ 1 w 64"/>
                <a:gd name="T5" fmla="*/ 62 h 63"/>
                <a:gd name="T6" fmla="*/ 1 w 64"/>
                <a:gd name="T7" fmla="*/ 0 h 6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3"/>
                <a:gd name="T14" fmla="*/ 64 w 64"/>
                <a:gd name="T15" fmla="*/ 63 h 6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3">
                  <a:moveTo>
                    <a:pt x="32" y="0"/>
                  </a:moveTo>
                  <a:lnTo>
                    <a:pt x="0" y="62"/>
                  </a:lnTo>
                  <a:lnTo>
                    <a:pt x="63" y="62"/>
                  </a:lnTo>
                  <a:lnTo>
                    <a:pt x="32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47" name="Line 137"/>
            <p:cNvSpPr>
              <a:spLocks noChangeShapeType="1"/>
            </p:cNvSpPr>
            <p:nvPr/>
          </p:nvSpPr>
          <p:spPr bwMode="auto">
            <a:xfrm flipV="1">
              <a:off x="5199" y="2213"/>
              <a:ext cx="242" cy="36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48" name="Freeform 138"/>
            <p:cNvSpPr>
              <a:spLocks/>
            </p:cNvSpPr>
            <p:nvPr/>
          </p:nvSpPr>
          <p:spPr bwMode="auto">
            <a:xfrm>
              <a:off x="4915" y="2182"/>
              <a:ext cx="47" cy="63"/>
            </a:xfrm>
            <a:custGeom>
              <a:avLst/>
              <a:gdLst>
                <a:gd name="T0" fmla="*/ 1 w 64"/>
                <a:gd name="T1" fmla="*/ 0 h 63"/>
                <a:gd name="T2" fmla="*/ 0 w 64"/>
                <a:gd name="T3" fmla="*/ 62 h 63"/>
                <a:gd name="T4" fmla="*/ 1 w 64"/>
                <a:gd name="T5" fmla="*/ 62 h 63"/>
                <a:gd name="T6" fmla="*/ 1 w 64"/>
                <a:gd name="T7" fmla="*/ 0 h 6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3"/>
                <a:gd name="T14" fmla="*/ 64 w 64"/>
                <a:gd name="T15" fmla="*/ 63 h 6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3">
                  <a:moveTo>
                    <a:pt x="31" y="0"/>
                  </a:moveTo>
                  <a:lnTo>
                    <a:pt x="0" y="62"/>
                  </a:lnTo>
                  <a:lnTo>
                    <a:pt x="63" y="62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49" name="Freeform 139"/>
            <p:cNvSpPr>
              <a:spLocks/>
            </p:cNvSpPr>
            <p:nvPr/>
          </p:nvSpPr>
          <p:spPr bwMode="auto">
            <a:xfrm>
              <a:off x="5232" y="2215"/>
              <a:ext cx="47" cy="64"/>
            </a:xfrm>
            <a:custGeom>
              <a:avLst/>
              <a:gdLst>
                <a:gd name="T0" fmla="*/ 1 w 64"/>
                <a:gd name="T1" fmla="*/ 0 h 64"/>
                <a:gd name="T2" fmla="*/ 0 w 64"/>
                <a:gd name="T3" fmla="*/ 63 h 64"/>
                <a:gd name="T4" fmla="*/ 1 w 64"/>
                <a:gd name="T5" fmla="*/ 63 h 64"/>
                <a:gd name="T6" fmla="*/ 1 w 64"/>
                <a:gd name="T7" fmla="*/ 0 h 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4"/>
                <a:gd name="T14" fmla="*/ 64 w 64"/>
                <a:gd name="T15" fmla="*/ 64 h 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4">
                  <a:moveTo>
                    <a:pt x="31" y="0"/>
                  </a:moveTo>
                  <a:lnTo>
                    <a:pt x="0" y="63"/>
                  </a:lnTo>
                  <a:lnTo>
                    <a:pt x="63" y="63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50" name="Line 140"/>
            <p:cNvSpPr>
              <a:spLocks noChangeShapeType="1"/>
            </p:cNvSpPr>
            <p:nvPr/>
          </p:nvSpPr>
          <p:spPr bwMode="auto">
            <a:xfrm>
              <a:off x="4938" y="2213"/>
              <a:ext cx="317" cy="33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51" name="Freeform 141"/>
            <p:cNvSpPr>
              <a:spLocks/>
            </p:cNvSpPr>
            <p:nvPr/>
          </p:nvSpPr>
          <p:spPr bwMode="auto">
            <a:xfrm>
              <a:off x="5310" y="2172"/>
              <a:ext cx="48" cy="63"/>
            </a:xfrm>
            <a:custGeom>
              <a:avLst/>
              <a:gdLst>
                <a:gd name="T0" fmla="*/ 2 w 64"/>
                <a:gd name="T1" fmla="*/ 0 h 63"/>
                <a:gd name="T2" fmla="*/ 0 w 64"/>
                <a:gd name="T3" fmla="*/ 62 h 63"/>
                <a:gd name="T4" fmla="*/ 2 w 64"/>
                <a:gd name="T5" fmla="*/ 62 h 63"/>
                <a:gd name="T6" fmla="*/ 2 w 64"/>
                <a:gd name="T7" fmla="*/ 0 h 6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3"/>
                <a:gd name="T14" fmla="*/ 64 w 64"/>
                <a:gd name="T15" fmla="*/ 63 h 6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3">
                  <a:moveTo>
                    <a:pt x="32" y="0"/>
                  </a:moveTo>
                  <a:lnTo>
                    <a:pt x="0" y="62"/>
                  </a:lnTo>
                  <a:lnTo>
                    <a:pt x="63" y="62"/>
                  </a:lnTo>
                  <a:lnTo>
                    <a:pt x="32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52" name="Line 142"/>
            <p:cNvSpPr>
              <a:spLocks noChangeShapeType="1"/>
            </p:cNvSpPr>
            <p:nvPr/>
          </p:nvSpPr>
          <p:spPr bwMode="auto">
            <a:xfrm flipV="1">
              <a:off x="5255" y="2203"/>
              <a:ext cx="79" cy="43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53" name="Freeform 143"/>
            <p:cNvSpPr>
              <a:spLocks/>
            </p:cNvSpPr>
            <p:nvPr/>
          </p:nvSpPr>
          <p:spPr bwMode="auto">
            <a:xfrm>
              <a:off x="5522" y="2179"/>
              <a:ext cx="47" cy="64"/>
            </a:xfrm>
            <a:custGeom>
              <a:avLst/>
              <a:gdLst>
                <a:gd name="T0" fmla="*/ 1 w 63"/>
                <a:gd name="T1" fmla="*/ 0 h 64"/>
                <a:gd name="T2" fmla="*/ 0 w 63"/>
                <a:gd name="T3" fmla="*/ 63 h 64"/>
                <a:gd name="T4" fmla="*/ 1 w 63"/>
                <a:gd name="T5" fmla="*/ 63 h 64"/>
                <a:gd name="T6" fmla="*/ 1 w 63"/>
                <a:gd name="T7" fmla="*/ 0 h 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3"/>
                <a:gd name="T13" fmla="*/ 0 h 64"/>
                <a:gd name="T14" fmla="*/ 63 w 63"/>
                <a:gd name="T15" fmla="*/ 64 h 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3" h="64">
                  <a:moveTo>
                    <a:pt x="31" y="0"/>
                  </a:moveTo>
                  <a:lnTo>
                    <a:pt x="0" y="63"/>
                  </a:lnTo>
                  <a:lnTo>
                    <a:pt x="62" y="63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54" name="Line 144"/>
            <p:cNvSpPr>
              <a:spLocks noChangeShapeType="1"/>
            </p:cNvSpPr>
            <p:nvPr/>
          </p:nvSpPr>
          <p:spPr bwMode="auto">
            <a:xfrm>
              <a:off x="5334" y="2203"/>
              <a:ext cx="211" cy="7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55" name="Freeform 145"/>
            <p:cNvSpPr>
              <a:spLocks/>
            </p:cNvSpPr>
            <p:nvPr/>
          </p:nvSpPr>
          <p:spPr bwMode="auto">
            <a:xfrm>
              <a:off x="5752" y="2242"/>
              <a:ext cx="48" cy="63"/>
            </a:xfrm>
            <a:custGeom>
              <a:avLst/>
              <a:gdLst>
                <a:gd name="T0" fmla="*/ 2 w 64"/>
                <a:gd name="T1" fmla="*/ 0 h 63"/>
                <a:gd name="T2" fmla="*/ 0 w 64"/>
                <a:gd name="T3" fmla="*/ 62 h 63"/>
                <a:gd name="T4" fmla="*/ 2 w 64"/>
                <a:gd name="T5" fmla="*/ 62 h 63"/>
                <a:gd name="T6" fmla="*/ 2 w 64"/>
                <a:gd name="T7" fmla="*/ 0 h 6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3"/>
                <a:gd name="T14" fmla="*/ 64 w 64"/>
                <a:gd name="T15" fmla="*/ 63 h 6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3">
                  <a:moveTo>
                    <a:pt x="32" y="0"/>
                  </a:moveTo>
                  <a:lnTo>
                    <a:pt x="0" y="62"/>
                  </a:lnTo>
                  <a:lnTo>
                    <a:pt x="63" y="62"/>
                  </a:lnTo>
                  <a:lnTo>
                    <a:pt x="32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56" name="Line 146"/>
            <p:cNvSpPr>
              <a:spLocks noChangeShapeType="1"/>
            </p:cNvSpPr>
            <p:nvPr/>
          </p:nvSpPr>
          <p:spPr bwMode="auto">
            <a:xfrm>
              <a:off x="5545" y="2210"/>
              <a:ext cx="231" cy="63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57" name="Freeform 147"/>
            <p:cNvSpPr>
              <a:spLocks/>
            </p:cNvSpPr>
            <p:nvPr/>
          </p:nvSpPr>
          <p:spPr bwMode="auto">
            <a:xfrm>
              <a:off x="4915" y="2182"/>
              <a:ext cx="47" cy="63"/>
            </a:xfrm>
            <a:custGeom>
              <a:avLst/>
              <a:gdLst>
                <a:gd name="T0" fmla="*/ 1 w 64"/>
                <a:gd name="T1" fmla="*/ 0 h 63"/>
                <a:gd name="T2" fmla="*/ 0 w 64"/>
                <a:gd name="T3" fmla="*/ 62 h 63"/>
                <a:gd name="T4" fmla="*/ 1 w 64"/>
                <a:gd name="T5" fmla="*/ 62 h 63"/>
                <a:gd name="T6" fmla="*/ 1 w 64"/>
                <a:gd name="T7" fmla="*/ 0 h 6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3"/>
                <a:gd name="T14" fmla="*/ 64 w 64"/>
                <a:gd name="T15" fmla="*/ 63 h 6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3">
                  <a:moveTo>
                    <a:pt x="31" y="0"/>
                  </a:moveTo>
                  <a:lnTo>
                    <a:pt x="0" y="62"/>
                  </a:lnTo>
                  <a:lnTo>
                    <a:pt x="63" y="62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58" name="Freeform 148"/>
            <p:cNvSpPr>
              <a:spLocks/>
            </p:cNvSpPr>
            <p:nvPr/>
          </p:nvSpPr>
          <p:spPr bwMode="auto">
            <a:xfrm>
              <a:off x="5165" y="2179"/>
              <a:ext cx="47" cy="64"/>
            </a:xfrm>
            <a:custGeom>
              <a:avLst/>
              <a:gdLst>
                <a:gd name="T0" fmla="*/ 1 w 64"/>
                <a:gd name="T1" fmla="*/ 0 h 64"/>
                <a:gd name="T2" fmla="*/ 0 w 64"/>
                <a:gd name="T3" fmla="*/ 63 h 64"/>
                <a:gd name="T4" fmla="*/ 1 w 64"/>
                <a:gd name="T5" fmla="*/ 63 h 64"/>
                <a:gd name="T6" fmla="*/ 1 w 64"/>
                <a:gd name="T7" fmla="*/ 0 h 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4"/>
                <a:gd name="T14" fmla="*/ 64 w 64"/>
                <a:gd name="T15" fmla="*/ 64 h 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4">
                  <a:moveTo>
                    <a:pt x="32" y="0"/>
                  </a:moveTo>
                  <a:lnTo>
                    <a:pt x="0" y="63"/>
                  </a:lnTo>
                  <a:lnTo>
                    <a:pt x="63" y="63"/>
                  </a:lnTo>
                  <a:lnTo>
                    <a:pt x="32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59" name="Line 149"/>
            <p:cNvSpPr>
              <a:spLocks noChangeShapeType="1"/>
            </p:cNvSpPr>
            <p:nvPr/>
          </p:nvSpPr>
          <p:spPr bwMode="auto">
            <a:xfrm flipV="1">
              <a:off x="4938" y="2210"/>
              <a:ext cx="251" cy="3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60" name="Freeform 150"/>
            <p:cNvSpPr>
              <a:spLocks/>
            </p:cNvSpPr>
            <p:nvPr/>
          </p:nvSpPr>
          <p:spPr bwMode="auto">
            <a:xfrm>
              <a:off x="5425" y="2225"/>
              <a:ext cx="47" cy="63"/>
            </a:xfrm>
            <a:custGeom>
              <a:avLst/>
              <a:gdLst>
                <a:gd name="T0" fmla="*/ 1 w 64"/>
                <a:gd name="T1" fmla="*/ 0 h 63"/>
                <a:gd name="T2" fmla="*/ 0 w 64"/>
                <a:gd name="T3" fmla="*/ 62 h 63"/>
                <a:gd name="T4" fmla="*/ 1 w 64"/>
                <a:gd name="T5" fmla="*/ 62 h 63"/>
                <a:gd name="T6" fmla="*/ 1 w 64"/>
                <a:gd name="T7" fmla="*/ 0 h 6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3"/>
                <a:gd name="T14" fmla="*/ 64 w 64"/>
                <a:gd name="T15" fmla="*/ 63 h 6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3">
                  <a:moveTo>
                    <a:pt x="31" y="0"/>
                  </a:moveTo>
                  <a:lnTo>
                    <a:pt x="0" y="62"/>
                  </a:lnTo>
                  <a:lnTo>
                    <a:pt x="63" y="62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61" name="Line 151"/>
            <p:cNvSpPr>
              <a:spLocks noChangeShapeType="1"/>
            </p:cNvSpPr>
            <p:nvPr/>
          </p:nvSpPr>
          <p:spPr bwMode="auto">
            <a:xfrm>
              <a:off x="5189" y="2210"/>
              <a:ext cx="259" cy="46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62" name="Freeform 152"/>
            <p:cNvSpPr>
              <a:spLocks/>
            </p:cNvSpPr>
            <p:nvPr/>
          </p:nvSpPr>
          <p:spPr bwMode="auto">
            <a:xfrm>
              <a:off x="4915" y="2182"/>
              <a:ext cx="47" cy="63"/>
            </a:xfrm>
            <a:custGeom>
              <a:avLst/>
              <a:gdLst>
                <a:gd name="T0" fmla="*/ 1 w 64"/>
                <a:gd name="T1" fmla="*/ 0 h 63"/>
                <a:gd name="T2" fmla="*/ 0 w 64"/>
                <a:gd name="T3" fmla="*/ 62 h 63"/>
                <a:gd name="T4" fmla="*/ 1 w 64"/>
                <a:gd name="T5" fmla="*/ 62 h 63"/>
                <a:gd name="T6" fmla="*/ 1 w 64"/>
                <a:gd name="T7" fmla="*/ 0 h 6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3"/>
                <a:gd name="T14" fmla="*/ 64 w 64"/>
                <a:gd name="T15" fmla="*/ 63 h 6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3">
                  <a:moveTo>
                    <a:pt x="31" y="0"/>
                  </a:moveTo>
                  <a:lnTo>
                    <a:pt x="0" y="62"/>
                  </a:lnTo>
                  <a:lnTo>
                    <a:pt x="63" y="62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63" name="Freeform 153"/>
            <p:cNvSpPr>
              <a:spLocks/>
            </p:cNvSpPr>
            <p:nvPr/>
          </p:nvSpPr>
          <p:spPr bwMode="auto">
            <a:xfrm>
              <a:off x="5207" y="2194"/>
              <a:ext cx="47" cy="63"/>
            </a:xfrm>
            <a:custGeom>
              <a:avLst/>
              <a:gdLst>
                <a:gd name="T0" fmla="*/ 1 w 64"/>
                <a:gd name="T1" fmla="*/ 0 h 63"/>
                <a:gd name="T2" fmla="*/ 0 w 64"/>
                <a:gd name="T3" fmla="*/ 62 h 63"/>
                <a:gd name="T4" fmla="*/ 1 w 64"/>
                <a:gd name="T5" fmla="*/ 62 h 63"/>
                <a:gd name="T6" fmla="*/ 1 w 64"/>
                <a:gd name="T7" fmla="*/ 0 h 6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3"/>
                <a:gd name="T14" fmla="*/ 64 w 64"/>
                <a:gd name="T15" fmla="*/ 63 h 6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3">
                  <a:moveTo>
                    <a:pt x="31" y="0"/>
                  </a:moveTo>
                  <a:lnTo>
                    <a:pt x="0" y="62"/>
                  </a:lnTo>
                  <a:lnTo>
                    <a:pt x="63" y="62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64" name="Line 154"/>
            <p:cNvSpPr>
              <a:spLocks noChangeShapeType="1"/>
            </p:cNvSpPr>
            <p:nvPr/>
          </p:nvSpPr>
          <p:spPr bwMode="auto">
            <a:xfrm>
              <a:off x="4938" y="2213"/>
              <a:ext cx="291" cy="12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65" name="Freeform 155"/>
            <p:cNvSpPr>
              <a:spLocks/>
            </p:cNvSpPr>
            <p:nvPr/>
          </p:nvSpPr>
          <p:spPr bwMode="auto">
            <a:xfrm>
              <a:off x="5458" y="2249"/>
              <a:ext cx="46" cy="63"/>
            </a:xfrm>
            <a:custGeom>
              <a:avLst/>
              <a:gdLst>
                <a:gd name="T0" fmla="*/ 1 w 63"/>
                <a:gd name="T1" fmla="*/ 0 h 63"/>
                <a:gd name="T2" fmla="*/ 0 w 63"/>
                <a:gd name="T3" fmla="*/ 62 h 63"/>
                <a:gd name="T4" fmla="*/ 1 w 63"/>
                <a:gd name="T5" fmla="*/ 62 h 63"/>
                <a:gd name="T6" fmla="*/ 1 w 63"/>
                <a:gd name="T7" fmla="*/ 0 h 6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3"/>
                <a:gd name="T13" fmla="*/ 0 h 63"/>
                <a:gd name="T14" fmla="*/ 63 w 63"/>
                <a:gd name="T15" fmla="*/ 63 h 6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3" h="63">
                  <a:moveTo>
                    <a:pt x="31" y="0"/>
                  </a:moveTo>
                  <a:lnTo>
                    <a:pt x="0" y="62"/>
                  </a:lnTo>
                  <a:lnTo>
                    <a:pt x="62" y="62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66" name="Line 156"/>
            <p:cNvSpPr>
              <a:spLocks noChangeShapeType="1"/>
            </p:cNvSpPr>
            <p:nvPr/>
          </p:nvSpPr>
          <p:spPr bwMode="auto">
            <a:xfrm>
              <a:off x="5229" y="2225"/>
              <a:ext cx="252" cy="55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67" name="Freeform 157"/>
            <p:cNvSpPr>
              <a:spLocks/>
            </p:cNvSpPr>
            <p:nvPr/>
          </p:nvSpPr>
          <p:spPr bwMode="auto">
            <a:xfrm>
              <a:off x="6304" y="2321"/>
              <a:ext cx="47" cy="64"/>
            </a:xfrm>
            <a:custGeom>
              <a:avLst/>
              <a:gdLst>
                <a:gd name="T0" fmla="*/ 1 w 64"/>
                <a:gd name="T1" fmla="*/ 0 h 64"/>
                <a:gd name="T2" fmla="*/ 0 w 64"/>
                <a:gd name="T3" fmla="*/ 63 h 64"/>
                <a:gd name="T4" fmla="*/ 1 w 64"/>
                <a:gd name="T5" fmla="*/ 63 h 64"/>
                <a:gd name="T6" fmla="*/ 1 w 64"/>
                <a:gd name="T7" fmla="*/ 0 h 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4"/>
                <a:gd name="T14" fmla="*/ 64 w 64"/>
                <a:gd name="T15" fmla="*/ 64 h 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4">
                  <a:moveTo>
                    <a:pt x="32" y="0"/>
                  </a:moveTo>
                  <a:lnTo>
                    <a:pt x="0" y="63"/>
                  </a:lnTo>
                  <a:lnTo>
                    <a:pt x="63" y="63"/>
                  </a:lnTo>
                  <a:lnTo>
                    <a:pt x="32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68" name="Line 158"/>
            <p:cNvSpPr>
              <a:spLocks noChangeShapeType="1"/>
            </p:cNvSpPr>
            <p:nvPr/>
          </p:nvSpPr>
          <p:spPr bwMode="auto">
            <a:xfrm>
              <a:off x="5481" y="2280"/>
              <a:ext cx="847" cy="72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69" name="Freeform 159"/>
            <p:cNvSpPr>
              <a:spLocks/>
            </p:cNvSpPr>
            <p:nvPr/>
          </p:nvSpPr>
          <p:spPr bwMode="auto">
            <a:xfrm>
              <a:off x="4915" y="2182"/>
              <a:ext cx="47" cy="63"/>
            </a:xfrm>
            <a:custGeom>
              <a:avLst/>
              <a:gdLst>
                <a:gd name="T0" fmla="*/ 1 w 64"/>
                <a:gd name="T1" fmla="*/ 0 h 63"/>
                <a:gd name="T2" fmla="*/ 0 w 64"/>
                <a:gd name="T3" fmla="*/ 62 h 63"/>
                <a:gd name="T4" fmla="*/ 1 w 64"/>
                <a:gd name="T5" fmla="*/ 62 h 63"/>
                <a:gd name="T6" fmla="*/ 1 w 64"/>
                <a:gd name="T7" fmla="*/ 0 h 6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3"/>
                <a:gd name="T14" fmla="*/ 64 w 64"/>
                <a:gd name="T15" fmla="*/ 63 h 6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3">
                  <a:moveTo>
                    <a:pt x="31" y="0"/>
                  </a:moveTo>
                  <a:lnTo>
                    <a:pt x="0" y="62"/>
                  </a:lnTo>
                  <a:lnTo>
                    <a:pt x="63" y="62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70" name="Freeform 160"/>
            <p:cNvSpPr>
              <a:spLocks/>
            </p:cNvSpPr>
            <p:nvPr/>
          </p:nvSpPr>
          <p:spPr bwMode="auto">
            <a:xfrm>
              <a:off x="5325" y="2239"/>
              <a:ext cx="47" cy="64"/>
            </a:xfrm>
            <a:custGeom>
              <a:avLst/>
              <a:gdLst>
                <a:gd name="T0" fmla="*/ 1 w 63"/>
                <a:gd name="T1" fmla="*/ 0 h 64"/>
                <a:gd name="T2" fmla="*/ 0 w 63"/>
                <a:gd name="T3" fmla="*/ 63 h 64"/>
                <a:gd name="T4" fmla="*/ 1 w 63"/>
                <a:gd name="T5" fmla="*/ 63 h 64"/>
                <a:gd name="T6" fmla="*/ 1 w 63"/>
                <a:gd name="T7" fmla="*/ 0 h 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3"/>
                <a:gd name="T13" fmla="*/ 0 h 64"/>
                <a:gd name="T14" fmla="*/ 63 w 63"/>
                <a:gd name="T15" fmla="*/ 64 h 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3" h="64">
                  <a:moveTo>
                    <a:pt x="31" y="0"/>
                  </a:moveTo>
                  <a:lnTo>
                    <a:pt x="0" y="63"/>
                  </a:lnTo>
                  <a:lnTo>
                    <a:pt x="62" y="63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71" name="Line 161"/>
            <p:cNvSpPr>
              <a:spLocks noChangeShapeType="1"/>
            </p:cNvSpPr>
            <p:nvPr/>
          </p:nvSpPr>
          <p:spPr bwMode="auto">
            <a:xfrm>
              <a:off x="4938" y="2213"/>
              <a:ext cx="410" cy="58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72" name="Freeform 162"/>
            <p:cNvSpPr>
              <a:spLocks/>
            </p:cNvSpPr>
            <p:nvPr/>
          </p:nvSpPr>
          <p:spPr bwMode="auto">
            <a:xfrm>
              <a:off x="5700" y="2254"/>
              <a:ext cx="48" cy="63"/>
            </a:xfrm>
            <a:custGeom>
              <a:avLst/>
              <a:gdLst>
                <a:gd name="T0" fmla="*/ 2 w 64"/>
                <a:gd name="T1" fmla="*/ 0 h 63"/>
                <a:gd name="T2" fmla="*/ 0 w 64"/>
                <a:gd name="T3" fmla="*/ 62 h 63"/>
                <a:gd name="T4" fmla="*/ 2 w 64"/>
                <a:gd name="T5" fmla="*/ 62 h 63"/>
                <a:gd name="T6" fmla="*/ 2 w 64"/>
                <a:gd name="T7" fmla="*/ 0 h 6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3"/>
                <a:gd name="T14" fmla="*/ 64 w 64"/>
                <a:gd name="T15" fmla="*/ 63 h 6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3">
                  <a:moveTo>
                    <a:pt x="32" y="0"/>
                  </a:moveTo>
                  <a:lnTo>
                    <a:pt x="0" y="62"/>
                  </a:lnTo>
                  <a:lnTo>
                    <a:pt x="63" y="62"/>
                  </a:lnTo>
                  <a:lnTo>
                    <a:pt x="32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73" name="Line 163"/>
            <p:cNvSpPr>
              <a:spLocks noChangeShapeType="1"/>
            </p:cNvSpPr>
            <p:nvPr/>
          </p:nvSpPr>
          <p:spPr bwMode="auto">
            <a:xfrm>
              <a:off x="5348" y="2271"/>
              <a:ext cx="376" cy="14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74" name="Freeform 164"/>
            <p:cNvSpPr>
              <a:spLocks/>
            </p:cNvSpPr>
            <p:nvPr/>
          </p:nvSpPr>
          <p:spPr bwMode="auto">
            <a:xfrm>
              <a:off x="6220" y="2323"/>
              <a:ext cx="47" cy="64"/>
            </a:xfrm>
            <a:custGeom>
              <a:avLst/>
              <a:gdLst>
                <a:gd name="T0" fmla="*/ 1 w 64"/>
                <a:gd name="T1" fmla="*/ 0 h 64"/>
                <a:gd name="T2" fmla="*/ 0 w 64"/>
                <a:gd name="T3" fmla="*/ 63 h 64"/>
                <a:gd name="T4" fmla="*/ 1 w 64"/>
                <a:gd name="T5" fmla="*/ 63 h 64"/>
                <a:gd name="T6" fmla="*/ 1 w 64"/>
                <a:gd name="T7" fmla="*/ 0 h 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4"/>
                <a:gd name="T14" fmla="*/ 64 w 64"/>
                <a:gd name="T15" fmla="*/ 64 h 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4">
                  <a:moveTo>
                    <a:pt x="32" y="0"/>
                  </a:moveTo>
                  <a:lnTo>
                    <a:pt x="0" y="63"/>
                  </a:lnTo>
                  <a:lnTo>
                    <a:pt x="63" y="63"/>
                  </a:lnTo>
                  <a:lnTo>
                    <a:pt x="32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75" name="Line 165"/>
            <p:cNvSpPr>
              <a:spLocks noChangeShapeType="1"/>
            </p:cNvSpPr>
            <p:nvPr/>
          </p:nvSpPr>
          <p:spPr bwMode="auto">
            <a:xfrm>
              <a:off x="5724" y="2285"/>
              <a:ext cx="519" cy="70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76" name="Freeform 166"/>
            <p:cNvSpPr>
              <a:spLocks/>
            </p:cNvSpPr>
            <p:nvPr/>
          </p:nvSpPr>
          <p:spPr bwMode="auto">
            <a:xfrm>
              <a:off x="4915" y="2182"/>
              <a:ext cx="47" cy="63"/>
            </a:xfrm>
            <a:custGeom>
              <a:avLst/>
              <a:gdLst>
                <a:gd name="T0" fmla="*/ 1 w 64"/>
                <a:gd name="T1" fmla="*/ 0 h 63"/>
                <a:gd name="T2" fmla="*/ 0 w 64"/>
                <a:gd name="T3" fmla="*/ 62 h 63"/>
                <a:gd name="T4" fmla="*/ 1 w 64"/>
                <a:gd name="T5" fmla="*/ 62 h 63"/>
                <a:gd name="T6" fmla="*/ 1 w 64"/>
                <a:gd name="T7" fmla="*/ 0 h 6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3"/>
                <a:gd name="T14" fmla="*/ 64 w 64"/>
                <a:gd name="T15" fmla="*/ 63 h 6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3">
                  <a:moveTo>
                    <a:pt x="31" y="0"/>
                  </a:moveTo>
                  <a:lnTo>
                    <a:pt x="0" y="62"/>
                  </a:lnTo>
                  <a:lnTo>
                    <a:pt x="63" y="62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77" name="Freeform 167"/>
            <p:cNvSpPr>
              <a:spLocks/>
            </p:cNvSpPr>
            <p:nvPr/>
          </p:nvSpPr>
          <p:spPr bwMode="auto">
            <a:xfrm>
              <a:off x="5643" y="2256"/>
              <a:ext cx="48" cy="64"/>
            </a:xfrm>
            <a:custGeom>
              <a:avLst/>
              <a:gdLst>
                <a:gd name="T0" fmla="*/ 2 w 64"/>
                <a:gd name="T1" fmla="*/ 0 h 64"/>
                <a:gd name="T2" fmla="*/ 0 w 64"/>
                <a:gd name="T3" fmla="*/ 63 h 64"/>
                <a:gd name="T4" fmla="*/ 2 w 64"/>
                <a:gd name="T5" fmla="*/ 63 h 64"/>
                <a:gd name="T6" fmla="*/ 2 w 64"/>
                <a:gd name="T7" fmla="*/ 0 h 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4"/>
                <a:gd name="T14" fmla="*/ 64 w 64"/>
                <a:gd name="T15" fmla="*/ 64 h 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4">
                  <a:moveTo>
                    <a:pt x="31" y="0"/>
                  </a:moveTo>
                  <a:lnTo>
                    <a:pt x="0" y="63"/>
                  </a:lnTo>
                  <a:lnTo>
                    <a:pt x="63" y="63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78" name="Line 168"/>
            <p:cNvSpPr>
              <a:spLocks noChangeShapeType="1"/>
            </p:cNvSpPr>
            <p:nvPr/>
          </p:nvSpPr>
          <p:spPr bwMode="auto">
            <a:xfrm>
              <a:off x="4938" y="2213"/>
              <a:ext cx="728" cy="74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79" name="Freeform 169"/>
            <p:cNvSpPr>
              <a:spLocks/>
            </p:cNvSpPr>
            <p:nvPr/>
          </p:nvSpPr>
          <p:spPr bwMode="auto">
            <a:xfrm>
              <a:off x="6073" y="2213"/>
              <a:ext cx="47" cy="63"/>
            </a:xfrm>
            <a:custGeom>
              <a:avLst/>
              <a:gdLst>
                <a:gd name="T0" fmla="*/ 1 w 64"/>
                <a:gd name="T1" fmla="*/ 0 h 63"/>
                <a:gd name="T2" fmla="*/ 0 w 64"/>
                <a:gd name="T3" fmla="*/ 62 h 63"/>
                <a:gd name="T4" fmla="*/ 1 w 64"/>
                <a:gd name="T5" fmla="*/ 62 h 63"/>
                <a:gd name="T6" fmla="*/ 1 w 64"/>
                <a:gd name="T7" fmla="*/ 0 h 6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3"/>
                <a:gd name="T14" fmla="*/ 64 w 64"/>
                <a:gd name="T15" fmla="*/ 63 h 6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3">
                  <a:moveTo>
                    <a:pt x="32" y="0"/>
                  </a:moveTo>
                  <a:lnTo>
                    <a:pt x="0" y="62"/>
                  </a:lnTo>
                  <a:lnTo>
                    <a:pt x="63" y="62"/>
                  </a:lnTo>
                  <a:lnTo>
                    <a:pt x="32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80" name="Line 170"/>
            <p:cNvSpPr>
              <a:spLocks noChangeShapeType="1"/>
            </p:cNvSpPr>
            <p:nvPr/>
          </p:nvSpPr>
          <p:spPr bwMode="auto">
            <a:xfrm flipV="1">
              <a:off x="5666" y="2244"/>
              <a:ext cx="431" cy="43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81" name="Freeform 171"/>
            <p:cNvSpPr>
              <a:spLocks/>
            </p:cNvSpPr>
            <p:nvPr/>
          </p:nvSpPr>
          <p:spPr bwMode="auto">
            <a:xfrm>
              <a:off x="6501" y="2177"/>
              <a:ext cx="47" cy="63"/>
            </a:xfrm>
            <a:custGeom>
              <a:avLst/>
              <a:gdLst>
                <a:gd name="T0" fmla="*/ 1 w 64"/>
                <a:gd name="T1" fmla="*/ 0 h 63"/>
                <a:gd name="T2" fmla="*/ 0 w 64"/>
                <a:gd name="T3" fmla="*/ 62 h 63"/>
                <a:gd name="T4" fmla="*/ 1 w 64"/>
                <a:gd name="T5" fmla="*/ 62 h 63"/>
                <a:gd name="T6" fmla="*/ 1 w 64"/>
                <a:gd name="T7" fmla="*/ 0 h 6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3"/>
                <a:gd name="T14" fmla="*/ 64 w 64"/>
                <a:gd name="T15" fmla="*/ 63 h 6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3">
                  <a:moveTo>
                    <a:pt x="32" y="0"/>
                  </a:moveTo>
                  <a:lnTo>
                    <a:pt x="0" y="62"/>
                  </a:lnTo>
                  <a:lnTo>
                    <a:pt x="63" y="62"/>
                  </a:lnTo>
                  <a:lnTo>
                    <a:pt x="32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82" name="Line 172"/>
            <p:cNvSpPr>
              <a:spLocks noChangeShapeType="1"/>
            </p:cNvSpPr>
            <p:nvPr/>
          </p:nvSpPr>
          <p:spPr bwMode="auto">
            <a:xfrm flipV="1">
              <a:off x="6097" y="2208"/>
              <a:ext cx="428" cy="36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83" name="Freeform 173"/>
            <p:cNvSpPr>
              <a:spLocks/>
            </p:cNvSpPr>
            <p:nvPr/>
          </p:nvSpPr>
          <p:spPr bwMode="auto">
            <a:xfrm>
              <a:off x="7028" y="2239"/>
              <a:ext cx="47" cy="64"/>
            </a:xfrm>
            <a:custGeom>
              <a:avLst/>
              <a:gdLst>
                <a:gd name="T0" fmla="*/ 1 w 64"/>
                <a:gd name="T1" fmla="*/ 0 h 64"/>
                <a:gd name="T2" fmla="*/ 0 w 64"/>
                <a:gd name="T3" fmla="*/ 63 h 64"/>
                <a:gd name="T4" fmla="*/ 1 w 64"/>
                <a:gd name="T5" fmla="*/ 63 h 64"/>
                <a:gd name="T6" fmla="*/ 1 w 64"/>
                <a:gd name="T7" fmla="*/ 0 h 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4"/>
                <a:gd name="T14" fmla="*/ 64 w 64"/>
                <a:gd name="T15" fmla="*/ 64 h 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4">
                  <a:moveTo>
                    <a:pt x="31" y="0"/>
                  </a:moveTo>
                  <a:lnTo>
                    <a:pt x="0" y="63"/>
                  </a:lnTo>
                  <a:lnTo>
                    <a:pt x="63" y="63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84" name="Line 174"/>
            <p:cNvSpPr>
              <a:spLocks noChangeShapeType="1"/>
            </p:cNvSpPr>
            <p:nvPr/>
          </p:nvSpPr>
          <p:spPr bwMode="auto">
            <a:xfrm>
              <a:off x="6525" y="2208"/>
              <a:ext cx="525" cy="63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85" name="Freeform 175"/>
            <p:cNvSpPr>
              <a:spLocks/>
            </p:cNvSpPr>
            <p:nvPr/>
          </p:nvSpPr>
          <p:spPr bwMode="auto">
            <a:xfrm>
              <a:off x="4915" y="2182"/>
              <a:ext cx="47" cy="63"/>
            </a:xfrm>
            <a:custGeom>
              <a:avLst/>
              <a:gdLst>
                <a:gd name="T0" fmla="*/ 1 w 64"/>
                <a:gd name="T1" fmla="*/ 0 h 63"/>
                <a:gd name="T2" fmla="*/ 0 w 64"/>
                <a:gd name="T3" fmla="*/ 62 h 63"/>
                <a:gd name="T4" fmla="*/ 1 w 64"/>
                <a:gd name="T5" fmla="*/ 62 h 63"/>
                <a:gd name="T6" fmla="*/ 1 w 64"/>
                <a:gd name="T7" fmla="*/ 0 h 6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3"/>
                <a:gd name="T14" fmla="*/ 64 w 64"/>
                <a:gd name="T15" fmla="*/ 63 h 6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3">
                  <a:moveTo>
                    <a:pt x="31" y="0"/>
                  </a:moveTo>
                  <a:lnTo>
                    <a:pt x="0" y="62"/>
                  </a:lnTo>
                  <a:lnTo>
                    <a:pt x="63" y="62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86" name="Freeform 176"/>
            <p:cNvSpPr>
              <a:spLocks/>
            </p:cNvSpPr>
            <p:nvPr/>
          </p:nvSpPr>
          <p:spPr bwMode="auto">
            <a:xfrm>
              <a:off x="5280" y="2208"/>
              <a:ext cx="47" cy="64"/>
            </a:xfrm>
            <a:custGeom>
              <a:avLst/>
              <a:gdLst>
                <a:gd name="T0" fmla="*/ 1 w 64"/>
                <a:gd name="T1" fmla="*/ 0 h 64"/>
                <a:gd name="T2" fmla="*/ 0 w 64"/>
                <a:gd name="T3" fmla="*/ 63 h 64"/>
                <a:gd name="T4" fmla="*/ 1 w 64"/>
                <a:gd name="T5" fmla="*/ 63 h 64"/>
                <a:gd name="T6" fmla="*/ 1 w 64"/>
                <a:gd name="T7" fmla="*/ 0 h 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4"/>
                <a:gd name="T14" fmla="*/ 64 w 64"/>
                <a:gd name="T15" fmla="*/ 64 h 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4">
                  <a:moveTo>
                    <a:pt x="32" y="0"/>
                  </a:moveTo>
                  <a:lnTo>
                    <a:pt x="0" y="63"/>
                  </a:lnTo>
                  <a:lnTo>
                    <a:pt x="63" y="63"/>
                  </a:lnTo>
                  <a:lnTo>
                    <a:pt x="32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87" name="Line 177"/>
            <p:cNvSpPr>
              <a:spLocks noChangeShapeType="1"/>
            </p:cNvSpPr>
            <p:nvPr/>
          </p:nvSpPr>
          <p:spPr bwMode="auto">
            <a:xfrm>
              <a:off x="4938" y="2213"/>
              <a:ext cx="366" cy="26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88" name="Freeform 178"/>
            <p:cNvSpPr>
              <a:spLocks/>
            </p:cNvSpPr>
            <p:nvPr/>
          </p:nvSpPr>
          <p:spPr bwMode="auto">
            <a:xfrm>
              <a:off x="5531" y="2287"/>
              <a:ext cx="47" cy="64"/>
            </a:xfrm>
            <a:custGeom>
              <a:avLst/>
              <a:gdLst>
                <a:gd name="T0" fmla="*/ 1 w 64"/>
                <a:gd name="T1" fmla="*/ 0 h 64"/>
                <a:gd name="T2" fmla="*/ 0 w 64"/>
                <a:gd name="T3" fmla="*/ 63 h 64"/>
                <a:gd name="T4" fmla="*/ 1 w 64"/>
                <a:gd name="T5" fmla="*/ 63 h 64"/>
                <a:gd name="T6" fmla="*/ 1 w 64"/>
                <a:gd name="T7" fmla="*/ 0 h 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4"/>
                <a:gd name="T14" fmla="*/ 64 w 64"/>
                <a:gd name="T15" fmla="*/ 64 h 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4">
                  <a:moveTo>
                    <a:pt x="31" y="0"/>
                  </a:moveTo>
                  <a:lnTo>
                    <a:pt x="0" y="63"/>
                  </a:lnTo>
                  <a:lnTo>
                    <a:pt x="63" y="63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89" name="Line 179"/>
            <p:cNvSpPr>
              <a:spLocks noChangeShapeType="1"/>
            </p:cNvSpPr>
            <p:nvPr/>
          </p:nvSpPr>
          <p:spPr bwMode="auto">
            <a:xfrm>
              <a:off x="5304" y="2239"/>
              <a:ext cx="250" cy="80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90" name="Freeform 180"/>
            <p:cNvSpPr>
              <a:spLocks/>
            </p:cNvSpPr>
            <p:nvPr/>
          </p:nvSpPr>
          <p:spPr bwMode="auto">
            <a:xfrm>
              <a:off x="6531" y="2268"/>
              <a:ext cx="48" cy="64"/>
            </a:xfrm>
            <a:custGeom>
              <a:avLst/>
              <a:gdLst>
                <a:gd name="T0" fmla="*/ 2 w 64"/>
                <a:gd name="T1" fmla="*/ 0 h 64"/>
                <a:gd name="T2" fmla="*/ 0 w 64"/>
                <a:gd name="T3" fmla="*/ 63 h 64"/>
                <a:gd name="T4" fmla="*/ 2 w 64"/>
                <a:gd name="T5" fmla="*/ 63 h 64"/>
                <a:gd name="T6" fmla="*/ 2 w 64"/>
                <a:gd name="T7" fmla="*/ 0 h 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4"/>
                <a:gd name="T14" fmla="*/ 64 w 64"/>
                <a:gd name="T15" fmla="*/ 64 h 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4">
                  <a:moveTo>
                    <a:pt x="32" y="0"/>
                  </a:moveTo>
                  <a:lnTo>
                    <a:pt x="0" y="63"/>
                  </a:lnTo>
                  <a:lnTo>
                    <a:pt x="63" y="63"/>
                  </a:lnTo>
                  <a:lnTo>
                    <a:pt x="32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91" name="Line 181"/>
            <p:cNvSpPr>
              <a:spLocks noChangeShapeType="1"/>
            </p:cNvSpPr>
            <p:nvPr/>
          </p:nvSpPr>
          <p:spPr bwMode="auto">
            <a:xfrm flipV="1">
              <a:off x="5554" y="2299"/>
              <a:ext cx="1001" cy="20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92" name="Freeform 182"/>
            <p:cNvSpPr>
              <a:spLocks/>
            </p:cNvSpPr>
            <p:nvPr/>
          </p:nvSpPr>
          <p:spPr bwMode="auto">
            <a:xfrm>
              <a:off x="4915" y="2182"/>
              <a:ext cx="47" cy="63"/>
            </a:xfrm>
            <a:custGeom>
              <a:avLst/>
              <a:gdLst>
                <a:gd name="T0" fmla="*/ 1 w 64"/>
                <a:gd name="T1" fmla="*/ 0 h 63"/>
                <a:gd name="T2" fmla="*/ 0 w 64"/>
                <a:gd name="T3" fmla="*/ 62 h 63"/>
                <a:gd name="T4" fmla="*/ 1 w 64"/>
                <a:gd name="T5" fmla="*/ 62 h 63"/>
                <a:gd name="T6" fmla="*/ 1 w 64"/>
                <a:gd name="T7" fmla="*/ 0 h 6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3"/>
                <a:gd name="T14" fmla="*/ 64 w 64"/>
                <a:gd name="T15" fmla="*/ 63 h 6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3">
                  <a:moveTo>
                    <a:pt x="31" y="0"/>
                  </a:moveTo>
                  <a:lnTo>
                    <a:pt x="0" y="62"/>
                  </a:lnTo>
                  <a:lnTo>
                    <a:pt x="63" y="62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93" name="Freeform 183"/>
            <p:cNvSpPr>
              <a:spLocks/>
            </p:cNvSpPr>
            <p:nvPr/>
          </p:nvSpPr>
          <p:spPr bwMode="auto">
            <a:xfrm>
              <a:off x="5403" y="2287"/>
              <a:ext cx="48" cy="64"/>
            </a:xfrm>
            <a:custGeom>
              <a:avLst/>
              <a:gdLst>
                <a:gd name="T0" fmla="*/ 2 w 64"/>
                <a:gd name="T1" fmla="*/ 0 h 64"/>
                <a:gd name="T2" fmla="*/ 0 w 64"/>
                <a:gd name="T3" fmla="*/ 63 h 64"/>
                <a:gd name="T4" fmla="*/ 2 w 64"/>
                <a:gd name="T5" fmla="*/ 63 h 64"/>
                <a:gd name="T6" fmla="*/ 2 w 64"/>
                <a:gd name="T7" fmla="*/ 0 h 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4"/>
                <a:gd name="T14" fmla="*/ 64 w 64"/>
                <a:gd name="T15" fmla="*/ 64 h 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4">
                  <a:moveTo>
                    <a:pt x="31" y="0"/>
                  </a:moveTo>
                  <a:lnTo>
                    <a:pt x="0" y="63"/>
                  </a:lnTo>
                  <a:lnTo>
                    <a:pt x="63" y="63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94" name="Line 184"/>
            <p:cNvSpPr>
              <a:spLocks noChangeShapeType="1"/>
            </p:cNvSpPr>
            <p:nvPr/>
          </p:nvSpPr>
          <p:spPr bwMode="auto">
            <a:xfrm>
              <a:off x="4938" y="2213"/>
              <a:ext cx="488" cy="106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95" name="Freeform 185"/>
            <p:cNvSpPr>
              <a:spLocks/>
            </p:cNvSpPr>
            <p:nvPr/>
          </p:nvSpPr>
          <p:spPr bwMode="auto">
            <a:xfrm>
              <a:off x="5672" y="2335"/>
              <a:ext cx="48" cy="64"/>
            </a:xfrm>
            <a:custGeom>
              <a:avLst/>
              <a:gdLst>
                <a:gd name="T0" fmla="*/ 2 w 64"/>
                <a:gd name="T1" fmla="*/ 0 h 64"/>
                <a:gd name="T2" fmla="*/ 0 w 64"/>
                <a:gd name="T3" fmla="*/ 63 h 64"/>
                <a:gd name="T4" fmla="*/ 2 w 64"/>
                <a:gd name="T5" fmla="*/ 63 h 64"/>
                <a:gd name="T6" fmla="*/ 2 w 64"/>
                <a:gd name="T7" fmla="*/ 0 h 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4"/>
                <a:gd name="T14" fmla="*/ 64 w 64"/>
                <a:gd name="T15" fmla="*/ 64 h 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4">
                  <a:moveTo>
                    <a:pt x="31" y="0"/>
                  </a:moveTo>
                  <a:lnTo>
                    <a:pt x="0" y="63"/>
                  </a:lnTo>
                  <a:lnTo>
                    <a:pt x="63" y="63"/>
                  </a:lnTo>
                  <a:lnTo>
                    <a:pt x="31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96" name="Line 186"/>
            <p:cNvSpPr>
              <a:spLocks noChangeShapeType="1"/>
            </p:cNvSpPr>
            <p:nvPr/>
          </p:nvSpPr>
          <p:spPr bwMode="auto">
            <a:xfrm>
              <a:off x="5426" y="2319"/>
              <a:ext cx="269" cy="48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97" name="Freeform 187"/>
            <p:cNvSpPr>
              <a:spLocks/>
            </p:cNvSpPr>
            <p:nvPr/>
          </p:nvSpPr>
          <p:spPr bwMode="auto">
            <a:xfrm>
              <a:off x="5769" y="2432"/>
              <a:ext cx="47" cy="63"/>
            </a:xfrm>
            <a:custGeom>
              <a:avLst/>
              <a:gdLst>
                <a:gd name="T0" fmla="*/ 1 w 64"/>
                <a:gd name="T1" fmla="*/ 0 h 63"/>
                <a:gd name="T2" fmla="*/ 0 w 64"/>
                <a:gd name="T3" fmla="*/ 62 h 63"/>
                <a:gd name="T4" fmla="*/ 1 w 64"/>
                <a:gd name="T5" fmla="*/ 62 h 63"/>
                <a:gd name="T6" fmla="*/ 1 w 64"/>
                <a:gd name="T7" fmla="*/ 0 h 6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63"/>
                <a:gd name="T14" fmla="*/ 64 w 64"/>
                <a:gd name="T15" fmla="*/ 63 h 6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63">
                  <a:moveTo>
                    <a:pt x="32" y="0"/>
                  </a:moveTo>
                  <a:lnTo>
                    <a:pt x="0" y="62"/>
                  </a:lnTo>
                  <a:lnTo>
                    <a:pt x="63" y="62"/>
                  </a:lnTo>
                  <a:lnTo>
                    <a:pt x="32" y="0"/>
                  </a:lnTo>
                </a:path>
              </a:pathLst>
            </a:custGeom>
            <a:noFill/>
            <a:ln w="25400" cap="rnd">
              <a:solidFill>
                <a:srgbClr val="00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98" name="Line 188"/>
            <p:cNvSpPr>
              <a:spLocks noChangeShapeType="1"/>
            </p:cNvSpPr>
            <p:nvPr/>
          </p:nvSpPr>
          <p:spPr bwMode="auto">
            <a:xfrm>
              <a:off x="5695" y="2367"/>
              <a:ext cx="97" cy="96"/>
            </a:xfrm>
            <a:prstGeom prst="line">
              <a:avLst/>
            </a:prstGeom>
            <a:noFill/>
            <a:ln w="25400">
              <a:solidFill>
                <a:srgbClr val="00FFF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599" name="Oval 189"/>
            <p:cNvSpPr>
              <a:spLocks noChangeArrowheads="1"/>
            </p:cNvSpPr>
            <p:nvPr/>
          </p:nvSpPr>
          <p:spPr bwMode="auto">
            <a:xfrm>
              <a:off x="4921" y="2190"/>
              <a:ext cx="34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00" name="Oval 190"/>
            <p:cNvSpPr>
              <a:spLocks noChangeArrowheads="1"/>
            </p:cNvSpPr>
            <p:nvPr/>
          </p:nvSpPr>
          <p:spPr bwMode="auto">
            <a:xfrm>
              <a:off x="5257" y="2582"/>
              <a:ext cx="35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01" name="Line 191"/>
            <p:cNvSpPr>
              <a:spLocks noChangeShapeType="1"/>
            </p:cNvSpPr>
            <p:nvPr/>
          </p:nvSpPr>
          <p:spPr bwMode="auto">
            <a:xfrm>
              <a:off x="4938" y="2213"/>
              <a:ext cx="337" cy="392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02" name="Oval 192"/>
            <p:cNvSpPr>
              <a:spLocks noChangeArrowheads="1"/>
            </p:cNvSpPr>
            <p:nvPr/>
          </p:nvSpPr>
          <p:spPr bwMode="auto">
            <a:xfrm>
              <a:off x="5475" y="2808"/>
              <a:ext cx="35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03" name="Line 193"/>
            <p:cNvSpPr>
              <a:spLocks noChangeShapeType="1"/>
            </p:cNvSpPr>
            <p:nvPr/>
          </p:nvSpPr>
          <p:spPr bwMode="auto">
            <a:xfrm>
              <a:off x="5275" y="2605"/>
              <a:ext cx="218" cy="226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04" name="Oval 194"/>
            <p:cNvSpPr>
              <a:spLocks noChangeArrowheads="1"/>
            </p:cNvSpPr>
            <p:nvPr/>
          </p:nvSpPr>
          <p:spPr bwMode="auto">
            <a:xfrm>
              <a:off x="4921" y="2190"/>
              <a:ext cx="34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05" name="Oval 195"/>
            <p:cNvSpPr>
              <a:spLocks noChangeArrowheads="1"/>
            </p:cNvSpPr>
            <p:nvPr/>
          </p:nvSpPr>
          <p:spPr bwMode="auto">
            <a:xfrm>
              <a:off x="5358" y="2283"/>
              <a:ext cx="34" cy="47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06" name="Line 196"/>
            <p:cNvSpPr>
              <a:spLocks noChangeShapeType="1"/>
            </p:cNvSpPr>
            <p:nvPr/>
          </p:nvSpPr>
          <p:spPr bwMode="auto">
            <a:xfrm>
              <a:off x="4938" y="2213"/>
              <a:ext cx="437" cy="94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07" name="Oval 197"/>
            <p:cNvSpPr>
              <a:spLocks noChangeArrowheads="1"/>
            </p:cNvSpPr>
            <p:nvPr/>
          </p:nvSpPr>
          <p:spPr bwMode="auto">
            <a:xfrm>
              <a:off x="5569" y="2423"/>
              <a:ext cx="34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08" name="Line 198"/>
            <p:cNvSpPr>
              <a:spLocks noChangeShapeType="1"/>
            </p:cNvSpPr>
            <p:nvPr/>
          </p:nvSpPr>
          <p:spPr bwMode="auto">
            <a:xfrm>
              <a:off x="5375" y="2307"/>
              <a:ext cx="211" cy="139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09" name="Oval 199"/>
            <p:cNvSpPr>
              <a:spLocks noChangeArrowheads="1"/>
            </p:cNvSpPr>
            <p:nvPr/>
          </p:nvSpPr>
          <p:spPr bwMode="auto">
            <a:xfrm>
              <a:off x="6020" y="2639"/>
              <a:ext cx="34" cy="47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10" name="Line 200"/>
            <p:cNvSpPr>
              <a:spLocks noChangeShapeType="1"/>
            </p:cNvSpPr>
            <p:nvPr/>
          </p:nvSpPr>
          <p:spPr bwMode="auto">
            <a:xfrm>
              <a:off x="5586" y="2446"/>
              <a:ext cx="451" cy="217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11" name="Oval 201"/>
            <p:cNvSpPr>
              <a:spLocks noChangeArrowheads="1"/>
            </p:cNvSpPr>
            <p:nvPr/>
          </p:nvSpPr>
          <p:spPr bwMode="auto">
            <a:xfrm>
              <a:off x="6303" y="2801"/>
              <a:ext cx="34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12" name="Line 202"/>
            <p:cNvSpPr>
              <a:spLocks noChangeShapeType="1"/>
            </p:cNvSpPr>
            <p:nvPr/>
          </p:nvSpPr>
          <p:spPr bwMode="auto">
            <a:xfrm>
              <a:off x="6037" y="2663"/>
              <a:ext cx="283" cy="161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13" name="Oval 203"/>
            <p:cNvSpPr>
              <a:spLocks noChangeArrowheads="1"/>
            </p:cNvSpPr>
            <p:nvPr/>
          </p:nvSpPr>
          <p:spPr bwMode="auto">
            <a:xfrm>
              <a:off x="4921" y="2190"/>
              <a:ext cx="34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14" name="Oval 204"/>
            <p:cNvSpPr>
              <a:spLocks noChangeArrowheads="1"/>
            </p:cNvSpPr>
            <p:nvPr/>
          </p:nvSpPr>
          <p:spPr bwMode="auto">
            <a:xfrm>
              <a:off x="5127" y="2312"/>
              <a:ext cx="34" cy="47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15" name="Line 205"/>
            <p:cNvSpPr>
              <a:spLocks noChangeShapeType="1"/>
            </p:cNvSpPr>
            <p:nvPr/>
          </p:nvSpPr>
          <p:spPr bwMode="auto">
            <a:xfrm>
              <a:off x="4938" y="2213"/>
              <a:ext cx="206" cy="122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16" name="Oval 206"/>
            <p:cNvSpPr>
              <a:spLocks noChangeArrowheads="1"/>
            </p:cNvSpPr>
            <p:nvPr/>
          </p:nvSpPr>
          <p:spPr bwMode="auto">
            <a:xfrm>
              <a:off x="5560" y="2688"/>
              <a:ext cx="35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17" name="Line 207"/>
            <p:cNvSpPr>
              <a:spLocks noChangeShapeType="1"/>
            </p:cNvSpPr>
            <p:nvPr/>
          </p:nvSpPr>
          <p:spPr bwMode="auto">
            <a:xfrm>
              <a:off x="5144" y="2335"/>
              <a:ext cx="434" cy="376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18" name="Oval 208"/>
            <p:cNvSpPr>
              <a:spLocks noChangeArrowheads="1"/>
            </p:cNvSpPr>
            <p:nvPr/>
          </p:nvSpPr>
          <p:spPr bwMode="auto">
            <a:xfrm>
              <a:off x="4921" y="2190"/>
              <a:ext cx="34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19" name="Oval 209"/>
            <p:cNvSpPr>
              <a:spLocks noChangeArrowheads="1"/>
            </p:cNvSpPr>
            <p:nvPr/>
          </p:nvSpPr>
          <p:spPr bwMode="auto">
            <a:xfrm>
              <a:off x="5250" y="2649"/>
              <a:ext cx="35" cy="47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20" name="Line 210"/>
            <p:cNvSpPr>
              <a:spLocks noChangeShapeType="1"/>
            </p:cNvSpPr>
            <p:nvPr/>
          </p:nvSpPr>
          <p:spPr bwMode="auto">
            <a:xfrm>
              <a:off x="4938" y="2213"/>
              <a:ext cx="329" cy="459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21" name="Oval 211"/>
            <p:cNvSpPr>
              <a:spLocks noChangeArrowheads="1"/>
            </p:cNvSpPr>
            <p:nvPr/>
          </p:nvSpPr>
          <p:spPr bwMode="auto">
            <a:xfrm>
              <a:off x="5687" y="3412"/>
              <a:ext cx="35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22" name="Line 212"/>
            <p:cNvSpPr>
              <a:spLocks noChangeShapeType="1"/>
            </p:cNvSpPr>
            <p:nvPr/>
          </p:nvSpPr>
          <p:spPr bwMode="auto">
            <a:xfrm>
              <a:off x="5267" y="2672"/>
              <a:ext cx="437" cy="763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23" name="Oval 213"/>
            <p:cNvSpPr>
              <a:spLocks noChangeArrowheads="1"/>
            </p:cNvSpPr>
            <p:nvPr/>
          </p:nvSpPr>
          <p:spPr bwMode="auto">
            <a:xfrm>
              <a:off x="4921" y="2190"/>
              <a:ext cx="34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24" name="Oval 214"/>
            <p:cNvSpPr>
              <a:spLocks noChangeArrowheads="1"/>
            </p:cNvSpPr>
            <p:nvPr/>
          </p:nvSpPr>
          <p:spPr bwMode="auto">
            <a:xfrm>
              <a:off x="5472" y="2844"/>
              <a:ext cx="34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25" name="Line 215"/>
            <p:cNvSpPr>
              <a:spLocks noChangeShapeType="1"/>
            </p:cNvSpPr>
            <p:nvPr/>
          </p:nvSpPr>
          <p:spPr bwMode="auto">
            <a:xfrm>
              <a:off x="4938" y="2213"/>
              <a:ext cx="551" cy="654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26" name="Oval 216"/>
            <p:cNvSpPr>
              <a:spLocks noChangeArrowheads="1"/>
            </p:cNvSpPr>
            <p:nvPr/>
          </p:nvSpPr>
          <p:spPr bwMode="auto">
            <a:xfrm>
              <a:off x="5734" y="3246"/>
              <a:ext cx="34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27" name="Line 217"/>
            <p:cNvSpPr>
              <a:spLocks noChangeShapeType="1"/>
            </p:cNvSpPr>
            <p:nvPr/>
          </p:nvSpPr>
          <p:spPr bwMode="auto">
            <a:xfrm>
              <a:off x="5489" y="2867"/>
              <a:ext cx="262" cy="402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28" name="Oval 218"/>
            <p:cNvSpPr>
              <a:spLocks noChangeArrowheads="1"/>
            </p:cNvSpPr>
            <p:nvPr/>
          </p:nvSpPr>
          <p:spPr bwMode="auto">
            <a:xfrm>
              <a:off x="5974" y="3623"/>
              <a:ext cx="34" cy="47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29" name="Line 219"/>
            <p:cNvSpPr>
              <a:spLocks noChangeShapeType="1"/>
            </p:cNvSpPr>
            <p:nvPr/>
          </p:nvSpPr>
          <p:spPr bwMode="auto">
            <a:xfrm>
              <a:off x="5751" y="3269"/>
              <a:ext cx="240" cy="378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30" name="Oval 220"/>
            <p:cNvSpPr>
              <a:spLocks noChangeArrowheads="1"/>
            </p:cNvSpPr>
            <p:nvPr/>
          </p:nvSpPr>
          <p:spPr bwMode="auto">
            <a:xfrm>
              <a:off x="6079" y="4011"/>
              <a:ext cx="35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31" name="Line 221"/>
            <p:cNvSpPr>
              <a:spLocks noChangeShapeType="1"/>
            </p:cNvSpPr>
            <p:nvPr/>
          </p:nvSpPr>
          <p:spPr bwMode="auto">
            <a:xfrm>
              <a:off x="5991" y="3647"/>
              <a:ext cx="106" cy="387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32" name="Oval 222"/>
            <p:cNvSpPr>
              <a:spLocks noChangeArrowheads="1"/>
            </p:cNvSpPr>
            <p:nvPr/>
          </p:nvSpPr>
          <p:spPr bwMode="auto">
            <a:xfrm>
              <a:off x="4921" y="2190"/>
              <a:ext cx="34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33" name="Oval 223"/>
            <p:cNvSpPr>
              <a:spLocks noChangeArrowheads="1"/>
            </p:cNvSpPr>
            <p:nvPr/>
          </p:nvSpPr>
          <p:spPr bwMode="auto">
            <a:xfrm>
              <a:off x="5413" y="2529"/>
              <a:ext cx="35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34" name="Line 224"/>
            <p:cNvSpPr>
              <a:spLocks noChangeShapeType="1"/>
            </p:cNvSpPr>
            <p:nvPr/>
          </p:nvSpPr>
          <p:spPr bwMode="auto">
            <a:xfrm>
              <a:off x="4938" y="2213"/>
              <a:ext cx="492" cy="339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35" name="Oval 225"/>
            <p:cNvSpPr>
              <a:spLocks noChangeArrowheads="1"/>
            </p:cNvSpPr>
            <p:nvPr/>
          </p:nvSpPr>
          <p:spPr bwMode="auto">
            <a:xfrm>
              <a:off x="5730" y="2986"/>
              <a:ext cx="35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36" name="Line 226"/>
            <p:cNvSpPr>
              <a:spLocks noChangeShapeType="1"/>
            </p:cNvSpPr>
            <p:nvPr/>
          </p:nvSpPr>
          <p:spPr bwMode="auto">
            <a:xfrm>
              <a:off x="5430" y="2552"/>
              <a:ext cx="317" cy="457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37" name="Oval 227"/>
            <p:cNvSpPr>
              <a:spLocks noChangeArrowheads="1"/>
            </p:cNvSpPr>
            <p:nvPr/>
          </p:nvSpPr>
          <p:spPr bwMode="auto">
            <a:xfrm>
              <a:off x="5843" y="3128"/>
              <a:ext cx="34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38" name="Line 228"/>
            <p:cNvSpPr>
              <a:spLocks noChangeShapeType="1"/>
            </p:cNvSpPr>
            <p:nvPr/>
          </p:nvSpPr>
          <p:spPr bwMode="auto">
            <a:xfrm>
              <a:off x="5747" y="3009"/>
              <a:ext cx="113" cy="142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39" name="Oval 229"/>
            <p:cNvSpPr>
              <a:spLocks noChangeArrowheads="1"/>
            </p:cNvSpPr>
            <p:nvPr/>
          </p:nvSpPr>
          <p:spPr bwMode="auto">
            <a:xfrm>
              <a:off x="5932" y="3277"/>
              <a:ext cx="35" cy="47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40" name="Line 230"/>
            <p:cNvSpPr>
              <a:spLocks noChangeShapeType="1"/>
            </p:cNvSpPr>
            <p:nvPr/>
          </p:nvSpPr>
          <p:spPr bwMode="auto">
            <a:xfrm>
              <a:off x="5860" y="3151"/>
              <a:ext cx="89" cy="149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41" name="Oval 231"/>
            <p:cNvSpPr>
              <a:spLocks noChangeArrowheads="1"/>
            </p:cNvSpPr>
            <p:nvPr/>
          </p:nvSpPr>
          <p:spPr bwMode="auto">
            <a:xfrm>
              <a:off x="6097" y="3585"/>
              <a:ext cx="34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42" name="Line 232"/>
            <p:cNvSpPr>
              <a:spLocks noChangeShapeType="1"/>
            </p:cNvSpPr>
            <p:nvPr/>
          </p:nvSpPr>
          <p:spPr bwMode="auto">
            <a:xfrm>
              <a:off x="5949" y="3300"/>
              <a:ext cx="165" cy="308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43" name="Oval 233"/>
            <p:cNvSpPr>
              <a:spLocks noChangeArrowheads="1"/>
            </p:cNvSpPr>
            <p:nvPr/>
          </p:nvSpPr>
          <p:spPr bwMode="auto">
            <a:xfrm>
              <a:off x="6790" y="4254"/>
              <a:ext cx="35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44" name="Line 234"/>
            <p:cNvSpPr>
              <a:spLocks noChangeShapeType="1"/>
            </p:cNvSpPr>
            <p:nvPr/>
          </p:nvSpPr>
          <p:spPr bwMode="auto">
            <a:xfrm>
              <a:off x="6114" y="3608"/>
              <a:ext cx="694" cy="669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45" name="Oval 235"/>
            <p:cNvSpPr>
              <a:spLocks noChangeArrowheads="1"/>
            </p:cNvSpPr>
            <p:nvPr/>
          </p:nvSpPr>
          <p:spPr bwMode="auto">
            <a:xfrm>
              <a:off x="4921" y="2190"/>
              <a:ext cx="34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46" name="Oval 236"/>
            <p:cNvSpPr>
              <a:spLocks noChangeArrowheads="1"/>
            </p:cNvSpPr>
            <p:nvPr/>
          </p:nvSpPr>
          <p:spPr bwMode="auto">
            <a:xfrm>
              <a:off x="5100" y="2404"/>
              <a:ext cx="35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47" name="Line 237"/>
            <p:cNvSpPr>
              <a:spLocks noChangeShapeType="1"/>
            </p:cNvSpPr>
            <p:nvPr/>
          </p:nvSpPr>
          <p:spPr bwMode="auto">
            <a:xfrm>
              <a:off x="4938" y="2213"/>
              <a:ext cx="179" cy="214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48" name="Oval 238"/>
            <p:cNvSpPr>
              <a:spLocks noChangeArrowheads="1"/>
            </p:cNvSpPr>
            <p:nvPr/>
          </p:nvSpPr>
          <p:spPr bwMode="auto">
            <a:xfrm>
              <a:off x="5479" y="2606"/>
              <a:ext cx="35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49" name="Line 239"/>
            <p:cNvSpPr>
              <a:spLocks noChangeShapeType="1"/>
            </p:cNvSpPr>
            <p:nvPr/>
          </p:nvSpPr>
          <p:spPr bwMode="auto">
            <a:xfrm>
              <a:off x="5117" y="2427"/>
              <a:ext cx="380" cy="202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50" name="Oval 240"/>
            <p:cNvSpPr>
              <a:spLocks noChangeArrowheads="1"/>
            </p:cNvSpPr>
            <p:nvPr/>
          </p:nvSpPr>
          <p:spPr bwMode="auto">
            <a:xfrm>
              <a:off x="4921" y="2190"/>
              <a:ext cx="34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51" name="Oval 241"/>
            <p:cNvSpPr>
              <a:spLocks noChangeArrowheads="1"/>
            </p:cNvSpPr>
            <p:nvPr/>
          </p:nvSpPr>
          <p:spPr bwMode="auto">
            <a:xfrm>
              <a:off x="5322" y="2339"/>
              <a:ext cx="34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52" name="Line 242"/>
            <p:cNvSpPr>
              <a:spLocks noChangeShapeType="1"/>
            </p:cNvSpPr>
            <p:nvPr/>
          </p:nvSpPr>
          <p:spPr bwMode="auto">
            <a:xfrm>
              <a:off x="4938" y="2213"/>
              <a:ext cx="401" cy="149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53" name="Oval 243"/>
            <p:cNvSpPr>
              <a:spLocks noChangeArrowheads="1"/>
            </p:cNvSpPr>
            <p:nvPr/>
          </p:nvSpPr>
          <p:spPr bwMode="auto">
            <a:xfrm>
              <a:off x="5758" y="2841"/>
              <a:ext cx="35" cy="47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54" name="Line 244"/>
            <p:cNvSpPr>
              <a:spLocks noChangeShapeType="1"/>
            </p:cNvSpPr>
            <p:nvPr/>
          </p:nvSpPr>
          <p:spPr bwMode="auto">
            <a:xfrm>
              <a:off x="5339" y="2362"/>
              <a:ext cx="437" cy="503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55" name="Oval 245"/>
            <p:cNvSpPr>
              <a:spLocks noChangeArrowheads="1"/>
            </p:cNvSpPr>
            <p:nvPr/>
          </p:nvSpPr>
          <p:spPr bwMode="auto">
            <a:xfrm>
              <a:off x="4921" y="2190"/>
              <a:ext cx="34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56" name="Oval 246"/>
            <p:cNvSpPr>
              <a:spLocks noChangeArrowheads="1"/>
            </p:cNvSpPr>
            <p:nvPr/>
          </p:nvSpPr>
          <p:spPr bwMode="auto">
            <a:xfrm>
              <a:off x="6377" y="2829"/>
              <a:ext cx="34" cy="47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57" name="Line 247"/>
            <p:cNvSpPr>
              <a:spLocks noChangeShapeType="1"/>
            </p:cNvSpPr>
            <p:nvPr/>
          </p:nvSpPr>
          <p:spPr bwMode="auto">
            <a:xfrm>
              <a:off x="4938" y="2213"/>
              <a:ext cx="1456" cy="640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58" name="Oval 248"/>
            <p:cNvSpPr>
              <a:spLocks noChangeArrowheads="1"/>
            </p:cNvSpPr>
            <p:nvPr/>
          </p:nvSpPr>
          <p:spPr bwMode="auto">
            <a:xfrm>
              <a:off x="6659" y="2945"/>
              <a:ext cx="35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59" name="Line 249"/>
            <p:cNvSpPr>
              <a:spLocks noChangeShapeType="1"/>
            </p:cNvSpPr>
            <p:nvPr/>
          </p:nvSpPr>
          <p:spPr bwMode="auto">
            <a:xfrm>
              <a:off x="6394" y="2853"/>
              <a:ext cx="282" cy="115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60" name="Oval 250"/>
            <p:cNvSpPr>
              <a:spLocks noChangeArrowheads="1"/>
            </p:cNvSpPr>
            <p:nvPr/>
          </p:nvSpPr>
          <p:spPr bwMode="auto">
            <a:xfrm>
              <a:off x="6813" y="3113"/>
              <a:ext cx="35" cy="47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61" name="Line 251"/>
            <p:cNvSpPr>
              <a:spLocks noChangeShapeType="1"/>
            </p:cNvSpPr>
            <p:nvPr/>
          </p:nvSpPr>
          <p:spPr bwMode="auto">
            <a:xfrm>
              <a:off x="6676" y="2968"/>
              <a:ext cx="155" cy="169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62" name="Oval 252"/>
            <p:cNvSpPr>
              <a:spLocks noChangeArrowheads="1"/>
            </p:cNvSpPr>
            <p:nvPr/>
          </p:nvSpPr>
          <p:spPr bwMode="auto">
            <a:xfrm>
              <a:off x="7200" y="3303"/>
              <a:ext cx="35" cy="47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63" name="Line 253"/>
            <p:cNvSpPr>
              <a:spLocks noChangeShapeType="1"/>
            </p:cNvSpPr>
            <p:nvPr/>
          </p:nvSpPr>
          <p:spPr bwMode="auto">
            <a:xfrm>
              <a:off x="6831" y="3137"/>
              <a:ext cx="386" cy="190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64" name="Oval 254"/>
            <p:cNvSpPr>
              <a:spLocks noChangeArrowheads="1"/>
            </p:cNvSpPr>
            <p:nvPr/>
          </p:nvSpPr>
          <p:spPr bwMode="auto">
            <a:xfrm>
              <a:off x="4921" y="2190"/>
              <a:ext cx="34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65" name="Oval 255"/>
            <p:cNvSpPr>
              <a:spLocks noChangeArrowheads="1"/>
            </p:cNvSpPr>
            <p:nvPr/>
          </p:nvSpPr>
          <p:spPr bwMode="auto">
            <a:xfrm>
              <a:off x="5171" y="2471"/>
              <a:ext cx="35" cy="47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66" name="Line 256"/>
            <p:cNvSpPr>
              <a:spLocks noChangeShapeType="1"/>
            </p:cNvSpPr>
            <p:nvPr/>
          </p:nvSpPr>
          <p:spPr bwMode="auto">
            <a:xfrm>
              <a:off x="4938" y="2213"/>
              <a:ext cx="251" cy="281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67" name="Oval 257"/>
            <p:cNvSpPr>
              <a:spLocks noChangeArrowheads="1"/>
            </p:cNvSpPr>
            <p:nvPr/>
          </p:nvSpPr>
          <p:spPr bwMode="auto">
            <a:xfrm>
              <a:off x="5617" y="2635"/>
              <a:ext cx="35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68" name="Line 258"/>
            <p:cNvSpPr>
              <a:spLocks noChangeShapeType="1"/>
            </p:cNvSpPr>
            <p:nvPr/>
          </p:nvSpPr>
          <p:spPr bwMode="auto">
            <a:xfrm>
              <a:off x="5189" y="2494"/>
              <a:ext cx="446" cy="164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69" name="Oval 259"/>
            <p:cNvSpPr>
              <a:spLocks noChangeArrowheads="1"/>
            </p:cNvSpPr>
            <p:nvPr/>
          </p:nvSpPr>
          <p:spPr bwMode="auto">
            <a:xfrm>
              <a:off x="4921" y="2190"/>
              <a:ext cx="34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70" name="Oval 260"/>
            <p:cNvSpPr>
              <a:spLocks noChangeArrowheads="1"/>
            </p:cNvSpPr>
            <p:nvPr/>
          </p:nvSpPr>
          <p:spPr bwMode="auto">
            <a:xfrm>
              <a:off x="5198" y="2324"/>
              <a:ext cx="35" cy="47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71" name="Line 261"/>
            <p:cNvSpPr>
              <a:spLocks noChangeShapeType="1"/>
            </p:cNvSpPr>
            <p:nvPr/>
          </p:nvSpPr>
          <p:spPr bwMode="auto">
            <a:xfrm>
              <a:off x="4938" y="2213"/>
              <a:ext cx="277" cy="135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72" name="Oval 262"/>
            <p:cNvSpPr>
              <a:spLocks noChangeArrowheads="1"/>
            </p:cNvSpPr>
            <p:nvPr/>
          </p:nvSpPr>
          <p:spPr bwMode="auto">
            <a:xfrm>
              <a:off x="5633" y="2541"/>
              <a:ext cx="35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73" name="Line 263"/>
            <p:cNvSpPr>
              <a:spLocks noChangeShapeType="1"/>
            </p:cNvSpPr>
            <p:nvPr/>
          </p:nvSpPr>
          <p:spPr bwMode="auto">
            <a:xfrm>
              <a:off x="5215" y="2348"/>
              <a:ext cx="436" cy="216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74" name="Oval 264"/>
            <p:cNvSpPr>
              <a:spLocks noChangeArrowheads="1"/>
            </p:cNvSpPr>
            <p:nvPr/>
          </p:nvSpPr>
          <p:spPr bwMode="auto">
            <a:xfrm>
              <a:off x="4921" y="2190"/>
              <a:ext cx="34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75" name="Oval 265"/>
            <p:cNvSpPr>
              <a:spLocks noChangeArrowheads="1"/>
            </p:cNvSpPr>
            <p:nvPr/>
          </p:nvSpPr>
          <p:spPr bwMode="auto">
            <a:xfrm>
              <a:off x="5620" y="2623"/>
              <a:ext cx="35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76" name="Line 266"/>
            <p:cNvSpPr>
              <a:spLocks noChangeShapeType="1"/>
            </p:cNvSpPr>
            <p:nvPr/>
          </p:nvSpPr>
          <p:spPr bwMode="auto">
            <a:xfrm>
              <a:off x="4938" y="2213"/>
              <a:ext cx="700" cy="433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77" name="Oval 267"/>
            <p:cNvSpPr>
              <a:spLocks noChangeArrowheads="1"/>
            </p:cNvSpPr>
            <p:nvPr/>
          </p:nvSpPr>
          <p:spPr bwMode="auto">
            <a:xfrm>
              <a:off x="6009" y="3056"/>
              <a:ext cx="35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78" name="Line 268"/>
            <p:cNvSpPr>
              <a:spLocks noChangeShapeType="1"/>
            </p:cNvSpPr>
            <p:nvPr/>
          </p:nvSpPr>
          <p:spPr bwMode="auto">
            <a:xfrm>
              <a:off x="5638" y="2646"/>
              <a:ext cx="388" cy="433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679" name="Oval 269"/>
            <p:cNvSpPr>
              <a:spLocks noChangeArrowheads="1"/>
            </p:cNvSpPr>
            <p:nvPr/>
          </p:nvSpPr>
          <p:spPr bwMode="auto">
            <a:xfrm>
              <a:off x="6475" y="3429"/>
              <a:ext cx="34" cy="46"/>
            </a:xfrm>
            <a:prstGeom prst="ellipse">
              <a:avLst/>
            </a:prstGeom>
            <a:noFill/>
            <a:ln w="25400">
              <a:solidFill>
                <a:srgbClr val="FFF10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3680" name="Line 270"/>
            <p:cNvSpPr>
              <a:spLocks noChangeShapeType="1"/>
            </p:cNvSpPr>
            <p:nvPr/>
          </p:nvSpPr>
          <p:spPr bwMode="auto">
            <a:xfrm>
              <a:off x="6026" y="3079"/>
              <a:ext cx="466" cy="373"/>
            </a:xfrm>
            <a:prstGeom prst="line">
              <a:avLst/>
            </a:prstGeom>
            <a:noFill/>
            <a:ln w="25400">
              <a:solidFill>
                <a:srgbClr val="FFF10F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33485" name="Rectangle 271"/>
          <p:cNvSpPr>
            <a:spLocks noChangeArrowheads="1"/>
          </p:cNvSpPr>
          <p:nvPr/>
        </p:nvSpPr>
        <p:spPr bwMode="auto">
          <a:xfrm>
            <a:off x="7169150" y="3644900"/>
            <a:ext cx="197485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/>
          <a:p>
            <a:pPr>
              <a:spcBef>
                <a:spcPct val="50000"/>
              </a:spcBef>
              <a:buFontTx/>
              <a:buNone/>
            </a:pPr>
            <a:r>
              <a:rPr lang="en-GB">
                <a:solidFill>
                  <a:srgbClr val="4FFAFD"/>
                </a:solidFill>
              </a:rPr>
              <a:t>Controls</a:t>
            </a:r>
          </a:p>
        </p:txBody>
      </p:sp>
      <p:sp>
        <p:nvSpPr>
          <p:cNvPr id="233486" name="Rectangle 272"/>
          <p:cNvSpPr>
            <a:spLocks noChangeArrowheads="1"/>
          </p:cNvSpPr>
          <p:nvPr/>
        </p:nvSpPr>
        <p:spPr bwMode="auto">
          <a:xfrm>
            <a:off x="5651500" y="5084763"/>
            <a:ext cx="123825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>
            <a:spAutoFit/>
          </a:bodyPr>
          <a:lstStyle/>
          <a:p>
            <a:pPr>
              <a:spcBef>
                <a:spcPct val="50000"/>
              </a:spcBef>
              <a:buFontTx/>
              <a:buNone/>
            </a:pPr>
            <a:r>
              <a:rPr lang="en-GB">
                <a:solidFill>
                  <a:srgbClr val="FFFF66"/>
                </a:solidFill>
              </a:rPr>
              <a:t>AD </a:t>
            </a:r>
          </a:p>
        </p:txBody>
      </p:sp>
      <p:sp>
        <p:nvSpPr>
          <p:cNvPr id="233487" name="Rectangle 280"/>
          <p:cNvSpPr>
            <a:spLocks noChangeArrowheads="1"/>
          </p:cNvSpPr>
          <p:nvPr/>
        </p:nvSpPr>
        <p:spPr bwMode="auto">
          <a:xfrm>
            <a:off x="7572375" y="0"/>
            <a:ext cx="1571625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21" name="Rectangle 2"/>
          <p:cNvSpPr>
            <a:spLocks noChangeArrowheads="1"/>
          </p:cNvSpPr>
          <p:nvPr/>
        </p:nvSpPr>
        <p:spPr bwMode="auto">
          <a:xfrm>
            <a:off x="323850" y="1052513"/>
            <a:ext cx="8569325" cy="5545137"/>
          </a:xfrm>
          <a:prstGeom prst="rect">
            <a:avLst/>
          </a:prstGeom>
          <a:solidFill>
            <a:srgbClr val="FFFF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FontTx/>
              <a:buNone/>
            </a:pPr>
            <a:endParaRPr lang="en-GB"/>
          </a:p>
        </p:txBody>
      </p:sp>
      <p:sp>
        <p:nvSpPr>
          <p:cNvPr id="516099" name="Rectangle 3"/>
          <p:cNvSpPr>
            <a:spLocks noChangeArrowheads="1"/>
          </p:cNvSpPr>
          <p:nvPr/>
        </p:nvSpPr>
        <p:spPr bwMode="auto">
          <a:xfrm rot="16200000">
            <a:off x="-1148556" y="3531394"/>
            <a:ext cx="409257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en-US" sz="2200" b="1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Cognitive  Function</a:t>
            </a:r>
          </a:p>
        </p:txBody>
      </p:sp>
      <p:sp>
        <p:nvSpPr>
          <p:cNvPr id="235523" name="Text Box 4"/>
          <p:cNvSpPr txBox="1">
            <a:spLocks noChangeArrowheads="1"/>
          </p:cNvSpPr>
          <p:nvPr/>
        </p:nvSpPr>
        <p:spPr bwMode="auto">
          <a:xfrm>
            <a:off x="684213" y="260350"/>
            <a:ext cx="73787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50000"/>
              </a:spcBef>
              <a:buFontTx/>
              <a:buNone/>
            </a:pPr>
            <a:r>
              <a:rPr lang="en-US" sz="2400" b="1">
                <a:solidFill>
                  <a:srgbClr val="FFFF00"/>
                </a:solidFill>
              </a:rPr>
              <a:t>Transition from normal aging to Alzheimer</a:t>
            </a:r>
            <a:r>
              <a:rPr lang="ja-JP" altLang="en-US" sz="2400" b="1">
                <a:solidFill>
                  <a:srgbClr val="FFFF00"/>
                </a:solidFill>
              </a:rPr>
              <a:t>’</a:t>
            </a:r>
            <a:r>
              <a:rPr lang="en-US" altLang="ja-JP" sz="2400" b="1">
                <a:solidFill>
                  <a:srgbClr val="FFFF00"/>
                </a:solidFill>
              </a:rPr>
              <a:t>s</a:t>
            </a:r>
            <a:endParaRPr lang="en-US" sz="2400" b="1">
              <a:solidFill>
                <a:srgbClr val="FFFF00"/>
              </a:solidFill>
            </a:endParaRPr>
          </a:p>
        </p:txBody>
      </p:sp>
      <p:graphicFrame>
        <p:nvGraphicFramePr>
          <p:cNvPr id="235524" name="Object 2"/>
          <p:cNvGraphicFramePr>
            <a:graphicFrameLocks/>
          </p:cNvGraphicFramePr>
          <p:nvPr/>
        </p:nvGraphicFramePr>
        <p:xfrm>
          <a:off x="1116013" y="1125538"/>
          <a:ext cx="6818312" cy="5060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1" r:id="rId6" imgW="6814765" imgH="5059262" progId="Excel.Chart.8">
                  <p:embed/>
                </p:oleObj>
              </mc:Choice>
              <mc:Fallback>
                <p:oleObj r:id="rId6" imgW="6814765" imgH="5059262" progId="Excel.Chart.8">
                  <p:embed/>
                  <p:pic>
                    <p:nvPicPr>
                      <p:cNvPr id="0" name="Object 2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6013" y="1125538"/>
                        <a:ext cx="6818312" cy="50609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6102" name="Rectangle 6"/>
          <p:cNvSpPr>
            <a:spLocks noChangeArrowheads="1"/>
          </p:cNvSpPr>
          <p:nvPr/>
        </p:nvSpPr>
        <p:spPr bwMode="auto">
          <a:xfrm>
            <a:off x="4356100" y="6165850"/>
            <a:ext cx="719138" cy="431800"/>
          </a:xfrm>
          <a:prstGeom prst="rect">
            <a:avLst/>
          </a:prstGeom>
          <a:solidFill>
            <a:srgbClr val="FFFF99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en-US" sz="2200" b="1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Age</a:t>
            </a:r>
          </a:p>
        </p:txBody>
      </p:sp>
      <p:sp>
        <p:nvSpPr>
          <p:cNvPr id="235526" name="Freeform 7"/>
          <p:cNvSpPr>
            <a:spLocks/>
          </p:cNvSpPr>
          <p:nvPr/>
        </p:nvSpPr>
        <p:spPr bwMode="auto">
          <a:xfrm>
            <a:off x="1476375" y="2211388"/>
            <a:ext cx="5405438" cy="3270250"/>
          </a:xfrm>
          <a:custGeom>
            <a:avLst/>
            <a:gdLst>
              <a:gd name="T0" fmla="*/ 0 w 3746"/>
              <a:gd name="T1" fmla="*/ 2147483647 h 2014"/>
              <a:gd name="T2" fmla="*/ 2147483647 w 3746"/>
              <a:gd name="T3" fmla="*/ 2147483647 h 2014"/>
              <a:gd name="T4" fmla="*/ 2147483647 w 3746"/>
              <a:gd name="T5" fmla="*/ 2147483647 h 2014"/>
              <a:gd name="T6" fmla="*/ 2147483647 w 3746"/>
              <a:gd name="T7" fmla="*/ 2147483647 h 2014"/>
              <a:gd name="T8" fmla="*/ 2147483647 w 3746"/>
              <a:gd name="T9" fmla="*/ 2147483647 h 2014"/>
              <a:gd name="T10" fmla="*/ 2147483647 w 3746"/>
              <a:gd name="T11" fmla="*/ 2147483647 h 201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746"/>
              <a:gd name="T19" fmla="*/ 0 h 2014"/>
              <a:gd name="T20" fmla="*/ 3746 w 3746"/>
              <a:gd name="T21" fmla="*/ 2014 h 201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746" h="2014">
                <a:moveTo>
                  <a:pt x="0" y="16"/>
                </a:moveTo>
                <a:cubicBezTo>
                  <a:pt x="93" y="16"/>
                  <a:pt x="410" y="15"/>
                  <a:pt x="557" y="15"/>
                </a:cubicBezTo>
                <a:cubicBezTo>
                  <a:pt x="705" y="15"/>
                  <a:pt x="840" y="15"/>
                  <a:pt x="885" y="15"/>
                </a:cubicBezTo>
                <a:cubicBezTo>
                  <a:pt x="945" y="15"/>
                  <a:pt x="1021" y="0"/>
                  <a:pt x="1286" y="176"/>
                </a:cubicBezTo>
                <a:cubicBezTo>
                  <a:pt x="1551" y="352"/>
                  <a:pt x="2066" y="761"/>
                  <a:pt x="2477" y="1068"/>
                </a:cubicBezTo>
                <a:cubicBezTo>
                  <a:pt x="2887" y="1374"/>
                  <a:pt x="3535" y="1856"/>
                  <a:pt x="3746" y="2014"/>
                </a:cubicBezTo>
              </a:path>
            </a:pathLst>
          </a:custGeom>
          <a:solidFill>
            <a:schemeClr val="bg1"/>
          </a:solidFill>
          <a:ln w="57150">
            <a:solidFill>
              <a:srgbClr val="FAFF00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endParaRPr lang="en-GB"/>
          </a:p>
        </p:txBody>
      </p:sp>
      <p:grpSp>
        <p:nvGrpSpPr>
          <p:cNvPr id="235527" name="Group 8"/>
          <p:cNvGrpSpPr>
            <a:grpSpLocks/>
          </p:cNvGrpSpPr>
          <p:nvPr/>
        </p:nvGrpSpPr>
        <p:grpSpPr bwMode="auto">
          <a:xfrm>
            <a:off x="2730500" y="5487988"/>
            <a:ext cx="5038725" cy="407987"/>
            <a:chOff x="2062" y="3199"/>
            <a:chExt cx="3174" cy="257"/>
          </a:xfrm>
        </p:grpSpPr>
        <p:sp>
          <p:nvSpPr>
            <p:cNvPr id="516105" name="Rectangle 9"/>
            <p:cNvSpPr>
              <a:spLocks noChangeArrowheads="1"/>
            </p:cNvSpPr>
            <p:nvPr/>
          </p:nvSpPr>
          <p:spPr bwMode="auto">
            <a:xfrm>
              <a:off x="4278" y="3242"/>
              <a:ext cx="958" cy="214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92075" tIns="46038" rIns="92075" bIns="46038">
              <a:spAutoFit/>
            </a:bodyPr>
            <a:lstStyle/>
            <a:p>
              <a:pPr algn="l">
                <a:spcBef>
                  <a:spcPct val="0"/>
                </a:spcBef>
                <a:buFontTx/>
                <a:buNone/>
                <a:defRPr/>
              </a:pPr>
              <a:r>
                <a:rPr lang="en-US" sz="1600" b="1" dirty="0">
                  <a:solidFill>
                    <a:srgbClr val="0000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charset="0"/>
                  <a:ea typeface="ＭＳ Ｐゴシック" charset="0"/>
                  <a:cs typeface="ＭＳ Ｐゴシック" charset="0"/>
                </a:rPr>
                <a:t>Definite AD</a:t>
              </a:r>
              <a:endParaRPr lang="en-US" sz="1600" b="1" baseline="30000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35540" name="Line 10"/>
            <p:cNvSpPr>
              <a:spLocks noChangeShapeType="1"/>
            </p:cNvSpPr>
            <p:nvPr/>
          </p:nvSpPr>
          <p:spPr bwMode="auto">
            <a:xfrm>
              <a:off x="2062" y="3199"/>
              <a:ext cx="3054" cy="0"/>
            </a:xfrm>
            <a:prstGeom prst="line">
              <a:avLst/>
            </a:prstGeom>
            <a:noFill/>
            <a:ln w="38100">
              <a:solidFill>
                <a:srgbClr val="9FBDF9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235528" name="Group 11"/>
          <p:cNvGrpSpPr>
            <a:grpSpLocks/>
          </p:cNvGrpSpPr>
          <p:nvPr/>
        </p:nvGrpSpPr>
        <p:grpSpPr bwMode="auto">
          <a:xfrm>
            <a:off x="2730500" y="3657600"/>
            <a:ext cx="5068888" cy="468313"/>
            <a:chOff x="2062" y="2046"/>
            <a:chExt cx="3193" cy="295"/>
          </a:xfrm>
        </p:grpSpPr>
        <p:sp>
          <p:nvSpPr>
            <p:cNvPr id="516108" name="Rectangle 12"/>
            <p:cNvSpPr>
              <a:spLocks noChangeArrowheads="1"/>
            </p:cNvSpPr>
            <p:nvPr/>
          </p:nvSpPr>
          <p:spPr bwMode="auto">
            <a:xfrm>
              <a:off x="4122" y="2127"/>
              <a:ext cx="1133" cy="214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92075" tIns="46038" rIns="92075" bIns="46038">
              <a:spAutoFit/>
            </a:bodyPr>
            <a:lstStyle/>
            <a:p>
              <a:pPr algn="l">
                <a:spcBef>
                  <a:spcPct val="0"/>
                </a:spcBef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Probable AD</a:t>
              </a:r>
            </a:p>
          </p:txBody>
        </p:sp>
        <p:sp>
          <p:nvSpPr>
            <p:cNvPr id="235538" name="Line 13"/>
            <p:cNvSpPr>
              <a:spLocks noChangeShapeType="1"/>
            </p:cNvSpPr>
            <p:nvPr/>
          </p:nvSpPr>
          <p:spPr bwMode="auto">
            <a:xfrm>
              <a:off x="2062" y="2046"/>
              <a:ext cx="3054" cy="0"/>
            </a:xfrm>
            <a:prstGeom prst="line">
              <a:avLst/>
            </a:prstGeom>
            <a:noFill/>
            <a:ln w="38100">
              <a:solidFill>
                <a:srgbClr val="9FBDF9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235529" name="Group 14"/>
          <p:cNvGrpSpPr>
            <a:grpSpLocks/>
          </p:cNvGrpSpPr>
          <p:nvPr/>
        </p:nvGrpSpPr>
        <p:grpSpPr bwMode="auto">
          <a:xfrm>
            <a:off x="2730500" y="2409825"/>
            <a:ext cx="5286375" cy="501650"/>
            <a:chOff x="2062" y="1260"/>
            <a:chExt cx="3330" cy="316"/>
          </a:xfrm>
        </p:grpSpPr>
        <p:sp>
          <p:nvSpPr>
            <p:cNvPr id="516111" name="Rectangle 15"/>
            <p:cNvSpPr>
              <a:spLocks noChangeArrowheads="1"/>
            </p:cNvSpPr>
            <p:nvPr/>
          </p:nvSpPr>
          <p:spPr bwMode="auto">
            <a:xfrm>
              <a:off x="3357" y="1362"/>
              <a:ext cx="2035" cy="214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92075" tIns="46038" rIns="92075" bIns="46038">
              <a:spAutoFit/>
            </a:bodyPr>
            <a:lstStyle/>
            <a:p>
              <a:pPr algn="l">
                <a:spcBef>
                  <a:spcPct val="0"/>
                </a:spcBef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Mild cognitive impairment</a:t>
              </a:r>
            </a:p>
          </p:txBody>
        </p:sp>
        <p:sp>
          <p:nvSpPr>
            <p:cNvPr id="235536" name="Line 16"/>
            <p:cNvSpPr>
              <a:spLocks noChangeShapeType="1"/>
            </p:cNvSpPr>
            <p:nvPr/>
          </p:nvSpPr>
          <p:spPr bwMode="auto">
            <a:xfrm>
              <a:off x="2062" y="1260"/>
              <a:ext cx="3054" cy="0"/>
            </a:xfrm>
            <a:prstGeom prst="line">
              <a:avLst/>
            </a:prstGeom>
            <a:noFill/>
            <a:ln w="38100">
              <a:solidFill>
                <a:srgbClr val="9FBDF9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35530" name="Text Box 17"/>
          <p:cNvSpPr txBox="1">
            <a:spLocks noChangeArrowheads="1"/>
          </p:cNvSpPr>
          <p:nvPr/>
        </p:nvSpPr>
        <p:spPr bwMode="auto">
          <a:xfrm>
            <a:off x="1438275" y="1781175"/>
            <a:ext cx="2514600" cy="4572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50000"/>
              </a:spcBef>
              <a:buFontTx/>
              <a:buNone/>
            </a:pPr>
            <a:r>
              <a:rPr lang="en-US" sz="2400">
                <a:solidFill>
                  <a:srgbClr val="000000"/>
                </a:solidFill>
              </a:rPr>
              <a:t>Normal aging</a:t>
            </a:r>
          </a:p>
        </p:txBody>
      </p:sp>
      <p:grpSp>
        <p:nvGrpSpPr>
          <p:cNvPr id="235531" name="Group 4"/>
          <p:cNvGrpSpPr>
            <a:grpSpLocks/>
          </p:cNvGrpSpPr>
          <p:nvPr/>
        </p:nvGrpSpPr>
        <p:grpSpPr bwMode="auto">
          <a:xfrm>
            <a:off x="7715250" y="214313"/>
            <a:ext cx="1298575" cy="681037"/>
            <a:chOff x="7500938" y="285728"/>
            <a:chExt cx="1298575" cy="681060"/>
          </a:xfrm>
        </p:grpSpPr>
        <p:pic>
          <p:nvPicPr>
            <p:cNvPr id="235533" name="Picture 64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2396" y="285728"/>
              <a:ext cx="1071590" cy="2823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5534" name="Picture 63" descr="C:\Documents and Settings\KMosley\Local Settings\Temporary Internet Files\Content.IE5\8F8TCVUH\SJMC[1].gif"/>
            <p:cNvPicPr>
              <a:picLocks noChangeAspect="1" noChangeArrowheads="1"/>
            </p:cNvPicPr>
            <p:nvPr/>
          </p:nvPicPr>
          <p:blipFill>
            <a:blip r:embed="rId9" r:link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0938" y="668338"/>
              <a:ext cx="1298575" cy="298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17" name="Group 216"/>
          <p:cNvGrpSpPr/>
          <p:nvPr/>
        </p:nvGrpSpPr>
        <p:grpSpPr>
          <a:xfrm>
            <a:off x="1331640" y="3717032"/>
            <a:ext cx="2952328" cy="2232248"/>
            <a:chOff x="5292080" y="3789040"/>
            <a:chExt cx="3456384" cy="2736304"/>
          </a:xfrm>
          <a:solidFill>
            <a:srgbClr val="1F497D"/>
          </a:solidFill>
        </p:grpSpPr>
        <p:sp>
          <p:nvSpPr>
            <p:cNvPr id="218" name="Rounded Rectangle 217"/>
            <p:cNvSpPr/>
            <p:nvPr/>
          </p:nvSpPr>
          <p:spPr>
            <a:xfrm>
              <a:off x="5292080" y="3789040"/>
              <a:ext cx="3456384" cy="2736304"/>
            </a:xfrm>
            <a:prstGeom prst="roundRect">
              <a:avLst/>
            </a:prstGeom>
            <a:grpFill/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n-US"/>
            </a:p>
          </p:txBody>
        </p:sp>
        <p:grpSp>
          <p:nvGrpSpPr>
            <p:cNvPr id="219" name="Group 77"/>
            <p:cNvGrpSpPr>
              <a:grpSpLocks/>
            </p:cNvGrpSpPr>
            <p:nvPr/>
          </p:nvGrpSpPr>
          <p:grpSpPr bwMode="auto">
            <a:xfrm>
              <a:off x="5357813" y="3860800"/>
              <a:ext cx="3276600" cy="2484438"/>
              <a:chOff x="4323" y="1850"/>
              <a:chExt cx="3304" cy="2953"/>
            </a:xfrm>
            <a:grpFill/>
          </p:grpSpPr>
          <p:sp>
            <p:nvSpPr>
              <p:cNvPr id="220" name="Rectangle 78"/>
              <p:cNvSpPr>
                <a:spLocks noChangeArrowheads="1"/>
              </p:cNvSpPr>
              <p:nvPr/>
            </p:nvSpPr>
            <p:spPr bwMode="auto">
              <a:xfrm>
                <a:off x="4805" y="1850"/>
                <a:ext cx="188" cy="42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2075" tIns="46038" rIns="92075" bIns="46038">
                <a:spAutoFit/>
              </a:bodyPr>
              <a:lstStyle/>
              <a:p>
                <a:pPr algn="l" defTabSz="762000">
                  <a:spcBef>
                    <a:spcPct val="0"/>
                  </a:spcBef>
                  <a:buFontTx/>
                  <a:buNone/>
                  <a:defRPr/>
                </a:pPr>
                <a:r>
                  <a:rPr lang="en-GB" sz="1700">
                    <a:solidFill>
                      <a:srgbClr val="FFFF00"/>
                    </a:solidFill>
                    <a:latin typeface="Arial" charset="0"/>
                    <a:ea typeface="ＭＳ Ｐゴシック" charset="0"/>
                    <a:cs typeface="ＭＳ Ｐゴシック" charset="0"/>
                  </a:rPr>
                  <a:t>  </a:t>
                </a:r>
              </a:p>
            </p:txBody>
          </p:sp>
          <p:sp>
            <p:nvSpPr>
              <p:cNvPr id="221" name="Rectangle 79"/>
              <p:cNvSpPr>
                <a:spLocks noChangeArrowheads="1"/>
              </p:cNvSpPr>
              <p:nvPr/>
            </p:nvSpPr>
            <p:spPr bwMode="auto">
              <a:xfrm>
                <a:off x="4783" y="4382"/>
                <a:ext cx="310" cy="42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2075" tIns="46038" rIns="92075" bIns="46038">
                <a:spAutoFit/>
              </a:bodyPr>
              <a:lstStyle/>
              <a:p>
                <a:pPr defTabSz="762000">
                  <a:spcBef>
                    <a:spcPct val="0"/>
                  </a:spcBef>
                  <a:buFontTx/>
                  <a:buNone/>
                  <a:defRPr/>
                </a:pPr>
                <a:r>
                  <a:rPr lang="en-GB" sz="1700">
                    <a:solidFill>
                      <a:srgbClr val="FFFF00"/>
                    </a:solidFill>
                    <a:latin typeface="Arial" charset="0"/>
                    <a:ea typeface="ＭＳ Ｐゴシック" charset="0"/>
                    <a:cs typeface="ＭＳ Ｐゴシック" charset="0"/>
                  </a:rPr>
                  <a:t>0</a:t>
                </a:r>
              </a:p>
            </p:txBody>
          </p:sp>
          <p:sp>
            <p:nvSpPr>
              <p:cNvPr id="222" name="Line 80"/>
              <p:cNvSpPr>
                <a:spLocks noChangeShapeType="1"/>
              </p:cNvSpPr>
              <p:nvPr/>
            </p:nvSpPr>
            <p:spPr bwMode="auto">
              <a:xfrm flipV="1">
                <a:off x="4938" y="4356"/>
                <a:ext cx="0" cy="51"/>
              </a:xfrm>
              <a:prstGeom prst="line">
                <a:avLst/>
              </a:prstGeom>
              <a:grpFill/>
              <a:ln w="25400">
                <a:solidFill>
                  <a:srgbClr val="FFFF00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23" name="Rectangle 81"/>
              <p:cNvSpPr>
                <a:spLocks noChangeArrowheads="1"/>
              </p:cNvSpPr>
              <p:nvPr/>
            </p:nvSpPr>
            <p:spPr bwMode="auto">
              <a:xfrm>
                <a:off x="5628" y="4382"/>
                <a:ext cx="310" cy="42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2075" tIns="46038" rIns="92075" bIns="46038">
                <a:spAutoFit/>
              </a:bodyPr>
              <a:lstStyle/>
              <a:p>
                <a:pPr defTabSz="762000">
                  <a:spcBef>
                    <a:spcPct val="0"/>
                  </a:spcBef>
                  <a:buFontTx/>
                  <a:buNone/>
                  <a:defRPr/>
                </a:pPr>
                <a:r>
                  <a:rPr lang="en-GB" sz="1700">
                    <a:solidFill>
                      <a:srgbClr val="FFFF00"/>
                    </a:solidFill>
                    <a:latin typeface="Arial" charset="0"/>
                    <a:ea typeface="ＭＳ Ｐゴシック" charset="0"/>
                    <a:cs typeface="ＭＳ Ｐゴシック" charset="0"/>
                  </a:rPr>
                  <a:t>2</a:t>
                </a:r>
              </a:p>
            </p:txBody>
          </p:sp>
          <p:sp>
            <p:nvSpPr>
              <p:cNvPr id="224" name="Line 82"/>
              <p:cNvSpPr>
                <a:spLocks noChangeShapeType="1"/>
              </p:cNvSpPr>
              <p:nvPr/>
            </p:nvSpPr>
            <p:spPr bwMode="auto">
              <a:xfrm flipV="1">
                <a:off x="5783" y="4356"/>
                <a:ext cx="0" cy="51"/>
              </a:xfrm>
              <a:prstGeom prst="line">
                <a:avLst/>
              </a:prstGeom>
              <a:grpFill/>
              <a:ln w="25400">
                <a:solidFill>
                  <a:srgbClr val="FFFF00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25" name="Rectangle 83"/>
              <p:cNvSpPr>
                <a:spLocks noChangeArrowheads="1"/>
              </p:cNvSpPr>
              <p:nvPr/>
            </p:nvSpPr>
            <p:spPr bwMode="auto">
              <a:xfrm>
                <a:off x="6508" y="4382"/>
                <a:ext cx="239" cy="42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2075" tIns="46038" rIns="92075" bIns="46038">
                <a:spAutoFit/>
              </a:bodyPr>
              <a:lstStyle/>
              <a:p>
                <a:pPr defTabSz="762000">
                  <a:spcBef>
                    <a:spcPct val="0"/>
                  </a:spcBef>
                  <a:buFontTx/>
                  <a:buNone/>
                  <a:defRPr/>
                </a:pPr>
                <a:r>
                  <a:rPr lang="en-GB" sz="1700">
                    <a:solidFill>
                      <a:srgbClr val="FFFF00"/>
                    </a:solidFill>
                    <a:latin typeface="Arial" charset="0"/>
                    <a:ea typeface="ＭＳ Ｐゴシック" charset="0"/>
                    <a:cs typeface="ＭＳ Ｐゴシック" charset="0"/>
                  </a:rPr>
                  <a:t>4</a:t>
                </a:r>
              </a:p>
            </p:txBody>
          </p:sp>
          <p:sp>
            <p:nvSpPr>
              <p:cNvPr id="226" name="Line 84"/>
              <p:cNvSpPr>
                <a:spLocks noChangeShapeType="1"/>
              </p:cNvSpPr>
              <p:nvPr/>
            </p:nvSpPr>
            <p:spPr bwMode="auto">
              <a:xfrm flipV="1">
                <a:off x="6628" y="4356"/>
                <a:ext cx="0" cy="51"/>
              </a:xfrm>
              <a:prstGeom prst="line">
                <a:avLst/>
              </a:prstGeom>
              <a:grpFill/>
              <a:ln w="25400">
                <a:solidFill>
                  <a:srgbClr val="FFFF00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27" name="Rectangle 85"/>
              <p:cNvSpPr>
                <a:spLocks noChangeArrowheads="1"/>
              </p:cNvSpPr>
              <p:nvPr/>
            </p:nvSpPr>
            <p:spPr bwMode="auto">
              <a:xfrm>
                <a:off x="7317" y="4382"/>
                <a:ext cx="310" cy="42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2075" tIns="46038" rIns="92075" bIns="46038">
                <a:spAutoFit/>
              </a:bodyPr>
              <a:lstStyle/>
              <a:p>
                <a:pPr defTabSz="762000">
                  <a:spcBef>
                    <a:spcPct val="0"/>
                  </a:spcBef>
                  <a:buFontTx/>
                  <a:buNone/>
                  <a:defRPr/>
                </a:pPr>
                <a:r>
                  <a:rPr lang="en-GB" sz="1700">
                    <a:solidFill>
                      <a:srgbClr val="FFFF00"/>
                    </a:solidFill>
                    <a:latin typeface="Arial" charset="0"/>
                    <a:ea typeface="ＭＳ Ｐゴシック" charset="0"/>
                    <a:cs typeface="ＭＳ Ｐゴシック" charset="0"/>
                  </a:rPr>
                  <a:t>6</a:t>
                </a:r>
              </a:p>
            </p:txBody>
          </p:sp>
          <p:sp>
            <p:nvSpPr>
              <p:cNvPr id="228" name="Line 86"/>
              <p:cNvSpPr>
                <a:spLocks noChangeShapeType="1"/>
              </p:cNvSpPr>
              <p:nvPr/>
            </p:nvSpPr>
            <p:spPr bwMode="auto">
              <a:xfrm flipV="1">
                <a:off x="7473" y="4356"/>
                <a:ext cx="0" cy="51"/>
              </a:xfrm>
              <a:prstGeom prst="line">
                <a:avLst/>
              </a:prstGeom>
              <a:grpFill/>
              <a:ln w="25400">
                <a:solidFill>
                  <a:srgbClr val="FFFF00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29" name="Rectangle 87"/>
              <p:cNvSpPr>
                <a:spLocks noChangeArrowheads="1"/>
              </p:cNvSpPr>
              <p:nvPr/>
            </p:nvSpPr>
            <p:spPr bwMode="auto">
              <a:xfrm>
                <a:off x="4323" y="4174"/>
                <a:ext cx="506" cy="42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2075" tIns="46038" rIns="92075" bIns="46038">
                <a:spAutoFit/>
              </a:bodyPr>
              <a:lstStyle/>
              <a:p>
                <a:pPr algn="r" defTabSz="762000">
                  <a:spcBef>
                    <a:spcPct val="0"/>
                  </a:spcBef>
                  <a:buFontTx/>
                  <a:buNone/>
                  <a:defRPr/>
                </a:pPr>
                <a:r>
                  <a:rPr lang="en-GB" sz="1700">
                    <a:solidFill>
                      <a:srgbClr val="FFFF00"/>
                    </a:solidFill>
                    <a:latin typeface="Arial" charset="0"/>
                    <a:ea typeface="ＭＳ Ｐゴシック" charset="0"/>
                    <a:cs typeface="ＭＳ Ｐゴシック" charset="0"/>
                  </a:rPr>
                  <a:t>-15</a:t>
                </a:r>
              </a:p>
            </p:txBody>
          </p:sp>
          <p:sp>
            <p:nvSpPr>
              <p:cNvPr id="230" name="Line 88"/>
              <p:cNvSpPr>
                <a:spLocks noChangeShapeType="1"/>
              </p:cNvSpPr>
              <p:nvPr/>
            </p:nvSpPr>
            <p:spPr bwMode="auto">
              <a:xfrm flipH="1">
                <a:off x="4833" y="4260"/>
                <a:ext cx="40" cy="0"/>
              </a:xfrm>
              <a:prstGeom prst="line">
                <a:avLst/>
              </a:prstGeom>
              <a:grpFill/>
              <a:ln w="25400">
                <a:solidFill>
                  <a:srgbClr val="FFFF00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31" name="Rectangle 89"/>
              <p:cNvSpPr>
                <a:spLocks noChangeArrowheads="1"/>
              </p:cNvSpPr>
              <p:nvPr/>
            </p:nvSpPr>
            <p:spPr bwMode="auto">
              <a:xfrm>
                <a:off x="4325" y="3491"/>
                <a:ext cx="506" cy="42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2075" tIns="46038" rIns="92075" bIns="46038">
                <a:spAutoFit/>
              </a:bodyPr>
              <a:lstStyle/>
              <a:p>
                <a:pPr algn="r" defTabSz="762000">
                  <a:spcBef>
                    <a:spcPct val="0"/>
                  </a:spcBef>
                  <a:buFontTx/>
                  <a:buNone/>
                  <a:defRPr/>
                </a:pPr>
                <a:r>
                  <a:rPr lang="en-GB" sz="1700">
                    <a:solidFill>
                      <a:srgbClr val="FFFF00"/>
                    </a:solidFill>
                    <a:latin typeface="Arial" charset="0"/>
                    <a:ea typeface="ＭＳ Ｐゴシック" charset="0"/>
                    <a:cs typeface="ＭＳ Ｐゴシック" charset="0"/>
                  </a:rPr>
                  <a:t>-10</a:t>
                </a:r>
              </a:p>
            </p:txBody>
          </p:sp>
          <p:sp>
            <p:nvSpPr>
              <p:cNvPr id="232" name="Line 90"/>
              <p:cNvSpPr>
                <a:spLocks noChangeShapeType="1"/>
              </p:cNvSpPr>
              <p:nvPr/>
            </p:nvSpPr>
            <p:spPr bwMode="auto">
              <a:xfrm flipH="1">
                <a:off x="4833" y="3577"/>
                <a:ext cx="40" cy="0"/>
              </a:xfrm>
              <a:prstGeom prst="line">
                <a:avLst/>
              </a:prstGeom>
              <a:grpFill/>
              <a:ln w="25400">
                <a:solidFill>
                  <a:srgbClr val="FFFF00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33" name="Rectangle 91"/>
              <p:cNvSpPr>
                <a:spLocks noChangeArrowheads="1"/>
              </p:cNvSpPr>
              <p:nvPr/>
            </p:nvSpPr>
            <p:spPr bwMode="auto">
              <a:xfrm>
                <a:off x="4446" y="2808"/>
                <a:ext cx="383" cy="42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2075" tIns="46038" rIns="92075" bIns="46038">
                <a:spAutoFit/>
              </a:bodyPr>
              <a:lstStyle/>
              <a:p>
                <a:pPr algn="r" defTabSz="762000">
                  <a:spcBef>
                    <a:spcPct val="0"/>
                  </a:spcBef>
                  <a:buFontTx/>
                  <a:buNone/>
                  <a:defRPr/>
                </a:pPr>
                <a:r>
                  <a:rPr lang="en-GB" sz="1700">
                    <a:solidFill>
                      <a:srgbClr val="FFFF00"/>
                    </a:solidFill>
                    <a:latin typeface="Arial" charset="0"/>
                    <a:ea typeface="ＭＳ Ｐゴシック" charset="0"/>
                    <a:cs typeface="ＭＳ Ｐゴシック" charset="0"/>
                  </a:rPr>
                  <a:t>-5</a:t>
                </a:r>
              </a:p>
            </p:txBody>
          </p:sp>
          <p:sp>
            <p:nvSpPr>
              <p:cNvPr id="234" name="Line 92"/>
              <p:cNvSpPr>
                <a:spLocks noChangeShapeType="1"/>
              </p:cNvSpPr>
              <p:nvPr/>
            </p:nvSpPr>
            <p:spPr bwMode="auto">
              <a:xfrm flipH="1">
                <a:off x="4833" y="2894"/>
                <a:ext cx="40" cy="0"/>
              </a:xfrm>
              <a:prstGeom prst="line">
                <a:avLst/>
              </a:prstGeom>
              <a:grpFill/>
              <a:ln w="25400">
                <a:solidFill>
                  <a:srgbClr val="FFFF00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35" name="Rectangle 93"/>
              <p:cNvSpPr>
                <a:spLocks noChangeArrowheads="1"/>
              </p:cNvSpPr>
              <p:nvPr/>
            </p:nvSpPr>
            <p:spPr bwMode="auto">
              <a:xfrm>
                <a:off x="4542" y="2127"/>
                <a:ext cx="310" cy="42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2075" tIns="46038" rIns="92075" bIns="46038">
                <a:spAutoFit/>
              </a:bodyPr>
              <a:lstStyle/>
              <a:p>
                <a:pPr algn="r" defTabSz="762000">
                  <a:spcBef>
                    <a:spcPct val="0"/>
                  </a:spcBef>
                  <a:buFontTx/>
                  <a:buNone/>
                  <a:defRPr/>
                </a:pPr>
                <a:r>
                  <a:rPr lang="en-GB" sz="1700">
                    <a:solidFill>
                      <a:srgbClr val="FFFF00"/>
                    </a:solidFill>
                    <a:latin typeface="Arial" charset="0"/>
                    <a:ea typeface="ＭＳ Ｐゴシック" charset="0"/>
                    <a:cs typeface="ＭＳ Ｐゴシック" charset="0"/>
                  </a:rPr>
                  <a:t>0</a:t>
                </a:r>
              </a:p>
            </p:txBody>
          </p:sp>
          <p:sp>
            <p:nvSpPr>
              <p:cNvPr id="236" name="Line 94"/>
              <p:cNvSpPr>
                <a:spLocks noChangeShapeType="1"/>
              </p:cNvSpPr>
              <p:nvPr/>
            </p:nvSpPr>
            <p:spPr bwMode="auto">
              <a:xfrm flipH="1">
                <a:off x="4833" y="2213"/>
                <a:ext cx="40" cy="0"/>
              </a:xfrm>
              <a:prstGeom prst="line">
                <a:avLst/>
              </a:prstGeom>
              <a:grpFill/>
              <a:ln w="25400">
                <a:solidFill>
                  <a:srgbClr val="FFFF00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37" name="Line 95"/>
              <p:cNvSpPr>
                <a:spLocks noChangeShapeType="1"/>
              </p:cNvSpPr>
              <p:nvPr/>
            </p:nvSpPr>
            <p:spPr bwMode="auto">
              <a:xfrm flipH="1">
                <a:off x="4933" y="4356"/>
                <a:ext cx="2664" cy="0"/>
              </a:xfrm>
              <a:prstGeom prst="line">
                <a:avLst/>
              </a:prstGeom>
              <a:grpFill/>
              <a:ln w="25400">
                <a:solidFill>
                  <a:srgbClr val="FFFF00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38" name="Line 96"/>
              <p:cNvSpPr>
                <a:spLocks noChangeShapeType="1"/>
              </p:cNvSpPr>
              <p:nvPr/>
            </p:nvSpPr>
            <p:spPr bwMode="auto">
              <a:xfrm flipV="1">
                <a:off x="4873" y="2097"/>
                <a:ext cx="0" cy="2259"/>
              </a:xfrm>
              <a:prstGeom prst="line">
                <a:avLst/>
              </a:prstGeom>
              <a:grpFill/>
              <a:ln w="25400">
                <a:solidFill>
                  <a:srgbClr val="FFFF00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39" name="Freeform 97"/>
              <p:cNvSpPr>
                <a:spLocks/>
              </p:cNvSpPr>
              <p:nvPr/>
            </p:nvSpPr>
            <p:spPr bwMode="auto">
              <a:xfrm>
                <a:off x="4915" y="2182"/>
                <a:ext cx="47" cy="63"/>
              </a:xfrm>
              <a:custGeom>
                <a:avLst/>
                <a:gdLst>
                  <a:gd name="T0" fmla="*/ 1 w 64"/>
                  <a:gd name="T1" fmla="*/ 0 h 63"/>
                  <a:gd name="T2" fmla="*/ 0 w 64"/>
                  <a:gd name="T3" fmla="*/ 62 h 63"/>
                  <a:gd name="T4" fmla="*/ 1 w 64"/>
                  <a:gd name="T5" fmla="*/ 62 h 63"/>
                  <a:gd name="T6" fmla="*/ 1 w 64"/>
                  <a:gd name="T7" fmla="*/ 0 h 6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3"/>
                  <a:gd name="T14" fmla="*/ 64 w 64"/>
                  <a:gd name="T15" fmla="*/ 63 h 6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3">
                    <a:moveTo>
                      <a:pt x="31" y="0"/>
                    </a:moveTo>
                    <a:lnTo>
                      <a:pt x="0" y="62"/>
                    </a:lnTo>
                    <a:lnTo>
                      <a:pt x="63" y="62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40" name="Freeform 98"/>
              <p:cNvSpPr>
                <a:spLocks/>
              </p:cNvSpPr>
              <p:nvPr/>
            </p:nvSpPr>
            <p:spPr bwMode="auto">
              <a:xfrm>
                <a:off x="5672" y="2220"/>
                <a:ext cx="48" cy="64"/>
              </a:xfrm>
              <a:custGeom>
                <a:avLst/>
                <a:gdLst>
                  <a:gd name="T0" fmla="*/ 2 w 64"/>
                  <a:gd name="T1" fmla="*/ 0 h 64"/>
                  <a:gd name="T2" fmla="*/ 0 w 64"/>
                  <a:gd name="T3" fmla="*/ 63 h 64"/>
                  <a:gd name="T4" fmla="*/ 2 w 64"/>
                  <a:gd name="T5" fmla="*/ 63 h 64"/>
                  <a:gd name="T6" fmla="*/ 2 w 64"/>
                  <a:gd name="T7" fmla="*/ 0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4"/>
                  <a:gd name="T14" fmla="*/ 64 w 64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4">
                    <a:moveTo>
                      <a:pt x="31" y="0"/>
                    </a:moveTo>
                    <a:lnTo>
                      <a:pt x="0" y="63"/>
                    </a:lnTo>
                    <a:lnTo>
                      <a:pt x="63" y="63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41" name="Line 99"/>
              <p:cNvSpPr>
                <a:spLocks noChangeShapeType="1"/>
              </p:cNvSpPr>
              <p:nvPr/>
            </p:nvSpPr>
            <p:spPr bwMode="auto">
              <a:xfrm>
                <a:off x="4938" y="2213"/>
                <a:ext cx="757" cy="38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42" name="Freeform 100"/>
              <p:cNvSpPr>
                <a:spLocks/>
              </p:cNvSpPr>
              <p:nvPr/>
            </p:nvSpPr>
            <p:spPr bwMode="auto">
              <a:xfrm>
                <a:off x="6254" y="2244"/>
                <a:ext cx="47" cy="64"/>
              </a:xfrm>
              <a:custGeom>
                <a:avLst/>
                <a:gdLst>
                  <a:gd name="T0" fmla="*/ 1 w 64"/>
                  <a:gd name="T1" fmla="*/ 0 h 64"/>
                  <a:gd name="T2" fmla="*/ 0 w 64"/>
                  <a:gd name="T3" fmla="*/ 63 h 64"/>
                  <a:gd name="T4" fmla="*/ 1 w 64"/>
                  <a:gd name="T5" fmla="*/ 63 h 64"/>
                  <a:gd name="T6" fmla="*/ 1 w 64"/>
                  <a:gd name="T7" fmla="*/ 0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4"/>
                  <a:gd name="T14" fmla="*/ 64 w 64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4">
                    <a:moveTo>
                      <a:pt x="32" y="0"/>
                    </a:moveTo>
                    <a:lnTo>
                      <a:pt x="0" y="63"/>
                    </a:lnTo>
                    <a:lnTo>
                      <a:pt x="63" y="63"/>
                    </a:lnTo>
                    <a:lnTo>
                      <a:pt x="32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43" name="Line 101"/>
              <p:cNvSpPr>
                <a:spLocks noChangeShapeType="1"/>
              </p:cNvSpPr>
              <p:nvPr/>
            </p:nvSpPr>
            <p:spPr bwMode="auto">
              <a:xfrm>
                <a:off x="5695" y="2251"/>
                <a:ext cx="582" cy="24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44" name="Freeform 102"/>
              <p:cNvSpPr>
                <a:spLocks/>
              </p:cNvSpPr>
              <p:nvPr/>
            </p:nvSpPr>
            <p:spPr bwMode="auto">
              <a:xfrm>
                <a:off x="4915" y="2182"/>
                <a:ext cx="47" cy="63"/>
              </a:xfrm>
              <a:custGeom>
                <a:avLst/>
                <a:gdLst>
                  <a:gd name="T0" fmla="*/ 1 w 64"/>
                  <a:gd name="T1" fmla="*/ 0 h 63"/>
                  <a:gd name="T2" fmla="*/ 0 w 64"/>
                  <a:gd name="T3" fmla="*/ 62 h 63"/>
                  <a:gd name="T4" fmla="*/ 1 w 64"/>
                  <a:gd name="T5" fmla="*/ 62 h 63"/>
                  <a:gd name="T6" fmla="*/ 1 w 64"/>
                  <a:gd name="T7" fmla="*/ 0 h 6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3"/>
                  <a:gd name="T14" fmla="*/ 64 w 64"/>
                  <a:gd name="T15" fmla="*/ 63 h 6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3">
                    <a:moveTo>
                      <a:pt x="31" y="0"/>
                    </a:moveTo>
                    <a:lnTo>
                      <a:pt x="0" y="62"/>
                    </a:lnTo>
                    <a:lnTo>
                      <a:pt x="63" y="62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45" name="Freeform 103"/>
              <p:cNvSpPr>
                <a:spLocks/>
              </p:cNvSpPr>
              <p:nvPr/>
            </p:nvSpPr>
            <p:spPr bwMode="auto">
              <a:xfrm>
                <a:off x="5466" y="2234"/>
                <a:ext cx="47" cy="64"/>
              </a:xfrm>
              <a:custGeom>
                <a:avLst/>
                <a:gdLst>
                  <a:gd name="T0" fmla="*/ 1 w 63"/>
                  <a:gd name="T1" fmla="*/ 0 h 64"/>
                  <a:gd name="T2" fmla="*/ 0 w 63"/>
                  <a:gd name="T3" fmla="*/ 63 h 64"/>
                  <a:gd name="T4" fmla="*/ 1 w 63"/>
                  <a:gd name="T5" fmla="*/ 63 h 64"/>
                  <a:gd name="T6" fmla="*/ 1 w 63"/>
                  <a:gd name="T7" fmla="*/ 0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3"/>
                  <a:gd name="T13" fmla="*/ 0 h 64"/>
                  <a:gd name="T14" fmla="*/ 63 w 63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3" h="64">
                    <a:moveTo>
                      <a:pt x="31" y="0"/>
                    </a:moveTo>
                    <a:lnTo>
                      <a:pt x="0" y="63"/>
                    </a:lnTo>
                    <a:lnTo>
                      <a:pt x="62" y="63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46" name="Line 104"/>
              <p:cNvSpPr>
                <a:spLocks noChangeShapeType="1"/>
              </p:cNvSpPr>
              <p:nvPr/>
            </p:nvSpPr>
            <p:spPr bwMode="auto">
              <a:xfrm>
                <a:off x="4938" y="2213"/>
                <a:ext cx="551" cy="53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47" name="Freeform 105"/>
              <p:cNvSpPr>
                <a:spLocks/>
              </p:cNvSpPr>
              <p:nvPr/>
            </p:nvSpPr>
            <p:spPr bwMode="auto">
              <a:xfrm>
                <a:off x="5935" y="2417"/>
                <a:ext cx="48" cy="64"/>
              </a:xfrm>
              <a:custGeom>
                <a:avLst/>
                <a:gdLst>
                  <a:gd name="T0" fmla="*/ 2 w 64"/>
                  <a:gd name="T1" fmla="*/ 0 h 64"/>
                  <a:gd name="T2" fmla="*/ 0 w 64"/>
                  <a:gd name="T3" fmla="*/ 63 h 64"/>
                  <a:gd name="T4" fmla="*/ 2 w 64"/>
                  <a:gd name="T5" fmla="*/ 63 h 64"/>
                  <a:gd name="T6" fmla="*/ 2 w 64"/>
                  <a:gd name="T7" fmla="*/ 0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4"/>
                  <a:gd name="T14" fmla="*/ 64 w 64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4">
                    <a:moveTo>
                      <a:pt x="31" y="0"/>
                    </a:moveTo>
                    <a:lnTo>
                      <a:pt x="0" y="63"/>
                    </a:lnTo>
                    <a:lnTo>
                      <a:pt x="63" y="63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48" name="Line 106"/>
              <p:cNvSpPr>
                <a:spLocks noChangeShapeType="1"/>
              </p:cNvSpPr>
              <p:nvPr/>
            </p:nvSpPr>
            <p:spPr bwMode="auto">
              <a:xfrm>
                <a:off x="5489" y="2266"/>
                <a:ext cx="469" cy="183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49" name="Freeform 107"/>
              <p:cNvSpPr>
                <a:spLocks/>
              </p:cNvSpPr>
              <p:nvPr/>
            </p:nvSpPr>
            <p:spPr bwMode="auto">
              <a:xfrm>
                <a:off x="4915" y="2182"/>
                <a:ext cx="47" cy="63"/>
              </a:xfrm>
              <a:custGeom>
                <a:avLst/>
                <a:gdLst>
                  <a:gd name="T0" fmla="*/ 1 w 64"/>
                  <a:gd name="T1" fmla="*/ 0 h 63"/>
                  <a:gd name="T2" fmla="*/ 0 w 64"/>
                  <a:gd name="T3" fmla="*/ 62 h 63"/>
                  <a:gd name="T4" fmla="*/ 1 w 64"/>
                  <a:gd name="T5" fmla="*/ 62 h 63"/>
                  <a:gd name="T6" fmla="*/ 1 w 64"/>
                  <a:gd name="T7" fmla="*/ 0 h 6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3"/>
                  <a:gd name="T14" fmla="*/ 64 w 64"/>
                  <a:gd name="T15" fmla="*/ 63 h 6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3">
                    <a:moveTo>
                      <a:pt x="31" y="0"/>
                    </a:moveTo>
                    <a:lnTo>
                      <a:pt x="0" y="62"/>
                    </a:lnTo>
                    <a:lnTo>
                      <a:pt x="63" y="62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50" name="Freeform 108"/>
              <p:cNvSpPr>
                <a:spLocks/>
              </p:cNvSpPr>
              <p:nvPr/>
            </p:nvSpPr>
            <p:spPr bwMode="auto">
              <a:xfrm>
                <a:off x="5144" y="2189"/>
                <a:ext cx="47" cy="63"/>
              </a:xfrm>
              <a:custGeom>
                <a:avLst/>
                <a:gdLst>
                  <a:gd name="T0" fmla="*/ 1 w 64"/>
                  <a:gd name="T1" fmla="*/ 0 h 63"/>
                  <a:gd name="T2" fmla="*/ 0 w 64"/>
                  <a:gd name="T3" fmla="*/ 62 h 63"/>
                  <a:gd name="T4" fmla="*/ 1 w 64"/>
                  <a:gd name="T5" fmla="*/ 62 h 63"/>
                  <a:gd name="T6" fmla="*/ 1 w 64"/>
                  <a:gd name="T7" fmla="*/ 0 h 6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3"/>
                  <a:gd name="T14" fmla="*/ 64 w 64"/>
                  <a:gd name="T15" fmla="*/ 63 h 6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3">
                    <a:moveTo>
                      <a:pt x="32" y="0"/>
                    </a:moveTo>
                    <a:lnTo>
                      <a:pt x="0" y="62"/>
                    </a:lnTo>
                    <a:lnTo>
                      <a:pt x="63" y="62"/>
                    </a:lnTo>
                    <a:lnTo>
                      <a:pt x="32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51" name="Line 109"/>
              <p:cNvSpPr>
                <a:spLocks noChangeShapeType="1"/>
              </p:cNvSpPr>
              <p:nvPr/>
            </p:nvSpPr>
            <p:spPr bwMode="auto">
              <a:xfrm>
                <a:off x="4938" y="2213"/>
                <a:ext cx="229" cy="7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52" name="Freeform 110"/>
              <p:cNvSpPr>
                <a:spLocks/>
              </p:cNvSpPr>
              <p:nvPr/>
            </p:nvSpPr>
            <p:spPr bwMode="auto">
              <a:xfrm>
                <a:off x="5512" y="2208"/>
                <a:ext cx="48" cy="64"/>
              </a:xfrm>
              <a:custGeom>
                <a:avLst/>
                <a:gdLst>
                  <a:gd name="T0" fmla="*/ 2 w 64"/>
                  <a:gd name="T1" fmla="*/ 0 h 64"/>
                  <a:gd name="T2" fmla="*/ 0 w 64"/>
                  <a:gd name="T3" fmla="*/ 63 h 64"/>
                  <a:gd name="T4" fmla="*/ 2 w 64"/>
                  <a:gd name="T5" fmla="*/ 63 h 64"/>
                  <a:gd name="T6" fmla="*/ 2 w 64"/>
                  <a:gd name="T7" fmla="*/ 0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4"/>
                  <a:gd name="T14" fmla="*/ 64 w 64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4">
                    <a:moveTo>
                      <a:pt x="32" y="0"/>
                    </a:moveTo>
                    <a:lnTo>
                      <a:pt x="0" y="63"/>
                    </a:lnTo>
                    <a:lnTo>
                      <a:pt x="63" y="63"/>
                    </a:lnTo>
                    <a:lnTo>
                      <a:pt x="32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53" name="Line 111"/>
              <p:cNvSpPr>
                <a:spLocks noChangeShapeType="1"/>
              </p:cNvSpPr>
              <p:nvPr/>
            </p:nvSpPr>
            <p:spPr bwMode="auto">
              <a:xfrm>
                <a:off x="5167" y="2220"/>
                <a:ext cx="369" cy="19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54" name="Freeform 112"/>
              <p:cNvSpPr>
                <a:spLocks/>
              </p:cNvSpPr>
              <p:nvPr/>
            </p:nvSpPr>
            <p:spPr bwMode="auto">
              <a:xfrm>
                <a:off x="6354" y="2246"/>
                <a:ext cx="48" cy="64"/>
              </a:xfrm>
              <a:custGeom>
                <a:avLst/>
                <a:gdLst>
                  <a:gd name="T0" fmla="*/ 2 w 64"/>
                  <a:gd name="T1" fmla="*/ 0 h 64"/>
                  <a:gd name="T2" fmla="*/ 0 w 64"/>
                  <a:gd name="T3" fmla="*/ 63 h 64"/>
                  <a:gd name="T4" fmla="*/ 2 w 64"/>
                  <a:gd name="T5" fmla="*/ 63 h 64"/>
                  <a:gd name="T6" fmla="*/ 2 w 64"/>
                  <a:gd name="T7" fmla="*/ 0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4"/>
                  <a:gd name="T14" fmla="*/ 64 w 64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4">
                    <a:moveTo>
                      <a:pt x="31" y="0"/>
                    </a:moveTo>
                    <a:lnTo>
                      <a:pt x="0" y="63"/>
                    </a:lnTo>
                    <a:lnTo>
                      <a:pt x="63" y="63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55" name="Line 113"/>
              <p:cNvSpPr>
                <a:spLocks noChangeShapeType="1"/>
              </p:cNvSpPr>
              <p:nvPr/>
            </p:nvSpPr>
            <p:spPr bwMode="auto">
              <a:xfrm>
                <a:off x="5536" y="2239"/>
                <a:ext cx="841" cy="39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56" name="Freeform 114"/>
              <p:cNvSpPr>
                <a:spLocks/>
              </p:cNvSpPr>
              <p:nvPr/>
            </p:nvSpPr>
            <p:spPr bwMode="auto">
              <a:xfrm>
                <a:off x="4915" y="2182"/>
                <a:ext cx="47" cy="63"/>
              </a:xfrm>
              <a:custGeom>
                <a:avLst/>
                <a:gdLst>
                  <a:gd name="T0" fmla="*/ 1 w 64"/>
                  <a:gd name="T1" fmla="*/ 0 h 63"/>
                  <a:gd name="T2" fmla="*/ 0 w 64"/>
                  <a:gd name="T3" fmla="*/ 62 h 63"/>
                  <a:gd name="T4" fmla="*/ 1 w 64"/>
                  <a:gd name="T5" fmla="*/ 62 h 63"/>
                  <a:gd name="T6" fmla="*/ 1 w 64"/>
                  <a:gd name="T7" fmla="*/ 0 h 6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3"/>
                  <a:gd name="T14" fmla="*/ 64 w 64"/>
                  <a:gd name="T15" fmla="*/ 63 h 6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3">
                    <a:moveTo>
                      <a:pt x="31" y="0"/>
                    </a:moveTo>
                    <a:lnTo>
                      <a:pt x="0" y="62"/>
                    </a:lnTo>
                    <a:lnTo>
                      <a:pt x="63" y="62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57" name="Freeform 115"/>
              <p:cNvSpPr>
                <a:spLocks/>
              </p:cNvSpPr>
              <p:nvPr/>
            </p:nvSpPr>
            <p:spPr bwMode="auto">
              <a:xfrm>
                <a:off x="5165" y="2145"/>
                <a:ext cx="47" cy="64"/>
              </a:xfrm>
              <a:custGeom>
                <a:avLst/>
                <a:gdLst>
                  <a:gd name="T0" fmla="*/ 1 w 64"/>
                  <a:gd name="T1" fmla="*/ 0 h 64"/>
                  <a:gd name="T2" fmla="*/ 0 w 64"/>
                  <a:gd name="T3" fmla="*/ 63 h 64"/>
                  <a:gd name="T4" fmla="*/ 1 w 64"/>
                  <a:gd name="T5" fmla="*/ 63 h 64"/>
                  <a:gd name="T6" fmla="*/ 1 w 64"/>
                  <a:gd name="T7" fmla="*/ 0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4"/>
                  <a:gd name="T14" fmla="*/ 64 w 64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4">
                    <a:moveTo>
                      <a:pt x="32" y="0"/>
                    </a:moveTo>
                    <a:lnTo>
                      <a:pt x="0" y="63"/>
                    </a:lnTo>
                    <a:lnTo>
                      <a:pt x="63" y="63"/>
                    </a:lnTo>
                    <a:lnTo>
                      <a:pt x="32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58" name="Line 116"/>
              <p:cNvSpPr>
                <a:spLocks noChangeShapeType="1"/>
              </p:cNvSpPr>
              <p:nvPr/>
            </p:nvSpPr>
            <p:spPr bwMode="auto">
              <a:xfrm flipV="1">
                <a:off x="4938" y="2177"/>
                <a:ext cx="251" cy="36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59" name="Freeform 117"/>
              <p:cNvSpPr>
                <a:spLocks/>
              </p:cNvSpPr>
              <p:nvPr/>
            </p:nvSpPr>
            <p:spPr bwMode="auto">
              <a:xfrm>
                <a:off x="5466" y="2256"/>
                <a:ext cx="47" cy="64"/>
              </a:xfrm>
              <a:custGeom>
                <a:avLst/>
                <a:gdLst>
                  <a:gd name="T0" fmla="*/ 1 w 63"/>
                  <a:gd name="T1" fmla="*/ 0 h 64"/>
                  <a:gd name="T2" fmla="*/ 0 w 63"/>
                  <a:gd name="T3" fmla="*/ 63 h 64"/>
                  <a:gd name="T4" fmla="*/ 1 w 63"/>
                  <a:gd name="T5" fmla="*/ 63 h 64"/>
                  <a:gd name="T6" fmla="*/ 1 w 63"/>
                  <a:gd name="T7" fmla="*/ 0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3"/>
                  <a:gd name="T13" fmla="*/ 0 h 64"/>
                  <a:gd name="T14" fmla="*/ 63 w 63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3" h="64">
                    <a:moveTo>
                      <a:pt x="31" y="0"/>
                    </a:moveTo>
                    <a:lnTo>
                      <a:pt x="0" y="63"/>
                    </a:lnTo>
                    <a:lnTo>
                      <a:pt x="62" y="63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60" name="Line 118"/>
              <p:cNvSpPr>
                <a:spLocks noChangeShapeType="1"/>
              </p:cNvSpPr>
              <p:nvPr/>
            </p:nvSpPr>
            <p:spPr bwMode="auto">
              <a:xfrm>
                <a:off x="5189" y="2177"/>
                <a:ext cx="300" cy="110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61" name="Freeform 119"/>
              <p:cNvSpPr>
                <a:spLocks/>
              </p:cNvSpPr>
              <p:nvPr/>
            </p:nvSpPr>
            <p:spPr bwMode="auto">
              <a:xfrm>
                <a:off x="4915" y="2182"/>
                <a:ext cx="47" cy="63"/>
              </a:xfrm>
              <a:custGeom>
                <a:avLst/>
                <a:gdLst>
                  <a:gd name="T0" fmla="*/ 1 w 64"/>
                  <a:gd name="T1" fmla="*/ 0 h 63"/>
                  <a:gd name="T2" fmla="*/ 0 w 64"/>
                  <a:gd name="T3" fmla="*/ 62 h 63"/>
                  <a:gd name="T4" fmla="*/ 1 w 64"/>
                  <a:gd name="T5" fmla="*/ 62 h 63"/>
                  <a:gd name="T6" fmla="*/ 1 w 64"/>
                  <a:gd name="T7" fmla="*/ 0 h 6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3"/>
                  <a:gd name="T14" fmla="*/ 64 w 64"/>
                  <a:gd name="T15" fmla="*/ 63 h 6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3">
                    <a:moveTo>
                      <a:pt x="31" y="0"/>
                    </a:moveTo>
                    <a:lnTo>
                      <a:pt x="0" y="62"/>
                    </a:lnTo>
                    <a:lnTo>
                      <a:pt x="63" y="62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62" name="Freeform 120"/>
              <p:cNvSpPr>
                <a:spLocks/>
              </p:cNvSpPr>
              <p:nvPr/>
            </p:nvSpPr>
            <p:spPr bwMode="auto">
              <a:xfrm>
                <a:off x="5846" y="2292"/>
                <a:ext cx="47" cy="64"/>
              </a:xfrm>
              <a:custGeom>
                <a:avLst/>
                <a:gdLst>
                  <a:gd name="T0" fmla="*/ 1 w 64"/>
                  <a:gd name="T1" fmla="*/ 0 h 64"/>
                  <a:gd name="T2" fmla="*/ 0 w 64"/>
                  <a:gd name="T3" fmla="*/ 63 h 64"/>
                  <a:gd name="T4" fmla="*/ 1 w 64"/>
                  <a:gd name="T5" fmla="*/ 63 h 64"/>
                  <a:gd name="T6" fmla="*/ 1 w 64"/>
                  <a:gd name="T7" fmla="*/ 0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4"/>
                  <a:gd name="T14" fmla="*/ 64 w 64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4">
                    <a:moveTo>
                      <a:pt x="32" y="0"/>
                    </a:moveTo>
                    <a:lnTo>
                      <a:pt x="0" y="63"/>
                    </a:lnTo>
                    <a:lnTo>
                      <a:pt x="63" y="63"/>
                    </a:lnTo>
                    <a:lnTo>
                      <a:pt x="32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63" name="Line 121"/>
              <p:cNvSpPr>
                <a:spLocks noChangeShapeType="1"/>
              </p:cNvSpPr>
              <p:nvPr/>
            </p:nvSpPr>
            <p:spPr bwMode="auto">
              <a:xfrm>
                <a:off x="4938" y="2213"/>
                <a:ext cx="931" cy="110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64" name="Freeform 122"/>
              <p:cNvSpPr>
                <a:spLocks/>
              </p:cNvSpPr>
              <p:nvPr/>
            </p:nvSpPr>
            <p:spPr bwMode="auto">
              <a:xfrm>
                <a:off x="6218" y="2323"/>
                <a:ext cx="47" cy="64"/>
              </a:xfrm>
              <a:custGeom>
                <a:avLst/>
                <a:gdLst>
                  <a:gd name="T0" fmla="*/ 1 w 64"/>
                  <a:gd name="T1" fmla="*/ 0 h 64"/>
                  <a:gd name="T2" fmla="*/ 0 w 64"/>
                  <a:gd name="T3" fmla="*/ 63 h 64"/>
                  <a:gd name="T4" fmla="*/ 1 w 64"/>
                  <a:gd name="T5" fmla="*/ 63 h 64"/>
                  <a:gd name="T6" fmla="*/ 1 w 64"/>
                  <a:gd name="T7" fmla="*/ 0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4"/>
                  <a:gd name="T14" fmla="*/ 64 w 64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4">
                    <a:moveTo>
                      <a:pt x="32" y="0"/>
                    </a:moveTo>
                    <a:lnTo>
                      <a:pt x="0" y="63"/>
                    </a:lnTo>
                    <a:lnTo>
                      <a:pt x="63" y="63"/>
                    </a:lnTo>
                    <a:lnTo>
                      <a:pt x="32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65" name="Line 123"/>
              <p:cNvSpPr>
                <a:spLocks noChangeShapeType="1"/>
              </p:cNvSpPr>
              <p:nvPr/>
            </p:nvSpPr>
            <p:spPr bwMode="auto">
              <a:xfrm>
                <a:off x="5869" y="2323"/>
                <a:ext cx="373" cy="32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66" name="Freeform 124"/>
              <p:cNvSpPr>
                <a:spLocks/>
              </p:cNvSpPr>
              <p:nvPr/>
            </p:nvSpPr>
            <p:spPr bwMode="auto">
              <a:xfrm>
                <a:off x="6607" y="2280"/>
                <a:ext cx="47" cy="64"/>
              </a:xfrm>
              <a:custGeom>
                <a:avLst/>
                <a:gdLst>
                  <a:gd name="T0" fmla="*/ 1 w 64"/>
                  <a:gd name="T1" fmla="*/ 0 h 64"/>
                  <a:gd name="T2" fmla="*/ 0 w 64"/>
                  <a:gd name="T3" fmla="*/ 63 h 64"/>
                  <a:gd name="T4" fmla="*/ 1 w 64"/>
                  <a:gd name="T5" fmla="*/ 63 h 64"/>
                  <a:gd name="T6" fmla="*/ 1 w 64"/>
                  <a:gd name="T7" fmla="*/ 0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4"/>
                  <a:gd name="T14" fmla="*/ 64 w 64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4">
                    <a:moveTo>
                      <a:pt x="31" y="0"/>
                    </a:moveTo>
                    <a:lnTo>
                      <a:pt x="0" y="63"/>
                    </a:lnTo>
                    <a:lnTo>
                      <a:pt x="63" y="63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67" name="Line 125"/>
              <p:cNvSpPr>
                <a:spLocks noChangeShapeType="1"/>
              </p:cNvSpPr>
              <p:nvPr/>
            </p:nvSpPr>
            <p:spPr bwMode="auto">
              <a:xfrm flipV="1">
                <a:off x="6242" y="2311"/>
                <a:ext cx="388" cy="44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68" name="Freeform 126"/>
              <p:cNvSpPr>
                <a:spLocks/>
              </p:cNvSpPr>
              <p:nvPr/>
            </p:nvSpPr>
            <p:spPr bwMode="auto">
              <a:xfrm>
                <a:off x="4915" y="2182"/>
                <a:ext cx="47" cy="63"/>
              </a:xfrm>
              <a:custGeom>
                <a:avLst/>
                <a:gdLst>
                  <a:gd name="T0" fmla="*/ 1 w 64"/>
                  <a:gd name="T1" fmla="*/ 0 h 63"/>
                  <a:gd name="T2" fmla="*/ 0 w 64"/>
                  <a:gd name="T3" fmla="*/ 62 h 63"/>
                  <a:gd name="T4" fmla="*/ 1 w 64"/>
                  <a:gd name="T5" fmla="*/ 62 h 63"/>
                  <a:gd name="T6" fmla="*/ 1 w 64"/>
                  <a:gd name="T7" fmla="*/ 0 h 6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3"/>
                  <a:gd name="T14" fmla="*/ 64 w 64"/>
                  <a:gd name="T15" fmla="*/ 63 h 6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3">
                    <a:moveTo>
                      <a:pt x="31" y="0"/>
                    </a:moveTo>
                    <a:lnTo>
                      <a:pt x="0" y="62"/>
                    </a:lnTo>
                    <a:lnTo>
                      <a:pt x="63" y="62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69" name="Freeform 127"/>
              <p:cNvSpPr>
                <a:spLocks/>
              </p:cNvSpPr>
              <p:nvPr/>
            </p:nvSpPr>
            <p:spPr bwMode="auto">
              <a:xfrm>
                <a:off x="5409" y="2268"/>
                <a:ext cx="47" cy="64"/>
              </a:xfrm>
              <a:custGeom>
                <a:avLst/>
                <a:gdLst>
                  <a:gd name="T0" fmla="*/ 1 w 64"/>
                  <a:gd name="T1" fmla="*/ 0 h 64"/>
                  <a:gd name="T2" fmla="*/ 0 w 64"/>
                  <a:gd name="T3" fmla="*/ 63 h 64"/>
                  <a:gd name="T4" fmla="*/ 1 w 64"/>
                  <a:gd name="T5" fmla="*/ 63 h 64"/>
                  <a:gd name="T6" fmla="*/ 1 w 64"/>
                  <a:gd name="T7" fmla="*/ 0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4"/>
                  <a:gd name="T14" fmla="*/ 64 w 64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4">
                    <a:moveTo>
                      <a:pt x="32" y="0"/>
                    </a:moveTo>
                    <a:lnTo>
                      <a:pt x="0" y="63"/>
                    </a:lnTo>
                    <a:lnTo>
                      <a:pt x="63" y="63"/>
                    </a:lnTo>
                    <a:lnTo>
                      <a:pt x="32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70" name="Line 128"/>
              <p:cNvSpPr>
                <a:spLocks noChangeShapeType="1"/>
              </p:cNvSpPr>
              <p:nvPr/>
            </p:nvSpPr>
            <p:spPr bwMode="auto">
              <a:xfrm>
                <a:off x="4938" y="2213"/>
                <a:ext cx="494" cy="86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71" name="Freeform 129"/>
              <p:cNvSpPr>
                <a:spLocks/>
              </p:cNvSpPr>
              <p:nvPr/>
            </p:nvSpPr>
            <p:spPr bwMode="auto">
              <a:xfrm>
                <a:off x="5649" y="2287"/>
                <a:ext cx="47" cy="64"/>
              </a:xfrm>
              <a:custGeom>
                <a:avLst/>
                <a:gdLst>
                  <a:gd name="T0" fmla="*/ 1 w 64"/>
                  <a:gd name="T1" fmla="*/ 0 h 64"/>
                  <a:gd name="T2" fmla="*/ 0 w 64"/>
                  <a:gd name="T3" fmla="*/ 63 h 64"/>
                  <a:gd name="T4" fmla="*/ 1 w 64"/>
                  <a:gd name="T5" fmla="*/ 63 h 64"/>
                  <a:gd name="T6" fmla="*/ 1 w 64"/>
                  <a:gd name="T7" fmla="*/ 0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4"/>
                  <a:gd name="T14" fmla="*/ 64 w 64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4">
                    <a:moveTo>
                      <a:pt x="32" y="0"/>
                    </a:moveTo>
                    <a:lnTo>
                      <a:pt x="0" y="63"/>
                    </a:lnTo>
                    <a:lnTo>
                      <a:pt x="63" y="63"/>
                    </a:lnTo>
                    <a:lnTo>
                      <a:pt x="32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72" name="Line 130"/>
              <p:cNvSpPr>
                <a:spLocks noChangeShapeType="1"/>
              </p:cNvSpPr>
              <p:nvPr/>
            </p:nvSpPr>
            <p:spPr bwMode="auto">
              <a:xfrm>
                <a:off x="5432" y="2299"/>
                <a:ext cx="240" cy="20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73" name="Freeform 131"/>
              <p:cNvSpPr>
                <a:spLocks/>
              </p:cNvSpPr>
              <p:nvPr/>
            </p:nvSpPr>
            <p:spPr bwMode="auto">
              <a:xfrm>
                <a:off x="6774" y="2331"/>
                <a:ext cx="46" cy="63"/>
              </a:xfrm>
              <a:custGeom>
                <a:avLst/>
                <a:gdLst>
                  <a:gd name="T0" fmla="*/ 1 w 63"/>
                  <a:gd name="T1" fmla="*/ 0 h 63"/>
                  <a:gd name="T2" fmla="*/ 0 w 63"/>
                  <a:gd name="T3" fmla="*/ 62 h 63"/>
                  <a:gd name="T4" fmla="*/ 1 w 63"/>
                  <a:gd name="T5" fmla="*/ 62 h 63"/>
                  <a:gd name="T6" fmla="*/ 1 w 63"/>
                  <a:gd name="T7" fmla="*/ 0 h 6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3"/>
                  <a:gd name="T13" fmla="*/ 0 h 63"/>
                  <a:gd name="T14" fmla="*/ 63 w 63"/>
                  <a:gd name="T15" fmla="*/ 63 h 6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3" h="63">
                    <a:moveTo>
                      <a:pt x="31" y="0"/>
                    </a:moveTo>
                    <a:lnTo>
                      <a:pt x="0" y="62"/>
                    </a:lnTo>
                    <a:lnTo>
                      <a:pt x="62" y="62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74" name="Line 132"/>
              <p:cNvSpPr>
                <a:spLocks noChangeShapeType="1"/>
              </p:cNvSpPr>
              <p:nvPr/>
            </p:nvSpPr>
            <p:spPr bwMode="auto">
              <a:xfrm>
                <a:off x="5672" y="2319"/>
                <a:ext cx="1124" cy="43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75" name="Freeform 133"/>
              <p:cNvSpPr>
                <a:spLocks/>
              </p:cNvSpPr>
              <p:nvPr/>
            </p:nvSpPr>
            <p:spPr bwMode="auto">
              <a:xfrm>
                <a:off x="4915" y="2182"/>
                <a:ext cx="47" cy="63"/>
              </a:xfrm>
              <a:custGeom>
                <a:avLst/>
                <a:gdLst>
                  <a:gd name="T0" fmla="*/ 1 w 64"/>
                  <a:gd name="T1" fmla="*/ 0 h 63"/>
                  <a:gd name="T2" fmla="*/ 0 w 64"/>
                  <a:gd name="T3" fmla="*/ 62 h 63"/>
                  <a:gd name="T4" fmla="*/ 1 w 64"/>
                  <a:gd name="T5" fmla="*/ 62 h 63"/>
                  <a:gd name="T6" fmla="*/ 1 w 64"/>
                  <a:gd name="T7" fmla="*/ 0 h 6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3"/>
                  <a:gd name="T14" fmla="*/ 64 w 64"/>
                  <a:gd name="T15" fmla="*/ 63 h 6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3">
                    <a:moveTo>
                      <a:pt x="31" y="0"/>
                    </a:moveTo>
                    <a:lnTo>
                      <a:pt x="0" y="62"/>
                    </a:lnTo>
                    <a:lnTo>
                      <a:pt x="63" y="62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76" name="Freeform 134"/>
              <p:cNvSpPr>
                <a:spLocks/>
              </p:cNvSpPr>
              <p:nvPr/>
            </p:nvSpPr>
            <p:spPr bwMode="auto">
              <a:xfrm>
                <a:off x="5176" y="2218"/>
                <a:ext cx="48" cy="63"/>
              </a:xfrm>
              <a:custGeom>
                <a:avLst/>
                <a:gdLst>
                  <a:gd name="T0" fmla="*/ 2 w 64"/>
                  <a:gd name="T1" fmla="*/ 0 h 63"/>
                  <a:gd name="T2" fmla="*/ 0 w 64"/>
                  <a:gd name="T3" fmla="*/ 62 h 63"/>
                  <a:gd name="T4" fmla="*/ 2 w 64"/>
                  <a:gd name="T5" fmla="*/ 62 h 63"/>
                  <a:gd name="T6" fmla="*/ 2 w 64"/>
                  <a:gd name="T7" fmla="*/ 0 h 6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3"/>
                  <a:gd name="T14" fmla="*/ 64 w 64"/>
                  <a:gd name="T15" fmla="*/ 63 h 6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3">
                    <a:moveTo>
                      <a:pt x="31" y="0"/>
                    </a:moveTo>
                    <a:lnTo>
                      <a:pt x="0" y="62"/>
                    </a:lnTo>
                    <a:lnTo>
                      <a:pt x="63" y="62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77" name="Line 135"/>
              <p:cNvSpPr>
                <a:spLocks noChangeShapeType="1"/>
              </p:cNvSpPr>
              <p:nvPr/>
            </p:nvSpPr>
            <p:spPr bwMode="auto">
              <a:xfrm>
                <a:off x="4938" y="2213"/>
                <a:ext cx="261" cy="36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78" name="Freeform 136"/>
              <p:cNvSpPr>
                <a:spLocks/>
              </p:cNvSpPr>
              <p:nvPr/>
            </p:nvSpPr>
            <p:spPr bwMode="auto">
              <a:xfrm>
                <a:off x="5418" y="2182"/>
                <a:ext cx="47" cy="63"/>
              </a:xfrm>
              <a:custGeom>
                <a:avLst/>
                <a:gdLst>
                  <a:gd name="T0" fmla="*/ 1 w 64"/>
                  <a:gd name="T1" fmla="*/ 0 h 63"/>
                  <a:gd name="T2" fmla="*/ 0 w 64"/>
                  <a:gd name="T3" fmla="*/ 62 h 63"/>
                  <a:gd name="T4" fmla="*/ 1 w 64"/>
                  <a:gd name="T5" fmla="*/ 62 h 63"/>
                  <a:gd name="T6" fmla="*/ 1 w 64"/>
                  <a:gd name="T7" fmla="*/ 0 h 6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3"/>
                  <a:gd name="T14" fmla="*/ 64 w 64"/>
                  <a:gd name="T15" fmla="*/ 63 h 6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3">
                    <a:moveTo>
                      <a:pt x="32" y="0"/>
                    </a:moveTo>
                    <a:lnTo>
                      <a:pt x="0" y="62"/>
                    </a:lnTo>
                    <a:lnTo>
                      <a:pt x="63" y="62"/>
                    </a:lnTo>
                    <a:lnTo>
                      <a:pt x="32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79" name="Line 137"/>
              <p:cNvSpPr>
                <a:spLocks noChangeShapeType="1"/>
              </p:cNvSpPr>
              <p:nvPr/>
            </p:nvSpPr>
            <p:spPr bwMode="auto">
              <a:xfrm flipV="1">
                <a:off x="5199" y="2213"/>
                <a:ext cx="242" cy="36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80" name="Freeform 138"/>
              <p:cNvSpPr>
                <a:spLocks/>
              </p:cNvSpPr>
              <p:nvPr/>
            </p:nvSpPr>
            <p:spPr bwMode="auto">
              <a:xfrm>
                <a:off x="4915" y="2182"/>
                <a:ext cx="47" cy="63"/>
              </a:xfrm>
              <a:custGeom>
                <a:avLst/>
                <a:gdLst>
                  <a:gd name="T0" fmla="*/ 1 w 64"/>
                  <a:gd name="T1" fmla="*/ 0 h 63"/>
                  <a:gd name="T2" fmla="*/ 0 w 64"/>
                  <a:gd name="T3" fmla="*/ 62 h 63"/>
                  <a:gd name="T4" fmla="*/ 1 w 64"/>
                  <a:gd name="T5" fmla="*/ 62 h 63"/>
                  <a:gd name="T6" fmla="*/ 1 w 64"/>
                  <a:gd name="T7" fmla="*/ 0 h 6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3"/>
                  <a:gd name="T14" fmla="*/ 64 w 64"/>
                  <a:gd name="T15" fmla="*/ 63 h 6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3">
                    <a:moveTo>
                      <a:pt x="31" y="0"/>
                    </a:moveTo>
                    <a:lnTo>
                      <a:pt x="0" y="62"/>
                    </a:lnTo>
                    <a:lnTo>
                      <a:pt x="63" y="62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81" name="Freeform 139"/>
              <p:cNvSpPr>
                <a:spLocks/>
              </p:cNvSpPr>
              <p:nvPr/>
            </p:nvSpPr>
            <p:spPr bwMode="auto">
              <a:xfrm>
                <a:off x="5232" y="2215"/>
                <a:ext cx="47" cy="64"/>
              </a:xfrm>
              <a:custGeom>
                <a:avLst/>
                <a:gdLst>
                  <a:gd name="T0" fmla="*/ 1 w 64"/>
                  <a:gd name="T1" fmla="*/ 0 h 64"/>
                  <a:gd name="T2" fmla="*/ 0 w 64"/>
                  <a:gd name="T3" fmla="*/ 63 h 64"/>
                  <a:gd name="T4" fmla="*/ 1 w 64"/>
                  <a:gd name="T5" fmla="*/ 63 h 64"/>
                  <a:gd name="T6" fmla="*/ 1 w 64"/>
                  <a:gd name="T7" fmla="*/ 0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4"/>
                  <a:gd name="T14" fmla="*/ 64 w 64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4">
                    <a:moveTo>
                      <a:pt x="31" y="0"/>
                    </a:moveTo>
                    <a:lnTo>
                      <a:pt x="0" y="63"/>
                    </a:lnTo>
                    <a:lnTo>
                      <a:pt x="63" y="63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82" name="Line 140"/>
              <p:cNvSpPr>
                <a:spLocks noChangeShapeType="1"/>
              </p:cNvSpPr>
              <p:nvPr/>
            </p:nvSpPr>
            <p:spPr bwMode="auto">
              <a:xfrm>
                <a:off x="4938" y="2213"/>
                <a:ext cx="317" cy="33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83" name="Freeform 141"/>
              <p:cNvSpPr>
                <a:spLocks/>
              </p:cNvSpPr>
              <p:nvPr/>
            </p:nvSpPr>
            <p:spPr bwMode="auto">
              <a:xfrm>
                <a:off x="5310" y="2172"/>
                <a:ext cx="48" cy="63"/>
              </a:xfrm>
              <a:custGeom>
                <a:avLst/>
                <a:gdLst>
                  <a:gd name="T0" fmla="*/ 2 w 64"/>
                  <a:gd name="T1" fmla="*/ 0 h 63"/>
                  <a:gd name="T2" fmla="*/ 0 w 64"/>
                  <a:gd name="T3" fmla="*/ 62 h 63"/>
                  <a:gd name="T4" fmla="*/ 2 w 64"/>
                  <a:gd name="T5" fmla="*/ 62 h 63"/>
                  <a:gd name="T6" fmla="*/ 2 w 64"/>
                  <a:gd name="T7" fmla="*/ 0 h 6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3"/>
                  <a:gd name="T14" fmla="*/ 64 w 64"/>
                  <a:gd name="T15" fmla="*/ 63 h 6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3">
                    <a:moveTo>
                      <a:pt x="32" y="0"/>
                    </a:moveTo>
                    <a:lnTo>
                      <a:pt x="0" y="62"/>
                    </a:lnTo>
                    <a:lnTo>
                      <a:pt x="63" y="62"/>
                    </a:lnTo>
                    <a:lnTo>
                      <a:pt x="32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84" name="Line 142"/>
              <p:cNvSpPr>
                <a:spLocks noChangeShapeType="1"/>
              </p:cNvSpPr>
              <p:nvPr/>
            </p:nvSpPr>
            <p:spPr bwMode="auto">
              <a:xfrm flipV="1">
                <a:off x="5255" y="2203"/>
                <a:ext cx="79" cy="43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85" name="Freeform 143"/>
              <p:cNvSpPr>
                <a:spLocks/>
              </p:cNvSpPr>
              <p:nvPr/>
            </p:nvSpPr>
            <p:spPr bwMode="auto">
              <a:xfrm>
                <a:off x="5522" y="2179"/>
                <a:ext cx="47" cy="64"/>
              </a:xfrm>
              <a:custGeom>
                <a:avLst/>
                <a:gdLst>
                  <a:gd name="T0" fmla="*/ 1 w 63"/>
                  <a:gd name="T1" fmla="*/ 0 h 64"/>
                  <a:gd name="T2" fmla="*/ 0 w 63"/>
                  <a:gd name="T3" fmla="*/ 63 h 64"/>
                  <a:gd name="T4" fmla="*/ 1 w 63"/>
                  <a:gd name="T5" fmla="*/ 63 h 64"/>
                  <a:gd name="T6" fmla="*/ 1 w 63"/>
                  <a:gd name="T7" fmla="*/ 0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3"/>
                  <a:gd name="T13" fmla="*/ 0 h 64"/>
                  <a:gd name="T14" fmla="*/ 63 w 63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3" h="64">
                    <a:moveTo>
                      <a:pt x="31" y="0"/>
                    </a:moveTo>
                    <a:lnTo>
                      <a:pt x="0" y="63"/>
                    </a:lnTo>
                    <a:lnTo>
                      <a:pt x="62" y="63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86" name="Line 144"/>
              <p:cNvSpPr>
                <a:spLocks noChangeShapeType="1"/>
              </p:cNvSpPr>
              <p:nvPr/>
            </p:nvSpPr>
            <p:spPr bwMode="auto">
              <a:xfrm>
                <a:off x="5334" y="2203"/>
                <a:ext cx="211" cy="7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87" name="Freeform 145"/>
              <p:cNvSpPr>
                <a:spLocks/>
              </p:cNvSpPr>
              <p:nvPr/>
            </p:nvSpPr>
            <p:spPr bwMode="auto">
              <a:xfrm>
                <a:off x="5752" y="2242"/>
                <a:ext cx="48" cy="63"/>
              </a:xfrm>
              <a:custGeom>
                <a:avLst/>
                <a:gdLst>
                  <a:gd name="T0" fmla="*/ 2 w 64"/>
                  <a:gd name="T1" fmla="*/ 0 h 63"/>
                  <a:gd name="T2" fmla="*/ 0 w 64"/>
                  <a:gd name="T3" fmla="*/ 62 h 63"/>
                  <a:gd name="T4" fmla="*/ 2 w 64"/>
                  <a:gd name="T5" fmla="*/ 62 h 63"/>
                  <a:gd name="T6" fmla="*/ 2 w 64"/>
                  <a:gd name="T7" fmla="*/ 0 h 6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3"/>
                  <a:gd name="T14" fmla="*/ 64 w 64"/>
                  <a:gd name="T15" fmla="*/ 63 h 6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3">
                    <a:moveTo>
                      <a:pt x="32" y="0"/>
                    </a:moveTo>
                    <a:lnTo>
                      <a:pt x="0" y="62"/>
                    </a:lnTo>
                    <a:lnTo>
                      <a:pt x="63" y="62"/>
                    </a:lnTo>
                    <a:lnTo>
                      <a:pt x="32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88" name="Line 146"/>
              <p:cNvSpPr>
                <a:spLocks noChangeShapeType="1"/>
              </p:cNvSpPr>
              <p:nvPr/>
            </p:nvSpPr>
            <p:spPr bwMode="auto">
              <a:xfrm>
                <a:off x="5545" y="2210"/>
                <a:ext cx="231" cy="63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89" name="Freeform 147"/>
              <p:cNvSpPr>
                <a:spLocks/>
              </p:cNvSpPr>
              <p:nvPr/>
            </p:nvSpPr>
            <p:spPr bwMode="auto">
              <a:xfrm>
                <a:off x="4915" y="2182"/>
                <a:ext cx="47" cy="63"/>
              </a:xfrm>
              <a:custGeom>
                <a:avLst/>
                <a:gdLst>
                  <a:gd name="T0" fmla="*/ 1 w 64"/>
                  <a:gd name="T1" fmla="*/ 0 h 63"/>
                  <a:gd name="T2" fmla="*/ 0 w 64"/>
                  <a:gd name="T3" fmla="*/ 62 h 63"/>
                  <a:gd name="T4" fmla="*/ 1 w 64"/>
                  <a:gd name="T5" fmla="*/ 62 h 63"/>
                  <a:gd name="T6" fmla="*/ 1 w 64"/>
                  <a:gd name="T7" fmla="*/ 0 h 6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3"/>
                  <a:gd name="T14" fmla="*/ 64 w 64"/>
                  <a:gd name="T15" fmla="*/ 63 h 6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3">
                    <a:moveTo>
                      <a:pt x="31" y="0"/>
                    </a:moveTo>
                    <a:lnTo>
                      <a:pt x="0" y="62"/>
                    </a:lnTo>
                    <a:lnTo>
                      <a:pt x="63" y="62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90" name="Freeform 148"/>
              <p:cNvSpPr>
                <a:spLocks/>
              </p:cNvSpPr>
              <p:nvPr/>
            </p:nvSpPr>
            <p:spPr bwMode="auto">
              <a:xfrm>
                <a:off x="5165" y="2179"/>
                <a:ext cx="47" cy="64"/>
              </a:xfrm>
              <a:custGeom>
                <a:avLst/>
                <a:gdLst>
                  <a:gd name="T0" fmla="*/ 1 w 64"/>
                  <a:gd name="T1" fmla="*/ 0 h 64"/>
                  <a:gd name="T2" fmla="*/ 0 w 64"/>
                  <a:gd name="T3" fmla="*/ 63 h 64"/>
                  <a:gd name="T4" fmla="*/ 1 w 64"/>
                  <a:gd name="T5" fmla="*/ 63 h 64"/>
                  <a:gd name="T6" fmla="*/ 1 w 64"/>
                  <a:gd name="T7" fmla="*/ 0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4"/>
                  <a:gd name="T14" fmla="*/ 64 w 64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4">
                    <a:moveTo>
                      <a:pt x="32" y="0"/>
                    </a:moveTo>
                    <a:lnTo>
                      <a:pt x="0" y="63"/>
                    </a:lnTo>
                    <a:lnTo>
                      <a:pt x="63" y="63"/>
                    </a:lnTo>
                    <a:lnTo>
                      <a:pt x="32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91" name="Line 149"/>
              <p:cNvSpPr>
                <a:spLocks noChangeShapeType="1"/>
              </p:cNvSpPr>
              <p:nvPr/>
            </p:nvSpPr>
            <p:spPr bwMode="auto">
              <a:xfrm flipV="1">
                <a:off x="4938" y="2210"/>
                <a:ext cx="251" cy="3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92" name="Freeform 150"/>
              <p:cNvSpPr>
                <a:spLocks/>
              </p:cNvSpPr>
              <p:nvPr/>
            </p:nvSpPr>
            <p:spPr bwMode="auto">
              <a:xfrm>
                <a:off x="5425" y="2225"/>
                <a:ext cx="47" cy="63"/>
              </a:xfrm>
              <a:custGeom>
                <a:avLst/>
                <a:gdLst>
                  <a:gd name="T0" fmla="*/ 1 w 64"/>
                  <a:gd name="T1" fmla="*/ 0 h 63"/>
                  <a:gd name="T2" fmla="*/ 0 w 64"/>
                  <a:gd name="T3" fmla="*/ 62 h 63"/>
                  <a:gd name="T4" fmla="*/ 1 w 64"/>
                  <a:gd name="T5" fmla="*/ 62 h 63"/>
                  <a:gd name="T6" fmla="*/ 1 w 64"/>
                  <a:gd name="T7" fmla="*/ 0 h 6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3"/>
                  <a:gd name="T14" fmla="*/ 64 w 64"/>
                  <a:gd name="T15" fmla="*/ 63 h 6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3">
                    <a:moveTo>
                      <a:pt x="31" y="0"/>
                    </a:moveTo>
                    <a:lnTo>
                      <a:pt x="0" y="62"/>
                    </a:lnTo>
                    <a:lnTo>
                      <a:pt x="63" y="62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93" name="Line 151"/>
              <p:cNvSpPr>
                <a:spLocks noChangeShapeType="1"/>
              </p:cNvSpPr>
              <p:nvPr/>
            </p:nvSpPr>
            <p:spPr bwMode="auto">
              <a:xfrm>
                <a:off x="5189" y="2210"/>
                <a:ext cx="259" cy="46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94" name="Freeform 152"/>
              <p:cNvSpPr>
                <a:spLocks/>
              </p:cNvSpPr>
              <p:nvPr/>
            </p:nvSpPr>
            <p:spPr bwMode="auto">
              <a:xfrm>
                <a:off x="4915" y="2182"/>
                <a:ext cx="47" cy="63"/>
              </a:xfrm>
              <a:custGeom>
                <a:avLst/>
                <a:gdLst>
                  <a:gd name="T0" fmla="*/ 1 w 64"/>
                  <a:gd name="T1" fmla="*/ 0 h 63"/>
                  <a:gd name="T2" fmla="*/ 0 w 64"/>
                  <a:gd name="T3" fmla="*/ 62 h 63"/>
                  <a:gd name="T4" fmla="*/ 1 w 64"/>
                  <a:gd name="T5" fmla="*/ 62 h 63"/>
                  <a:gd name="T6" fmla="*/ 1 w 64"/>
                  <a:gd name="T7" fmla="*/ 0 h 6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3"/>
                  <a:gd name="T14" fmla="*/ 64 w 64"/>
                  <a:gd name="T15" fmla="*/ 63 h 6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3">
                    <a:moveTo>
                      <a:pt x="31" y="0"/>
                    </a:moveTo>
                    <a:lnTo>
                      <a:pt x="0" y="62"/>
                    </a:lnTo>
                    <a:lnTo>
                      <a:pt x="63" y="62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95" name="Freeform 153"/>
              <p:cNvSpPr>
                <a:spLocks/>
              </p:cNvSpPr>
              <p:nvPr/>
            </p:nvSpPr>
            <p:spPr bwMode="auto">
              <a:xfrm>
                <a:off x="5207" y="2194"/>
                <a:ext cx="47" cy="63"/>
              </a:xfrm>
              <a:custGeom>
                <a:avLst/>
                <a:gdLst>
                  <a:gd name="T0" fmla="*/ 1 w 64"/>
                  <a:gd name="T1" fmla="*/ 0 h 63"/>
                  <a:gd name="T2" fmla="*/ 0 w 64"/>
                  <a:gd name="T3" fmla="*/ 62 h 63"/>
                  <a:gd name="T4" fmla="*/ 1 w 64"/>
                  <a:gd name="T5" fmla="*/ 62 h 63"/>
                  <a:gd name="T6" fmla="*/ 1 w 64"/>
                  <a:gd name="T7" fmla="*/ 0 h 6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3"/>
                  <a:gd name="T14" fmla="*/ 64 w 64"/>
                  <a:gd name="T15" fmla="*/ 63 h 6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3">
                    <a:moveTo>
                      <a:pt x="31" y="0"/>
                    </a:moveTo>
                    <a:lnTo>
                      <a:pt x="0" y="62"/>
                    </a:lnTo>
                    <a:lnTo>
                      <a:pt x="63" y="62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96" name="Line 154"/>
              <p:cNvSpPr>
                <a:spLocks noChangeShapeType="1"/>
              </p:cNvSpPr>
              <p:nvPr/>
            </p:nvSpPr>
            <p:spPr bwMode="auto">
              <a:xfrm>
                <a:off x="4938" y="2213"/>
                <a:ext cx="291" cy="12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97" name="Freeform 155"/>
              <p:cNvSpPr>
                <a:spLocks/>
              </p:cNvSpPr>
              <p:nvPr/>
            </p:nvSpPr>
            <p:spPr bwMode="auto">
              <a:xfrm>
                <a:off x="5458" y="2249"/>
                <a:ext cx="46" cy="63"/>
              </a:xfrm>
              <a:custGeom>
                <a:avLst/>
                <a:gdLst>
                  <a:gd name="T0" fmla="*/ 1 w 63"/>
                  <a:gd name="T1" fmla="*/ 0 h 63"/>
                  <a:gd name="T2" fmla="*/ 0 w 63"/>
                  <a:gd name="T3" fmla="*/ 62 h 63"/>
                  <a:gd name="T4" fmla="*/ 1 w 63"/>
                  <a:gd name="T5" fmla="*/ 62 h 63"/>
                  <a:gd name="T6" fmla="*/ 1 w 63"/>
                  <a:gd name="T7" fmla="*/ 0 h 6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3"/>
                  <a:gd name="T13" fmla="*/ 0 h 63"/>
                  <a:gd name="T14" fmla="*/ 63 w 63"/>
                  <a:gd name="T15" fmla="*/ 63 h 6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3" h="63">
                    <a:moveTo>
                      <a:pt x="31" y="0"/>
                    </a:moveTo>
                    <a:lnTo>
                      <a:pt x="0" y="62"/>
                    </a:lnTo>
                    <a:lnTo>
                      <a:pt x="62" y="62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98" name="Line 156"/>
              <p:cNvSpPr>
                <a:spLocks noChangeShapeType="1"/>
              </p:cNvSpPr>
              <p:nvPr/>
            </p:nvSpPr>
            <p:spPr bwMode="auto">
              <a:xfrm>
                <a:off x="5229" y="2225"/>
                <a:ext cx="252" cy="55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99" name="Freeform 157"/>
              <p:cNvSpPr>
                <a:spLocks/>
              </p:cNvSpPr>
              <p:nvPr/>
            </p:nvSpPr>
            <p:spPr bwMode="auto">
              <a:xfrm>
                <a:off x="6304" y="2321"/>
                <a:ext cx="47" cy="64"/>
              </a:xfrm>
              <a:custGeom>
                <a:avLst/>
                <a:gdLst>
                  <a:gd name="T0" fmla="*/ 1 w 64"/>
                  <a:gd name="T1" fmla="*/ 0 h 64"/>
                  <a:gd name="T2" fmla="*/ 0 w 64"/>
                  <a:gd name="T3" fmla="*/ 63 h 64"/>
                  <a:gd name="T4" fmla="*/ 1 w 64"/>
                  <a:gd name="T5" fmla="*/ 63 h 64"/>
                  <a:gd name="T6" fmla="*/ 1 w 64"/>
                  <a:gd name="T7" fmla="*/ 0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4"/>
                  <a:gd name="T14" fmla="*/ 64 w 64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4">
                    <a:moveTo>
                      <a:pt x="32" y="0"/>
                    </a:moveTo>
                    <a:lnTo>
                      <a:pt x="0" y="63"/>
                    </a:lnTo>
                    <a:lnTo>
                      <a:pt x="63" y="63"/>
                    </a:lnTo>
                    <a:lnTo>
                      <a:pt x="32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00" name="Line 158"/>
              <p:cNvSpPr>
                <a:spLocks noChangeShapeType="1"/>
              </p:cNvSpPr>
              <p:nvPr/>
            </p:nvSpPr>
            <p:spPr bwMode="auto">
              <a:xfrm>
                <a:off x="5481" y="2280"/>
                <a:ext cx="847" cy="72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01" name="Freeform 159"/>
              <p:cNvSpPr>
                <a:spLocks/>
              </p:cNvSpPr>
              <p:nvPr/>
            </p:nvSpPr>
            <p:spPr bwMode="auto">
              <a:xfrm>
                <a:off x="4915" y="2182"/>
                <a:ext cx="47" cy="63"/>
              </a:xfrm>
              <a:custGeom>
                <a:avLst/>
                <a:gdLst>
                  <a:gd name="T0" fmla="*/ 1 w 64"/>
                  <a:gd name="T1" fmla="*/ 0 h 63"/>
                  <a:gd name="T2" fmla="*/ 0 w 64"/>
                  <a:gd name="T3" fmla="*/ 62 h 63"/>
                  <a:gd name="T4" fmla="*/ 1 w 64"/>
                  <a:gd name="T5" fmla="*/ 62 h 63"/>
                  <a:gd name="T6" fmla="*/ 1 w 64"/>
                  <a:gd name="T7" fmla="*/ 0 h 6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3"/>
                  <a:gd name="T14" fmla="*/ 64 w 64"/>
                  <a:gd name="T15" fmla="*/ 63 h 6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3">
                    <a:moveTo>
                      <a:pt x="31" y="0"/>
                    </a:moveTo>
                    <a:lnTo>
                      <a:pt x="0" y="62"/>
                    </a:lnTo>
                    <a:lnTo>
                      <a:pt x="63" y="62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02" name="Freeform 160"/>
              <p:cNvSpPr>
                <a:spLocks/>
              </p:cNvSpPr>
              <p:nvPr/>
            </p:nvSpPr>
            <p:spPr bwMode="auto">
              <a:xfrm>
                <a:off x="5325" y="2239"/>
                <a:ext cx="47" cy="64"/>
              </a:xfrm>
              <a:custGeom>
                <a:avLst/>
                <a:gdLst>
                  <a:gd name="T0" fmla="*/ 1 w 63"/>
                  <a:gd name="T1" fmla="*/ 0 h 64"/>
                  <a:gd name="T2" fmla="*/ 0 w 63"/>
                  <a:gd name="T3" fmla="*/ 63 h 64"/>
                  <a:gd name="T4" fmla="*/ 1 w 63"/>
                  <a:gd name="T5" fmla="*/ 63 h 64"/>
                  <a:gd name="T6" fmla="*/ 1 w 63"/>
                  <a:gd name="T7" fmla="*/ 0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3"/>
                  <a:gd name="T13" fmla="*/ 0 h 64"/>
                  <a:gd name="T14" fmla="*/ 63 w 63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3" h="64">
                    <a:moveTo>
                      <a:pt x="31" y="0"/>
                    </a:moveTo>
                    <a:lnTo>
                      <a:pt x="0" y="63"/>
                    </a:lnTo>
                    <a:lnTo>
                      <a:pt x="62" y="63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03" name="Line 161"/>
              <p:cNvSpPr>
                <a:spLocks noChangeShapeType="1"/>
              </p:cNvSpPr>
              <p:nvPr/>
            </p:nvSpPr>
            <p:spPr bwMode="auto">
              <a:xfrm>
                <a:off x="4938" y="2213"/>
                <a:ext cx="410" cy="58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04" name="Freeform 162"/>
              <p:cNvSpPr>
                <a:spLocks/>
              </p:cNvSpPr>
              <p:nvPr/>
            </p:nvSpPr>
            <p:spPr bwMode="auto">
              <a:xfrm>
                <a:off x="5700" y="2254"/>
                <a:ext cx="48" cy="63"/>
              </a:xfrm>
              <a:custGeom>
                <a:avLst/>
                <a:gdLst>
                  <a:gd name="T0" fmla="*/ 2 w 64"/>
                  <a:gd name="T1" fmla="*/ 0 h 63"/>
                  <a:gd name="T2" fmla="*/ 0 w 64"/>
                  <a:gd name="T3" fmla="*/ 62 h 63"/>
                  <a:gd name="T4" fmla="*/ 2 w 64"/>
                  <a:gd name="T5" fmla="*/ 62 h 63"/>
                  <a:gd name="T6" fmla="*/ 2 w 64"/>
                  <a:gd name="T7" fmla="*/ 0 h 6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3"/>
                  <a:gd name="T14" fmla="*/ 64 w 64"/>
                  <a:gd name="T15" fmla="*/ 63 h 6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3">
                    <a:moveTo>
                      <a:pt x="32" y="0"/>
                    </a:moveTo>
                    <a:lnTo>
                      <a:pt x="0" y="62"/>
                    </a:lnTo>
                    <a:lnTo>
                      <a:pt x="63" y="62"/>
                    </a:lnTo>
                    <a:lnTo>
                      <a:pt x="32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05" name="Line 163"/>
              <p:cNvSpPr>
                <a:spLocks noChangeShapeType="1"/>
              </p:cNvSpPr>
              <p:nvPr/>
            </p:nvSpPr>
            <p:spPr bwMode="auto">
              <a:xfrm>
                <a:off x="5348" y="2271"/>
                <a:ext cx="376" cy="14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06" name="Freeform 164"/>
              <p:cNvSpPr>
                <a:spLocks/>
              </p:cNvSpPr>
              <p:nvPr/>
            </p:nvSpPr>
            <p:spPr bwMode="auto">
              <a:xfrm>
                <a:off x="6220" y="2323"/>
                <a:ext cx="47" cy="64"/>
              </a:xfrm>
              <a:custGeom>
                <a:avLst/>
                <a:gdLst>
                  <a:gd name="T0" fmla="*/ 1 w 64"/>
                  <a:gd name="T1" fmla="*/ 0 h 64"/>
                  <a:gd name="T2" fmla="*/ 0 w 64"/>
                  <a:gd name="T3" fmla="*/ 63 h 64"/>
                  <a:gd name="T4" fmla="*/ 1 w 64"/>
                  <a:gd name="T5" fmla="*/ 63 h 64"/>
                  <a:gd name="T6" fmla="*/ 1 w 64"/>
                  <a:gd name="T7" fmla="*/ 0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4"/>
                  <a:gd name="T14" fmla="*/ 64 w 64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4">
                    <a:moveTo>
                      <a:pt x="32" y="0"/>
                    </a:moveTo>
                    <a:lnTo>
                      <a:pt x="0" y="63"/>
                    </a:lnTo>
                    <a:lnTo>
                      <a:pt x="63" y="63"/>
                    </a:lnTo>
                    <a:lnTo>
                      <a:pt x="32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07" name="Line 165"/>
              <p:cNvSpPr>
                <a:spLocks noChangeShapeType="1"/>
              </p:cNvSpPr>
              <p:nvPr/>
            </p:nvSpPr>
            <p:spPr bwMode="auto">
              <a:xfrm>
                <a:off x="5724" y="2285"/>
                <a:ext cx="519" cy="70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08" name="Freeform 166"/>
              <p:cNvSpPr>
                <a:spLocks/>
              </p:cNvSpPr>
              <p:nvPr/>
            </p:nvSpPr>
            <p:spPr bwMode="auto">
              <a:xfrm>
                <a:off x="4915" y="2182"/>
                <a:ext cx="47" cy="63"/>
              </a:xfrm>
              <a:custGeom>
                <a:avLst/>
                <a:gdLst>
                  <a:gd name="T0" fmla="*/ 1 w 64"/>
                  <a:gd name="T1" fmla="*/ 0 h 63"/>
                  <a:gd name="T2" fmla="*/ 0 w 64"/>
                  <a:gd name="T3" fmla="*/ 62 h 63"/>
                  <a:gd name="T4" fmla="*/ 1 w 64"/>
                  <a:gd name="T5" fmla="*/ 62 h 63"/>
                  <a:gd name="T6" fmla="*/ 1 w 64"/>
                  <a:gd name="T7" fmla="*/ 0 h 6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3"/>
                  <a:gd name="T14" fmla="*/ 64 w 64"/>
                  <a:gd name="T15" fmla="*/ 63 h 6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3">
                    <a:moveTo>
                      <a:pt x="31" y="0"/>
                    </a:moveTo>
                    <a:lnTo>
                      <a:pt x="0" y="62"/>
                    </a:lnTo>
                    <a:lnTo>
                      <a:pt x="63" y="62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09" name="Freeform 167"/>
              <p:cNvSpPr>
                <a:spLocks/>
              </p:cNvSpPr>
              <p:nvPr/>
            </p:nvSpPr>
            <p:spPr bwMode="auto">
              <a:xfrm>
                <a:off x="5643" y="2256"/>
                <a:ext cx="48" cy="64"/>
              </a:xfrm>
              <a:custGeom>
                <a:avLst/>
                <a:gdLst>
                  <a:gd name="T0" fmla="*/ 2 w 64"/>
                  <a:gd name="T1" fmla="*/ 0 h 64"/>
                  <a:gd name="T2" fmla="*/ 0 w 64"/>
                  <a:gd name="T3" fmla="*/ 63 h 64"/>
                  <a:gd name="T4" fmla="*/ 2 w 64"/>
                  <a:gd name="T5" fmla="*/ 63 h 64"/>
                  <a:gd name="T6" fmla="*/ 2 w 64"/>
                  <a:gd name="T7" fmla="*/ 0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4"/>
                  <a:gd name="T14" fmla="*/ 64 w 64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4">
                    <a:moveTo>
                      <a:pt x="31" y="0"/>
                    </a:moveTo>
                    <a:lnTo>
                      <a:pt x="0" y="63"/>
                    </a:lnTo>
                    <a:lnTo>
                      <a:pt x="63" y="63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10" name="Line 168"/>
              <p:cNvSpPr>
                <a:spLocks noChangeShapeType="1"/>
              </p:cNvSpPr>
              <p:nvPr/>
            </p:nvSpPr>
            <p:spPr bwMode="auto">
              <a:xfrm>
                <a:off x="4938" y="2213"/>
                <a:ext cx="728" cy="74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11" name="Freeform 169"/>
              <p:cNvSpPr>
                <a:spLocks/>
              </p:cNvSpPr>
              <p:nvPr/>
            </p:nvSpPr>
            <p:spPr bwMode="auto">
              <a:xfrm>
                <a:off x="6073" y="2213"/>
                <a:ext cx="47" cy="63"/>
              </a:xfrm>
              <a:custGeom>
                <a:avLst/>
                <a:gdLst>
                  <a:gd name="T0" fmla="*/ 1 w 64"/>
                  <a:gd name="T1" fmla="*/ 0 h 63"/>
                  <a:gd name="T2" fmla="*/ 0 w 64"/>
                  <a:gd name="T3" fmla="*/ 62 h 63"/>
                  <a:gd name="T4" fmla="*/ 1 w 64"/>
                  <a:gd name="T5" fmla="*/ 62 h 63"/>
                  <a:gd name="T6" fmla="*/ 1 w 64"/>
                  <a:gd name="T7" fmla="*/ 0 h 6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3"/>
                  <a:gd name="T14" fmla="*/ 64 w 64"/>
                  <a:gd name="T15" fmla="*/ 63 h 6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3">
                    <a:moveTo>
                      <a:pt x="32" y="0"/>
                    </a:moveTo>
                    <a:lnTo>
                      <a:pt x="0" y="62"/>
                    </a:lnTo>
                    <a:lnTo>
                      <a:pt x="63" y="62"/>
                    </a:lnTo>
                    <a:lnTo>
                      <a:pt x="32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12" name="Line 170"/>
              <p:cNvSpPr>
                <a:spLocks noChangeShapeType="1"/>
              </p:cNvSpPr>
              <p:nvPr/>
            </p:nvSpPr>
            <p:spPr bwMode="auto">
              <a:xfrm flipV="1">
                <a:off x="5666" y="2244"/>
                <a:ext cx="431" cy="43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13" name="Freeform 171"/>
              <p:cNvSpPr>
                <a:spLocks/>
              </p:cNvSpPr>
              <p:nvPr/>
            </p:nvSpPr>
            <p:spPr bwMode="auto">
              <a:xfrm>
                <a:off x="6501" y="2177"/>
                <a:ext cx="47" cy="63"/>
              </a:xfrm>
              <a:custGeom>
                <a:avLst/>
                <a:gdLst>
                  <a:gd name="T0" fmla="*/ 1 w 64"/>
                  <a:gd name="T1" fmla="*/ 0 h 63"/>
                  <a:gd name="T2" fmla="*/ 0 w 64"/>
                  <a:gd name="T3" fmla="*/ 62 h 63"/>
                  <a:gd name="T4" fmla="*/ 1 w 64"/>
                  <a:gd name="T5" fmla="*/ 62 h 63"/>
                  <a:gd name="T6" fmla="*/ 1 w 64"/>
                  <a:gd name="T7" fmla="*/ 0 h 6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3"/>
                  <a:gd name="T14" fmla="*/ 64 w 64"/>
                  <a:gd name="T15" fmla="*/ 63 h 6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3">
                    <a:moveTo>
                      <a:pt x="32" y="0"/>
                    </a:moveTo>
                    <a:lnTo>
                      <a:pt x="0" y="62"/>
                    </a:lnTo>
                    <a:lnTo>
                      <a:pt x="63" y="62"/>
                    </a:lnTo>
                    <a:lnTo>
                      <a:pt x="32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14" name="Line 172"/>
              <p:cNvSpPr>
                <a:spLocks noChangeShapeType="1"/>
              </p:cNvSpPr>
              <p:nvPr/>
            </p:nvSpPr>
            <p:spPr bwMode="auto">
              <a:xfrm flipV="1">
                <a:off x="6097" y="2208"/>
                <a:ext cx="428" cy="36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15" name="Freeform 173"/>
              <p:cNvSpPr>
                <a:spLocks/>
              </p:cNvSpPr>
              <p:nvPr/>
            </p:nvSpPr>
            <p:spPr bwMode="auto">
              <a:xfrm>
                <a:off x="7028" y="2239"/>
                <a:ext cx="47" cy="64"/>
              </a:xfrm>
              <a:custGeom>
                <a:avLst/>
                <a:gdLst>
                  <a:gd name="T0" fmla="*/ 1 w 64"/>
                  <a:gd name="T1" fmla="*/ 0 h 64"/>
                  <a:gd name="T2" fmla="*/ 0 w 64"/>
                  <a:gd name="T3" fmla="*/ 63 h 64"/>
                  <a:gd name="T4" fmla="*/ 1 w 64"/>
                  <a:gd name="T5" fmla="*/ 63 h 64"/>
                  <a:gd name="T6" fmla="*/ 1 w 64"/>
                  <a:gd name="T7" fmla="*/ 0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4"/>
                  <a:gd name="T14" fmla="*/ 64 w 64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4">
                    <a:moveTo>
                      <a:pt x="31" y="0"/>
                    </a:moveTo>
                    <a:lnTo>
                      <a:pt x="0" y="63"/>
                    </a:lnTo>
                    <a:lnTo>
                      <a:pt x="63" y="63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16" name="Line 174"/>
              <p:cNvSpPr>
                <a:spLocks noChangeShapeType="1"/>
              </p:cNvSpPr>
              <p:nvPr/>
            </p:nvSpPr>
            <p:spPr bwMode="auto">
              <a:xfrm>
                <a:off x="6525" y="2208"/>
                <a:ext cx="525" cy="63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17" name="Freeform 175"/>
              <p:cNvSpPr>
                <a:spLocks/>
              </p:cNvSpPr>
              <p:nvPr/>
            </p:nvSpPr>
            <p:spPr bwMode="auto">
              <a:xfrm>
                <a:off x="4915" y="2182"/>
                <a:ext cx="47" cy="63"/>
              </a:xfrm>
              <a:custGeom>
                <a:avLst/>
                <a:gdLst>
                  <a:gd name="T0" fmla="*/ 1 w 64"/>
                  <a:gd name="T1" fmla="*/ 0 h 63"/>
                  <a:gd name="T2" fmla="*/ 0 w 64"/>
                  <a:gd name="T3" fmla="*/ 62 h 63"/>
                  <a:gd name="T4" fmla="*/ 1 w 64"/>
                  <a:gd name="T5" fmla="*/ 62 h 63"/>
                  <a:gd name="T6" fmla="*/ 1 w 64"/>
                  <a:gd name="T7" fmla="*/ 0 h 6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3"/>
                  <a:gd name="T14" fmla="*/ 64 w 64"/>
                  <a:gd name="T15" fmla="*/ 63 h 6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3">
                    <a:moveTo>
                      <a:pt x="31" y="0"/>
                    </a:moveTo>
                    <a:lnTo>
                      <a:pt x="0" y="62"/>
                    </a:lnTo>
                    <a:lnTo>
                      <a:pt x="63" y="62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18" name="Freeform 176"/>
              <p:cNvSpPr>
                <a:spLocks/>
              </p:cNvSpPr>
              <p:nvPr/>
            </p:nvSpPr>
            <p:spPr bwMode="auto">
              <a:xfrm>
                <a:off x="5280" y="2208"/>
                <a:ext cx="47" cy="64"/>
              </a:xfrm>
              <a:custGeom>
                <a:avLst/>
                <a:gdLst>
                  <a:gd name="T0" fmla="*/ 1 w 64"/>
                  <a:gd name="T1" fmla="*/ 0 h 64"/>
                  <a:gd name="T2" fmla="*/ 0 w 64"/>
                  <a:gd name="T3" fmla="*/ 63 h 64"/>
                  <a:gd name="T4" fmla="*/ 1 w 64"/>
                  <a:gd name="T5" fmla="*/ 63 h 64"/>
                  <a:gd name="T6" fmla="*/ 1 w 64"/>
                  <a:gd name="T7" fmla="*/ 0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4"/>
                  <a:gd name="T14" fmla="*/ 64 w 64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4">
                    <a:moveTo>
                      <a:pt x="32" y="0"/>
                    </a:moveTo>
                    <a:lnTo>
                      <a:pt x="0" y="63"/>
                    </a:lnTo>
                    <a:lnTo>
                      <a:pt x="63" y="63"/>
                    </a:lnTo>
                    <a:lnTo>
                      <a:pt x="32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19" name="Line 177"/>
              <p:cNvSpPr>
                <a:spLocks noChangeShapeType="1"/>
              </p:cNvSpPr>
              <p:nvPr/>
            </p:nvSpPr>
            <p:spPr bwMode="auto">
              <a:xfrm>
                <a:off x="4938" y="2213"/>
                <a:ext cx="366" cy="26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20" name="Freeform 178"/>
              <p:cNvSpPr>
                <a:spLocks/>
              </p:cNvSpPr>
              <p:nvPr/>
            </p:nvSpPr>
            <p:spPr bwMode="auto">
              <a:xfrm>
                <a:off x="5531" y="2287"/>
                <a:ext cx="47" cy="64"/>
              </a:xfrm>
              <a:custGeom>
                <a:avLst/>
                <a:gdLst>
                  <a:gd name="T0" fmla="*/ 1 w 64"/>
                  <a:gd name="T1" fmla="*/ 0 h 64"/>
                  <a:gd name="T2" fmla="*/ 0 w 64"/>
                  <a:gd name="T3" fmla="*/ 63 h 64"/>
                  <a:gd name="T4" fmla="*/ 1 w 64"/>
                  <a:gd name="T5" fmla="*/ 63 h 64"/>
                  <a:gd name="T6" fmla="*/ 1 w 64"/>
                  <a:gd name="T7" fmla="*/ 0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4"/>
                  <a:gd name="T14" fmla="*/ 64 w 64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4">
                    <a:moveTo>
                      <a:pt x="31" y="0"/>
                    </a:moveTo>
                    <a:lnTo>
                      <a:pt x="0" y="63"/>
                    </a:lnTo>
                    <a:lnTo>
                      <a:pt x="63" y="63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21" name="Line 179"/>
              <p:cNvSpPr>
                <a:spLocks noChangeShapeType="1"/>
              </p:cNvSpPr>
              <p:nvPr/>
            </p:nvSpPr>
            <p:spPr bwMode="auto">
              <a:xfrm>
                <a:off x="5304" y="2239"/>
                <a:ext cx="250" cy="80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22" name="Freeform 180"/>
              <p:cNvSpPr>
                <a:spLocks/>
              </p:cNvSpPr>
              <p:nvPr/>
            </p:nvSpPr>
            <p:spPr bwMode="auto">
              <a:xfrm>
                <a:off x="6531" y="2268"/>
                <a:ext cx="48" cy="64"/>
              </a:xfrm>
              <a:custGeom>
                <a:avLst/>
                <a:gdLst>
                  <a:gd name="T0" fmla="*/ 2 w 64"/>
                  <a:gd name="T1" fmla="*/ 0 h 64"/>
                  <a:gd name="T2" fmla="*/ 0 w 64"/>
                  <a:gd name="T3" fmla="*/ 63 h 64"/>
                  <a:gd name="T4" fmla="*/ 2 w 64"/>
                  <a:gd name="T5" fmla="*/ 63 h 64"/>
                  <a:gd name="T6" fmla="*/ 2 w 64"/>
                  <a:gd name="T7" fmla="*/ 0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4"/>
                  <a:gd name="T14" fmla="*/ 64 w 64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4">
                    <a:moveTo>
                      <a:pt x="32" y="0"/>
                    </a:moveTo>
                    <a:lnTo>
                      <a:pt x="0" y="63"/>
                    </a:lnTo>
                    <a:lnTo>
                      <a:pt x="63" y="63"/>
                    </a:lnTo>
                    <a:lnTo>
                      <a:pt x="32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23" name="Line 181"/>
              <p:cNvSpPr>
                <a:spLocks noChangeShapeType="1"/>
              </p:cNvSpPr>
              <p:nvPr/>
            </p:nvSpPr>
            <p:spPr bwMode="auto">
              <a:xfrm flipV="1">
                <a:off x="5554" y="2299"/>
                <a:ext cx="1001" cy="20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24" name="Freeform 182"/>
              <p:cNvSpPr>
                <a:spLocks/>
              </p:cNvSpPr>
              <p:nvPr/>
            </p:nvSpPr>
            <p:spPr bwMode="auto">
              <a:xfrm>
                <a:off x="4915" y="2182"/>
                <a:ext cx="47" cy="63"/>
              </a:xfrm>
              <a:custGeom>
                <a:avLst/>
                <a:gdLst>
                  <a:gd name="T0" fmla="*/ 1 w 64"/>
                  <a:gd name="T1" fmla="*/ 0 h 63"/>
                  <a:gd name="T2" fmla="*/ 0 w 64"/>
                  <a:gd name="T3" fmla="*/ 62 h 63"/>
                  <a:gd name="T4" fmla="*/ 1 w 64"/>
                  <a:gd name="T5" fmla="*/ 62 h 63"/>
                  <a:gd name="T6" fmla="*/ 1 w 64"/>
                  <a:gd name="T7" fmla="*/ 0 h 6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3"/>
                  <a:gd name="T14" fmla="*/ 64 w 64"/>
                  <a:gd name="T15" fmla="*/ 63 h 6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3">
                    <a:moveTo>
                      <a:pt x="31" y="0"/>
                    </a:moveTo>
                    <a:lnTo>
                      <a:pt x="0" y="62"/>
                    </a:lnTo>
                    <a:lnTo>
                      <a:pt x="63" y="62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25" name="Freeform 183"/>
              <p:cNvSpPr>
                <a:spLocks/>
              </p:cNvSpPr>
              <p:nvPr/>
            </p:nvSpPr>
            <p:spPr bwMode="auto">
              <a:xfrm>
                <a:off x="5403" y="2287"/>
                <a:ext cx="48" cy="64"/>
              </a:xfrm>
              <a:custGeom>
                <a:avLst/>
                <a:gdLst>
                  <a:gd name="T0" fmla="*/ 2 w 64"/>
                  <a:gd name="T1" fmla="*/ 0 h 64"/>
                  <a:gd name="T2" fmla="*/ 0 w 64"/>
                  <a:gd name="T3" fmla="*/ 63 h 64"/>
                  <a:gd name="T4" fmla="*/ 2 w 64"/>
                  <a:gd name="T5" fmla="*/ 63 h 64"/>
                  <a:gd name="T6" fmla="*/ 2 w 64"/>
                  <a:gd name="T7" fmla="*/ 0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4"/>
                  <a:gd name="T14" fmla="*/ 64 w 64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4">
                    <a:moveTo>
                      <a:pt x="31" y="0"/>
                    </a:moveTo>
                    <a:lnTo>
                      <a:pt x="0" y="63"/>
                    </a:lnTo>
                    <a:lnTo>
                      <a:pt x="63" y="63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26" name="Line 184"/>
              <p:cNvSpPr>
                <a:spLocks noChangeShapeType="1"/>
              </p:cNvSpPr>
              <p:nvPr/>
            </p:nvSpPr>
            <p:spPr bwMode="auto">
              <a:xfrm>
                <a:off x="4938" y="2213"/>
                <a:ext cx="488" cy="106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27" name="Freeform 185"/>
              <p:cNvSpPr>
                <a:spLocks/>
              </p:cNvSpPr>
              <p:nvPr/>
            </p:nvSpPr>
            <p:spPr bwMode="auto">
              <a:xfrm>
                <a:off x="5672" y="2335"/>
                <a:ext cx="48" cy="64"/>
              </a:xfrm>
              <a:custGeom>
                <a:avLst/>
                <a:gdLst>
                  <a:gd name="T0" fmla="*/ 2 w 64"/>
                  <a:gd name="T1" fmla="*/ 0 h 64"/>
                  <a:gd name="T2" fmla="*/ 0 w 64"/>
                  <a:gd name="T3" fmla="*/ 63 h 64"/>
                  <a:gd name="T4" fmla="*/ 2 w 64"/>
                  <a:gd name="T5" fmla="*/ 63 h 64"/>
                  <a:gd name="T6" fmla="*/ 2 w 64"/>
                  <a:gd name="T7" fmla="*/ 0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4"/>
                  <a:gd name="T14" fmla="*/ 64 w 64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4">
                    <a:moveTo>
                      <a:pt x="31" y="0"/>
                    </a:moveTo>
                    <a:lnTo>
                      <a:pt x="0" y="63"/>
                    </a:lnTo>
                    <a:lnTo>
                      <a:pt x="63" y="63"/>
                    </a:lnTo>
                    <a:lnTo>
                      <a:pt x="31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28" name="Line 186"/>
              <p:cNvSpPr>
                <a:spLocks noChangeShapeType="1"/>
              </p:cNvSpPr>
              <p:nvPr/>
            </p:nvSpPr>
            <p:spPr bwMode="auto">
              <a:xfrm>
                <a:off x="5426" y="2319"/>
                <a:ext cx="269" cy="48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29" name="Freeform 187"/>
              <p:cNvSpPr>
                <a:spLocks/>
              </p:cNvSpPr>
              <p:nvPr/>
            </p:nvSpPr>
            <p:spPr bwMode="auto">
              <a:xfrm>
                <a:off x="5769" y="2432"/>
                <a:ext cx="47" cy="63"/>
              </a:xfrm>
              <a:custGeom>
                <a:avLst/>
                <a:gdLst>
                  <a:gd name="T0" fmla="*/ 1 w 64"/>
                  <a:gd name="T1" fmla="*/ 0 h 63"/>
                  <a:gd name="T2" fmla="*/ 0 w 64"/>
                  <a:gd name="T3" fmla="*/ 62 h 63"/>
                  <a:gd name="T4" fmla="*/ 1 w 64"/>
                  <a:gd name="T5" fmla="*/ 62 h 63"/>
                  <a:gd name="T6" fmla="*/ 1 w 64"/>
                  <a:gd name="T7" fmla="*/ 0 h 6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63"/>
                  <a:gd name="T14" fmla="*/ 64 w 64"/>
                  <a:gd name="T15" fmla="*/ 63 h 6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63">
                    <a:moveTo>
                      <a:pt x="32" y="0"/>
                    </a:moveTo>
                    <a:lnTo>
                      <a:pt x="0" y="62"/>
                    </a:lnTo>
                    <a:lnTo>
                      <a:pt x="63" y="62"/>
                    </a:lnTo>
                    <a:lnTo>
                      <a:pt x="32" y="0"/>
                    </a:lnTo>
                  </a:path>
                </a:pathLst>
              </a:custGeom>
              <a:grpFill/>
              <a:ln w="25400" cap="rnd">
                <a:solidFill>
                  <a:srgbClr val="00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30" name="Line 188"/>
              <p:cNvSpPr>
                <a:spLocks noChangeShapeType="1"/>
              </p:cNvSpPr>
              <p:nvPr/>
            </p:nvSpPr>
            <p:spPr bwMode="auto">
              <a:xfrm>
                <a:off x="5695" y="2367"/>
                <a:ext cx="97" cy="96"/>
              </a:xfrm>
              <a:prstGeom prst="line">
                <a:avLst/>
              </a:prstGeom>
              <a:grpFill/>
              <a:ln w="25400">
                <a:solidFill>
                  <a:srgbClr val="00FFF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31" name="Oval 189"/>
              <p:cNvSpPr>
                <a:spLocks noChangeArrowheads="1"/>
              </p:cNvSpPr>
              <p:nvPr/>
            </p:nvSpPr>
            <p:spPr bwMode="auto">
              <a:xfrm>
                <a:off x="4921" y="2190"/>
                <a:ext cx="34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32" name="Oval 190"/>
              <p:cNvSpPr>
                <a:spLocks noChangeArrowheads="1"/>
              </p:cNvSpPr>
              <p:nvPr/>
            </p:nvSpPr>
            <p:spPr bwMode="auto">
              <a:xfrm>
                <a:off x="5257" y="2582"/>
                <a:ext cx="35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33" name="Line 191"/>
              <p:cNvSpPr>
                <a:spLocks noChangeShapeType="1"/>
              </p:cNvSpPr>
              <p:nvPr/>
            </p:nvSpPr>
            <p:spPr bwMode="auto">
              <a:xfrm>
                <a:off x="4938" y="2213"/>
                <a:ext cx="337" cy="392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34" name="Oval 192"/>
              <p:cNvSpPr>
                <a:spLocks noChangeArrowheads="1"/>
              </p:cNvSpPr>
              <p:nvPr/>
            </p:nvSpPr>
            <p:spPr bwMode="auto">
              <a:xfrm>
                <a:off x="5475" y="2808"/>
                <a:ext cx="35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35" name="Line 193"/>
              <p:cNvSpPr>
                <a:spLocks noChangeShapeType="1"/>
              </p:cNvSpPr>
              <p:nvPr/>
            </p:nvSpPr>
            <p:spPr bwMode="auto">
              <a:xfrm>
                <a:off x="5275" y="2605"/>
                <a:ext cx="218" cy="226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36" name="Oval 194"/>
              <p:cNvSpPr>
                <a:spLocks noChangeArrowheads="1"/>
              </p:cNvSpPr>
              <p:nvPr/>
            </p:nvSpPr>
            <p:spPr bwMode="auto">
              <a:xfrm>
                <a:off x="4921" y="2190"/>
                <a:ext cx="34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37" name="Oval 195"/>
              <p:cNvSpPr>
                <a:spLocks noChangeArrowheads="1"/>
              </p:cNvSpPr>
              <p:nvPr/>
            </p:nvSpPr>
            <p:spPr bwMode="auto">
              <a:xfrm>
                <a:off x="5358" y="2283"/>
                <a:ext cx="34" cy="47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38" name="Line 196"/>
              <p:cNvSpPr>
                <a:spLocks noChangeShapeType="1"/>
              </p:cNvSpPr>
              <p:nvPr/>
            </p:nvSpPr>
            <p:spPr bwMode="auto">
              <a:xfrm>
                <a:off x="4938" y="2213"/>
                <a:ext cx="437" cy="94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39" name="Oval 197"/>
              <p:cNvSpPr>
                <a:spLocks noChangeArrowheads="1"/>
              </p:cNvSpPr>
              <p:nvPr/>
            </p:nvSpPr>
            <p:spPr bwMode="auto">
              <a:xfrm>
                <a:off x="5569" y="2423"/>
                <a:ext cx="34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40" name="Line 198"/>
              <p:cNvSpPr>
                <a:spLocks noChangeShapeType="1"/>
              </p:cNvSpPr>
              <p:nvPr/>
            </p:nvSpPr>
            <p:spPr bwMode="auto">
              <a:xfrm>
                <a:off x="5375" y="2307"/>
                <a:ext cx="211" cy="139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41" name="Oval 199"/>
              <p:cNvSpPr>
                <a:spLocks noChangeArrowheads="1"/>
              </p:cNvSpPr>
              <p:nvPr/>
            </p:nvSpPr>
            <p:spPr bwMode="auto">
              <a:xfrm>
                <a:off x="6020" y="2639"/>
                <a:ext cx="34" cy="47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42" name="Line 200"/>
              <p:cNvSpPr>
                <a:spLocks noChangeShapeType="1"/>
              </p:cNvSpPr>
              <p:nvPr/>
            </p:nvSpPr>
            <p:spPr bwMode="auto">
              <a:xfrm>
                <a:off x="5586" y="2446"/>
                <a:ext cx="451" cy="217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43" name="Oval 201"/>
              <p:cNvSpPr>
                <a:spLocks noChangeArrowheads="1"/>
              </p:cNvSpPr>
              <p:nvPr/>
            </p:nvSpPr>
            <p:spPr bwMode="auto">
              <a:xfrm>
                <a:off x="6303" y="2801"/>
                <a:ext cx="34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44" name="Line 202"/>
              <p:cNvSpPr>
                <a:spLocks noChangeShapeType="1"/>
              </p:cNvSpPr>
              <p:nvPr/>
            </p:nvSpPr>
            <p:spPr bwMode="auto">
              <a:xfrm>
                <a:off x="6037" y="2663"/>
                <a:ext cx="283" cy="161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45" name="Oval 203"/>
              <p:cNvSpPr>
                <a:spLocks noChangeArrowheads="1"/>
              </p:cNvSpPr>
              <p:nvPr/>
            </p:nvSpPr>
            <p:spPr bwMode="auto">
              <a:xfrm>
                <a:off x="4921" y="2190"/>
                <a:ext cx="34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46" name="Oval 204"/>
              <p:cNvSpPr>
                <a:spLocks noChangeArrowheads="1"/>
              </p:cNvSpPr>
              <p:nvPr/>
            </p:nvSpPr>
            <p:spPr bwMode="auto">
              <a:xfrm>
                <a:off x="5127" y="2312"/>
                <a:ext cx="34" cy="47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47" name="Line 205"/>
              <p:cNvSpPr>
                <a:spLocks noChangeShapeType="1"/>
              </p:cNvSpPr>
              <p:nvPr/>
            </p:nvSpPr>
            <p:spPr bwMode="auto">
              <a:xfrm>
                <a:off x="4938" y="2213"/>
                <a:ext cx="206" cy="122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48" name="Oval 206"/>
              <p:cNvSpPr>
                <a:spLocks noChangeArrowheads="1"/>
              </p:cNvSpPr>
              <p:nvPr/>
            </p:nvSpPr>
            <p:spPr bwMode="auto">
              <a:xfrm>
                <a:off x="5560" y="2688"/>
                <a:ext cx="35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49" name="Line 207"/>
              <p:cNvSpPr>
                <a:spLocks noChangeShapeType="1"/>
              </p:cNvSpPr>
              <p:nvPr/>
            </p:nvSpPr>
            <p:spPr bwMode="auto">
              <a:xfrm>
                <a:off x="5144" y="2335"/>
                <a:ext cx="434" cy="376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50" name="Oval 208"/>
              <p:cNvSpPr>
                <a:spLocks noChangeArrowheads="1"/>
              </p:cNvSpPr>
              <p:nvPr/>
            </p:nvSpPr>
            <p:spPr bwMode="auto">
              <a:xfrm>
                <a:off x="4921" y="2190"/>
                <a:ext cx="34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51" name="Oval 209"/>
              <p:cNvSpPr>
                <a:spLocks noChangeArrowheads="1"/>
              </p:cNvSpPr>
              <p:nvPr/>
            </p:nvSpPr>
            <p:spPr bwMode="auto">
              <a:xfrm>
                <a:off x="5250" y="2649"/>
                <a:ext cx="35" cy="47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52" name="Line 210"/>
              <p:cNvSpPr>
                <a:spLocks noChangeShapeType="1"/>
              </p:cNvSpPr>
              <p:nvPr/>
            </p:nvSpPr>
            <p:spPr bwMode="auto">
              <a:xfrm>
                <a:off x="4938" y="2213"/>
                <a:ext cx="329" cy="459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53" name="Oval 211"/>
              <p:cNvSpPr>
                <a:spLocks noChangeArrowheads="1"/>
              </p:cNvSpPr>
              <p:nvPr/>
            </p:nvSpPr>
            <p:spPr bwMode="auto">
              <a:xfrm>
                <a:off x="5687" y="3412"/>
                <a:ext cx="35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54" name="Line 212"/>
              <p:cNvSpPr>
                <a:spLocks noChangeShapeType="1"/>
              </p:cNvSpPr>
              <p:nvPr/>
            </p:nvSpPr>
            <p:spPr bwMode="auto">
              <a:xfrm>
                <a:off x="5267" y="2672"/>
                <a:ext cx="437" cy="763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55" name="Oval 213"/>
              <p:cNvSpPr>
                <a:spLocks noChangeArrowheads="1"/>
              </p:cNvSpPr>
              <p:nvPr/>
            </p:nvSpPr>
            <p:spPr bwMode="auto">
              <a:xfrm>
                <a:off x="4921" y="2190"/>
                <a:ext cx="34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56" name="Oval 214"/>
              <p:cNvSpPr>
                <a:spLocks noChangeArrowheads="1"/>
              </p:cNvSpPr>
              <p:nvPr/>
            </p:nvSpPr>
            <p:spPr bwMode="auto">
              <a:xfrm>
                <a:off x="5472" y="2844"/>
                <a:ext cx="34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57" name="Line 215"/>
              <p:cNvSpPr>
                <a:spLocks noChangeShapeType="1"/>
              </p:cNvSpPr>
              <p:nvPr/>
            </p:nvSpPr>
            <p:spPr bwMode="auto">
              <a:xfrm>
                <a:off x="4938" y="2213"/>
                <a:ext cx="551" cy="654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58" name="Oval 216"/>
              <p:cNvSpPr>
                <a:spLocks noChangeArrowheads="1"/>
              </p:cNvSpPr>
              <p:nvPr/>
            </p:nvSpPr>
            <p:spPr bwMode="auto">
              <a:xfrm>
                <a:off x="5734" y="3246"/>
                <a:ext cx="34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59" name="Line 217"/>
              <p:cNvSpPr>
                <a:spLocks noChangeShapeType="1"/>
              </p:cNvSpPr>
              <p:nvPr/>
            </p:nvSpPr>
            <p:spPr bwMode="auto">
              <a:xfrm>
                <a:off x="5489" y="2867"/>
                <a:ext cx="262" cy="402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60" name="Oval 218"/>
              <p:cNvSpPr>
                <a:spLocks noChangeArrowheads="1"/>
              </p:cNvSpPr>
              <p:nvPr/>
            </p:nvSpPr>
            <p:spPr bwMode="auto">
              <a:xfrm>
                <a:off x="5974" y="3623"/>
                <a:ext cx="34" cy="47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61" name="Line 219"/>
              <p:cNvSpPr>
                <a:spLocks noChangeShapeType="1"/>
              </p:cNvSpPr>
              <p:nvPr/>
            </p:nvSpPr>
            <p:spPr bwMode="auto">
              <a:xfrm>
                <a:off x="5751" y="3269"/>
                <a:ext cx="240" cy="378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62" name="Oval 220"/>
              <p:cNvSpPr>
                <a:spLocks noChangeArrowheads="1"/>
              </p:cNvSpPr>
              <p:nvPr/>
            </p:nvSpPr>
            <p:spPr bwMode="auto">
              <a:xfrm>
                <a:off x="6079" y="4011"/>
                <a:ext cx="35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63" name="Line 221"/>
              <p:cNvSpPr>
                <a:spLocks noChangeShapeType="1"/>
              </p:cNvSpPr>
              <p:nvPr/>
            </p:nvSpPr>
            <p:spPr bwMode="auto">
              <a:xfrm>
                <a:off x="5991" y="3647"/>
                <a:ext cx="106" cy="387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64" name="Oval 222"/>
              <p:cNvSpPr>
                <a:spLocks noChangeArrowheads="1"/>
              </p:cNvSpPr>
              <p:nvPr/>
            </p:nvSpPr>
            <p:spPr bwMode="auto">
              <a:xfrm>
                <a:off x="4921" y="2190"/>
                <a:ext cx="34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65" name="Oval 223"/>
              <p:cNvSpPr>
                <a:spLocks noChangeArrowheads="1"/>
              </p:cNvSpPr>
              <p:nvPr/>
            </p:nvSpPr>
            <p:spPr bwMode="auto">
              <a:xfrm>
                <a:off x="5413" y="2529"/>
                <a:ext cx="35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66" name="Line 224"/>
              <p:cNvSpPr>
                <a:spLocks noChangeShapeType="1"/>
              </p:cNvSpPr>
              <p:nvPr/>
            </p:nvSpPr>
            <p:spPr bwMode="auto">
              <a:xfrm>
                <a:off x="4938" y="2213"/>
                <a:ext cx="492" cy="339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67" name="Oval 225"/>
              <p:cNvSpPr>
                <a:spLocks noChangeArrowheads="1"/>
              </p:cNvSpPr>
              <p:nvPr/>
            </p:nvSpPr>
            <p:spPr bwMode="auto">
              <a:xfrm>
                <a:off x="5730" y="2986"/>
                <a:ext cx="35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68" name="Line 226"/>
              <p:cNvSpPr>
                <a:spLocks noChangeShapeType="1"/>
              </p:cNvSpPr>
              <p:nvPr/>
            </p:nvSpPr>
            <p:spPr bwMode="auto">
              <a:xfrm>
                <a:off x="5430" y="2552"/>
                <a:ext cx="317" cy="457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69" name="Oval 227"/>
              <p:cNvSpPr>
                <a:spLocks noChangeArrowheads="1"/>
              </p:cNvSpPr>
              <p:nvPr/>
            </p:nvSpPr>
            <p:spPr bwMode="auto">
              <a:xfrm>
                <a:off x="5843" y="3128"/>
                <a:ext cx="34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70" name="Line 228"/>
              <p:cNvSpPr>
                <a:spLocks noChangeShapeType="1"/>
              </p:cNvSpPr>
              <p:nvPr/>
            </p:nvSpPr>
            <p:spPr bwMode="auto">
              <a:xfrm>
                <a:off x="5747" y="3009"/>
                <a:ext cx="113" cy="142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71" name="Oval 229"/>
              <p:cNvSpPr>
                <a:spLocks noChangeArrowheads="1"/>
              </p:cNvSpPr>
              <p:nvPr/>
            </p:nvSpPr>
            <p:spPr bwMode="auto">
              <a:xfrm>
                <a:off x="5932" y="3277"/>
                <a:ext cx="35" cy="47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72" name="Line 230"/>
              <p:cNvSpPr>
                <a:spLocks noChangeShapeType="1"/>
              </p:cNvSpPr>
              <p:nvPr/>
            </p:nvSpPr>
            <p:spPr bwMode="auto">
              <a:xfrm>
                <a:off x="5860" y="3151"/>
                <a:ext cx="89" cy="149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73" name="Oval 231"/>
              <p:cNvSpPr>
                <a:spLocks noChangeArrowheads="1"/>
              </p:cNvSpPr>
              <p:nvPr/>
            </p:nvSpPr>
            <p:spPr bwMode="auto">
              <a:xfrm>
                <a:off x="6097" y="3585"/>
                <a:ext cx="34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74" name="Line 232"/>
              <p:cNvSpPr>
                <a:spLocks noChangeShapeType="1"/>
              </p:cNvSpPr>
              <p:nvPr/>
            </p:nvSpPr>
            <p:spPr bwMode="auto">
              <a:xfrm>
                <a:off x="5949" y="3300"/>
                <a:ext cx="165" cy="308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75" name="Oval 233"/>
              <p:cNvSpPr>
                <a:spLocks noChangeArrowheads="1"/>
              </p:cNvSpPr>
              <p:nvPr/>
            </p:nvSpPr>
            <p:spPr bwMode="auto">
              <a:xfrm>
                <a:off x="6790" y="4254"/>
                <a:ext cx="35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76" name="Line 234"/>
              <p:cNvSpPr>
                <a:spLocks noChangeShapeType="1"/>
              </p:cNvSpPr>
              <p:nvPr/>
            </p:nvSpPr>
            <p:spPr bwMode="auto">
              <a:xfrm>
                <a:off x="6114" y="3608"/>
                <a:ext cx="694" cy="669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77" name="Oval 235"/>
              <p:cNvSpPr>
                <a:spLocks noChangeArrowheads="1"/>
              </p:cNvSpPr>
              <p:nvPr/>
            </p:nvSpPr>
            <p:spPr bwMode="auto">
              <a:xfrm>
                <a:off x="4921" y="2190"/>
                <a:ext cx="34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78" name="Oval 236"/>
              <p:cNvSpPr>
                <a:spLocks noChangeArrowheads="1"/>
              </p:cNvSpPr>
              <p:nvPr/>
            </p:nvSpPr>
            <p:spPr bwMode="auto">
              <a:xfrm>
                <a:off x="5100" y="2404"/>
                <a:ext cx="35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79" name="Line 237"/>
              <p:cNvSpPr>
                <a:spLocks noChangeShapeType="1"/>
              </p:cNvSpPr>
              <p:nvPr/>
            </p:nvSpPr>
            <p:spPr bwMode="auto">
              <a:xfrm>
                <a:off x="4938" y="2213"/>
                <a:ext cx="179" cy="214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80" name="Oval 238"/>
              <p:cNvSpPr>
                <a:spLocks noChangeArrowheads="1"/>
              </p:cNvSpPr>
              <p:nvPr/>
            </p:nvSpPr>
            <p:spPr bwMode="auto">
              <a:xfrm>
                <a:off x="5479" y="2606"/>
                <a:ext cx="35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81" name="Line 239"/>
              <p:cNvSpPr>
                <a:spLocks noChangeShapeType="1"/>
              </p:cNvSpPr>
              <p:nvPr/>
            </p:nvSpPr>
            <p:spPr bwMode="auto">
              <a:xfrm>
                <a:off x="5117" y="2427"/>
                <a:ext cx="380" cy="202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82" name="Oval 240"/>
              <p:cNvSpPr>
                <a:spLocks noChangeArrowheads="1"/>
              </p:cNvSpPr>
              <p:nvPr/>
            </p:nvSpPr>
            <p:spPr bwMode="auto">
              <a:xfrm>
                <a:off x="4921" y="2190"/>
                <a:ext cx="34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83" name="Oval 241"/>
              <p:cNvSpPr>
                <a:spLocks noChangeArrowheads="1"/>
              </p:cNvSpPr>
              <p:nvPr/>
            </p:nvSpPr>
            <p:spPr bwMode="auto">
              <a:xfrm>
                <a:off x="5322" y="2339"/>
                <a:ext cx="34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84" name="Line 242"/>
              <p:cNvSpPr>
                <a:spLocks noChangeShapeType="1"/>
              </p:cNvSpPr>
              <p:nvPr/>
            </p:nvSpPr>
            <p:spPr bwMode="auto">
              <a:xfrm>
                <a:off x="4938" y="2213"/>
                <a:ext cx="401" cy="149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85" name="Oval 243"/>
              <p:cNvSpPr>
                <a:spLocks noChangeArrowheads="1"/>
              </p:cNvSpPr>
              <p:nvPr/>
            </p:nvSpPr>
            <p:spPr bwMode="auto">
              <a:xfrm>
                <a:off x="5758" y="2841"/>
                <a:ext cx="35" cy="47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86" name="Line 244"/>
              <p:cNvSpPr>
                <a:spLocks noChangeShapeType="1"/>
              </p:cNvSpPr>
              <p:nvPr/>
            </p:nvSpPr>
            <p:spPr bwMode="auto">
              <a:xfrm>
                <a:off x="5339" y="2362"/>
                <a:ext cx="437" cy="503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87" name="Oval 245"/>
              <p:cNvSpPr>
                <a:spLocks noChangeArrowheads="1"/>
              </p:cNvSpPr>
              <p:nvPr/>
            </p:nvSpPr>
            <p:spPr bwMode="auto">
              <a:xfrm>
                <a:off x="4921" y="2190"/>
                <a:ext cx="34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88" name="Oval 246"/>
              <p:cNvSpPr>
                <a:spLocks noChangeArrowheads="1"/>
              </p:cNvSpPr>
              <p:nvPr/>
            </p:nvSpPr>
            <p:spPr bwMode="auto">
              <a:xfrm>
                <a:off x="6377" y="2829"/>
                <a:ext cx="34" cy="47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89" name="Line 247"/>
              <p:cNvSpPr>
                <a:spLocks noChangeShapeType="1"/>
              </p:cNvSpPr>
              <p:nvPr/>
            </p:nvSpPr>
            <p:spPr bwMode="auto">
              <a:xfrm>
                <a:off x="4938" y="2213"/>
                <a:ext cx="1456" cy="640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90" name="Oval 248"/>
              <p:cNvSpPr>
                <a:spLocks noChangeArrowheads="1"/>
              </p:cNvSpPr>
              <p:nvPr/>
            </p:nvSpPr>
            <p:spPr bwMode="auto">
              <a:xfrm>
                <a:off x="6659" y="2945"/>
                <a:ext cx="35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91" name="Line 249"/>
              <p:cNvSpPr>
                <a:spLocks noChangeShapeType="1"/>
              </p:cNvSpPr>
              <p:nvPr/>
            </p:nvSpPr>
            <p:spPr bwMode="auto">
              <a:xfrm>
                <a:off x="6394" y="2853"/>
                <a:ext cx="282" cy="115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92" name="Oval 250"/>
              <p:cNvSpPr>
                <a:spLocks noChangeArrowheads="1"/>
              </p:cNvSpPr>
              <p:nvPr/>
            </p:nvSpPr>
            <p:spPr bwMode="auto">
              <a:xfrm>
                <a:off x="6813" y="3113"/>
                <a:ext cx="35" cy="47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93" name="Line 251"/>
              <p:cNvSpPr>
                <a:spLocks noChangeShapeType="1"/>
              </p:cNvSpPr>
              <p:nvPr/>
            </p:nvSpPr>
            <p:spPr bwMode="auto">
              <a:xfrm>
                <a:off x="6676" y="2968"/>
                <a:ext cx="155" cy="169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94" name="Oval 252"/>
              <p:cNvSpPr>
                <a:spLocks noChangeArrowheads="1"/>
              </p:cNvSpPr>
              <p:nvPr/>
            </p:nvSpPr>
            <p:spPr bwMode="auto">
              <a:xfrm>
                <a:off x="7200" y="3303"/>
                <a:ext cx="35" cy="47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95" name="Line 253"/>
              <p:cNvSpPr>
                <a:spLocks noChangeShapeType="1"/>
              </p:cNvSpPr>
              <p:nvPr/>
            </p:nvSpPr>
            <p:spPr bwMode="auto">
              <a:xfrm>
                <a:off x="6831" y="3137"/>
                <a:ext cx="386" cy="190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96" name="Oval 254"/>
              <p:cNvSpPr>
                <a:spLocks noChangeArrowheads="1"/>
              </p:cNvSpPr>
              <p:nvPr/>
            </p:nvSpPr>
            <p:spPr bwMode="auto">
              <a:xfrm>
                <a:off x="4921" y="2190"/>
                <a:ext cx="34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97" name="Oval 255"/>
              <p:cNvSpPr>
                <a:spLocks noChangeArrowheads="1"/>
              </p:cNvSpPr>
              <p:nvPr/>
            </p:nvSpPr>
            <p:spPr bwMode="auto">
              <a:xfrm>
                <a:off x="5171" y="2471"/>
                <a:ext cx="35" cy="47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98" name="Line 256"/>
              <p:cNvSpPr>
                <a:spLocks noChangeShapeType="1"/>
              </p:cNvSpPr>
              <p:nvPr/>
            </p:nvSpPr>
            <p:spPr bwMode="auto">
              <a:xfrm>
                <a:off x="4938" y="2213"/>
                <a:ext cx="251" cy="281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99" name="Oval 257"/>
              <p:cNvSpPr>
                <a:spLocks noChangeArrowheads="1"/>
              </p:cNvSpPr>
              <p:nvPr/>
            </p:nvSpPr>
            <p:spPr bwMode="auto">
              <a:xfrm>
                <a:off x="5617" y="2635"/>
                <a:ext cx="35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400" name="Line 258"/>
              <p:cNvSpPr>
                <a:spLocks noChangeShapeType="1"/>
              </p:cNvSpPr>
              <p:nvPr/>
            </p:nvSpPr>
            <p:spPr bwMode="auto">
              <a:xfrm>
                <a:off x="5189" y="2494"/>
                <a:ext cx="446" cy="164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401" name="Oval 259"/>
              <p:cNvSpPr>
                <a:spLocks noChangeArrowheads="1"/>
              </p:cNvSpPr>
              <p:nvPr/>
            </p:nvSpPr>
            <p:spPr bwMode="auto">
              <a:xfrm>
                <a:off x="4921" y="2190"/>
                <a:ext cx="34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402" name="Oval 260"/>
              <p:cNvSpPr>
                <a:spLocks noChangeArrowheads="1"/>
              </p:cNvSpPr>
              <p:nvPr/>
            </p:nvSpPr>
            <p:spPr bwMode="auto">
              <a:xfrm>
                <a:off x="5198" y="2324"/>
                <a:ext cx="35" cy="47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403" name="Line 261"/>
              <p:cNvSpPr>
                <a:spLocks noChangeShapeType="1"/>
              </p:cNvSpPr>
              <p:nvPr/>
            </p:nvSpPr>
            <p:spPr bwMode="auto">
              <a:xfrm>
                <a:off x="4938" y="2213"/>
                <a:ext cx="277" cy="135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404" name="Oval 262"/>
              <p:cNvSpPr>
                <a:spLocks noChangeArrowheads="1"/>
              </p:cNvSpPr>
              <p:nvPr/>
            </p:nvSpPr>
            <p:spPr bwMode="auto">
              <a:xfrm>
                <a:off x="5633" y="2541"/>
                <a:ext cx="35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405" name="Line 263"/>
              <p:cNvSpPr>
                <a:spLocks noChangeShapeType="1"/>
              </p:cNvSpPr>
              <p:nvPr/>
            </p:nvSpPr>
            <p:spPr bwMode="auto">
              <a:xfrm>
                <a:off x="5215" y="2348"/>
                <a:ext cx="436" cy="216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406" name="Oval 264"/>
              <p:cNvSpPr>
                <a:spLocks noChangeArrowheads="1"/>
              </p:cNvSpPr>
              <p:nvPr/>
            </p:nvSpPr>
            <p:spPr bwMode="auto">
              <a:xfrm>
                <a:off x="4921" y="2190"/>
                <a:ext cx="34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407" name="Oval 265"/>
              <p:cNvSpPr>
                <a:spLocks noChangeArrowheads="1"/>
              </p:cNvSpPr>
              <p:nvPr/>
            </p:nvSpPr>
            <p:spPr bwMode="auto">
              <a:xfrm>
                <a:off x="5620" y="2623"/>
                <a:ext cx="35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408" name="Line 266"/>
              <p:cNvSpPr>
                <a:spLocks noChangeShapeType="1"/>
              </p:cNvSpPr>
              <p:nvPr/>
            </p:nvSpPr>
            <p:spPr bwMode="auto">
              <a:xfrm>
                <a:off x="4938" y="2213"/>
                <a:ext cx="700" cy="433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409" name="Oval 267"/>
              <p:cNvSpPr>
                <a:spLocks noChangeArrowheads="1"/>
              </p:cNvSpPr>
              <p:nvPr/>
            </p:nvSpPr>
            <p:spPr bwMode="auto">
              <a:xfrm>
                <a:off x="6009" y="3056"/>
                <a:ext cx="35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410" name="Line 268"/>
              <p:cNvSpPr>
                <a:spLocks noChangeShapeType="1"/>
              </p:cNvSpPr>
              <p:nvPr/>
            </p:nvSpPr>
            <p:spPr bwMode="auto">
              <a:xfrm>
                <a:off x="5638" y="2646"/>
                <a:ext cx="388" cy="433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411" name="Oval 269"/>
              <p:cNvSpPr>
                <a:spLocks noChangeArrowheads="1"/>
              </p:cNvSpPr>
              <p:nvPr/>
            </p:nvSpPr>
            <p:spPr bwMode="auto">
              <a:xfrm>
                <a:off x="6475" y="3429"/>
                <a:ext cx="34" cy="46"/>
              </a:xfrm>
              <a:prstGeom prst="ellipse">
                <a:avLst/>
              </a:prstGeom>
              <a:grpFill/>
              <a:ln w="25400">
                <a:solidFill>
                  <a:srgbClr val="FFF10F"/>
                </a:solidFill>
                <a:round/>
                <a:headEnd/>
                <a:tailEnd/>
              </a:ln>
              <a:extLst/>
            </p:spPr>
            <p:txBody>
              <a:bodyPr wrap="none" anchor="ctr"/>
              <a:lstStyle/>
              <a:p>
                <a:pPr>
                  <a:buFontTx/>
                  <a:buNone/>
                  <a:defRPr/>
                </a:pPr>
                <a:endParaRPr lang="en-GB"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412" name="Line 270"/>
              <p:cNvSpPr>
                <a:spLocks noChangeShapeType="1"/>
              </p:cNvSpPr>
              <p:nvPr/>
            </p:nvSpPr>
            <p:spPr bwMode="auto">
              <a:xfrm>
                <a:off x="6026" y="3079"/>
                <a:ext cx="466" cy="373"/>
              </a:xfrm>
              <a:prstGeom prst="line">
                <a:avLst/>
              </a:prstGeom>
              <a:grpFill/>
              <a:ln w="25400">
                <a:solidFill>
                  <a:srgbClr val="FFF10F"/>
                </a:solidFill>
                <a:round/>
                <a:headEnd type="none" w="sm" len="sm"/>
                <a:tailEnd type="none" w="sm" len="sm"/>
              </a:ln>
              <a:extLst/>
            </p:spPr>
            <p:txBody>
              <a:bodyPr/>
              <a:lstStyle/>
              <a:p>
                <a:pPr algn="l" defTabSz="457200" eaLnBrk="1" hangingPunct="1">
                  <a:spcBef>
                    <a:spcPct val="0"/>
                  </a:spcBef>
                  <a:buFontTx/>
                  <a:buNone/>
                  <a:defRPr/>
                </a:pPr>
                <a:endParaRPr lang="en-US" sz="1800">
                  <a:solidFill>
                    <a:prstClr val="black"/>
                  </a:solidFill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</p:spTree>
    <p:custDataLst>
      <p:tags r:id="rId2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569" name="Rectangle 2"/>
          <p:cNvSpPr>
            <a:spLocks noChangeArrowheads="1"/>
          </p:cNvSpPr>
          <p:nvPr/>
        </p:nvSpPr>
        <p:spPr bwMode="auto">
          <a:xfrm>
            <a:off x="323850" y="1125538"/>
            <a:ext cx="8135938" cy="5327650"/>
          </a:xfrm>
          <a:prstGeom prst="rect">
            <a:avLst/>
          </a:prstGeom>
          <a:solidFill>
            <a:srgbClr val="FFFF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FontTx/>
              <a:buNone/>
            </a:pPr>
            <a:endParaRPr lang="en-GB"/>
          </a:p>
        </p:txBody>
      </p:sp>
      <p:sp>
        <p:nvSpPr>
          <p:cNvPr id="237570" name="Line 3"/>
          <p:cNvSpPr>
            <a:spLocks noChangeShapeType="1"/>
          </p:cNvSpPr>
          <p:nvPr/>
        </p:nvSpPr>
        <p:spPr bwMode="auto">
          <a:xfrm>
            <a:off x="2817813" y="2284413"/>
            <a:ext cx="0" cy="36576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237571" name="Text Box 4"/>
          <p:cNvSpPr txBox="1">
            <a:spLocks noChangeArrowheads="1"/>
          </p:cNvSpPr>
          <p:nvPr/>
        </p:nvSpPr>
        <p:spPr bwMode="auto">
          <a:xfrm rot="-5400000">
            <a:off x="-532606" y="3853656"/>
            <a:ext cx="2109788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US" sz="2000" b="1">
                <a:solidFill>
                  <a:srgbClr val="000000"/>
                </a:solidFill>
                <a:latin typeface="Times" charset="0"/>
              </a:rPr>
              <a:t>Cognition MMSE</a:t>
            </a:r>
            <a:endParaRPr lang="en-US" sz="2000" b="1">
              <a:solidFill>
                <a:srgbClr val="FFFF99"/>
              </a:solidFill>
              <a:latin typeface="Times" charset="0"/>
              <a:sym typeface="Symbol" pitchFamily="18" charset="2"/>
            </a:endParaRPr>
          </a:p>
        </p:txBody>
      </p:sp>
      <p:sp>
        <p:nvSpPr>
          <p:cNvPr id="237572" name="Text Box 5"/>
          <p:cNvSpPr txBox="1">
            <a:spLocks noChangeArrowheads="1"/>
          </p:cNvSpPr>
          <p:nvPr/>
        </p:nvSpPr>
        <p:spPr bwMode="auto">
          <a:xfrm>
            <a:off x="6084888" y="6003925"/>
            <a:ext cx="1635125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US" sz="2000" b="1">
                <a:solidFill>
                  <a:srgbClr val="000000"/>
                </a:solidFill>
                <a:latin typeface="Times" charset="0"/>
              </a:rPr>
              <a:t>Time (5-10 y)</a:t>
            </a:r>
            <a:endParaRPr lang="en-US" sz="2400" b="1">
              <a:solidFill>
                <a:srgbClr val="000000"/>
              </a:solidFill>
              <a:latin typeface="Times" charset="0"/>
              <a:sym typeface="Symbol" pitchFamily="18" charset="2"/>
            </a:endParaRPr>
          </a:p>
        </p:txBody>
      </p:sp>
      <p:sp>
        <p:nvSpPr>
          <p:cNvPr id="237573" name="Line 6"/>
          <p:cNvSpPr>
            <a:spLocks noChangeShapeType="1"/>
          </p:cNvSpPr>
          <p:nvPr/>
        </p:nvSpPr>
        <p:spPr bwMode="auto">
          <a:xfrm>
            <a:off x="836613" y="5942013"/>
            <a:ext cx="6858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237574" name="Line 7"/>
          <p:cNvSpPr>
            <a:spLocks noChangeShapeType="1"/>
          </p:cNvSpPr>
          <p:nvPr/>
        </p:nvSpPr>
        <p:spPr bwMode="auto">
          <a:xfrm flipV="1">
            <a:off x="825500" y="2203450"/>
            <a:ext cx="0" cy="37338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237575" name="Text Box 8"/>
          <p:cNvSpPr txBox="1">
            <a:spLocks noChangeArrowheads="1"/>
          </p:cNvSpPr>
          <p:nvPr/>
        </p:nvSpPr>
        <p:spPr bwMode="auto">
          <a:xfrm>
            <a:off x="6323013" y="4494213"/>
            <a:ext cx="1792287" cy="466725"/>
          </a:xfrm>
          <a:prstGeom prst="rect">
            <a:avLst/>
          </a:prstGeom>
          <a:noFill/>
          <a:ln w="9525">
            <a:solidFill>
              <a:srgbClr val="00808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US" sz="2400" b="1" u="sng">
                <a:solidFill>
                  <a:srgbClr val="008080"/>
                </a:solidFill>
                <a:latin typeface="Times" charset="0"/>
              </a:rPr>
              <a:t>fast decliner</a:t>
            </a:r>
          </a:p>
        </p:txBody>
      </p:sp>
      <p:sp>
        <p:nvSpPr>
          <p:cNvPr id="237576" name="Text Box 9"/>
          <p:cNvSpPr txBox="1">
            <a:spLocks noChangeArrowheads="1"/>
          </p:cNvSpPr>
          <p:nvPr/>
        </p:nvSpPr>
        <p:spPr bwMode="auto">
          <a:xfrm>
            <a:off x="6226175" y="2779713"/>
            <a:ext cx="1890713" cy="466725"/>
          </a:xfrm>
          <a:prstGeom prst="rect">
            <a:avLst/>
          </a:prstGeom>
          <a:noFill/>
          <a:ln w="9525">
            <a:solidFill>
              <a:srgbClr val="FF33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US" sz="2400" b="1" u="sng">
                <a:solidFill>
                  <a:srgbClr val="FF3300"/>
                </a:solidFill>
                <a:latin typeface="Times" charset="0"/>
              </a:rPr>
              <a:t>slow decliner</a:t>
            </a:r>
            <a:endParaRPr lang="en-US" sz="2400" u="sng">
              <a:solidFill>
                <a:srgbClr val="FF3300"/>
              </a:solidFill>
              <a:latin typeface="Times" charset="0"/>
            </a:endParaRPr>
          </a:p>
        </p:txBody>
      </p:sp>
      <p:sp>
        <p:nvSpPr>
          <p:cNvPr id="237577" name="Line 10"/>
          <p:cNvSpPr>
            <a:spLocks noChangeShapeType="1"/>
          </p:cNvSpPr>
          <p:nvPr/>
        </p:nvSpPr>
        <p:spPr bwMode="auto">
          <a:xfrm>
            <a:off x="4722813" y="2284413"/>
            <a:ext cx="0" cy="36576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237578" name="Arc 11"/>
          <p:cNvSpPr>
            <a:spLocks/>
          </p:cNvSpPr>
          <p:nvPr/>
        </p:nvSpPr>
        <p:spPr bwMode="auto">
          <a:xfrm>
            <a:off x="912813" y="2290763"/>
            <a:ext cx="2409825" cy="1746250"/>
          </a:xfrm>
          <a:custGeom>
            <a:avLst/>
            <a:gdLst>
              <a:gd name="T0" fmla="*/ 0 w 20087"/>
              <a:gd name="T1" fmla="*/ 0 h 21600"/>
              <a:gd name="T2" fmla="*/ 2147483647 w 20087"/>
              <a:gd name="T3" fmla="*/ 2147483647 h 21600"/>
              <a:gd name="T4" fmla="*/ 0 w 20087"/>
              <a:gd name="T5" fmla="*/ 2147483647 h 21600"/>
              <a:gd name="T6" fmla="*/ 0 60000 65536"/>
              <a:gd name="T7" fmla="*/ 0 60000 65536"/>
              <a:gd name="T8" fmla="*/ 0 60000 65536"/>
              <a:gd name="T9" fmla="*/ 0 w 20087"/>
              <a:gd name="T10" fmla="*/ 0 h 21600"/>
              <a:gd name="T11" fmla="*/ 20087 w 20087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0087" h="21600" fill="none" extrusionOk="0">
                <a:moveTo>
                  <a:pt x="-1" y="0"/>
                </a:moveTo>
                <a:cubicBezTo>
                  <a:pt x="8864" y="0"/>
                  <a:pt x="16829" y="5416"/>
                  <a:pt x="20087" y="13660"/>
                </a:cubicBezTo>
              </a:path>
              <a:path w="20087" h="21600" stroke="0" extrusionOk="0">
                <a:moveTo>
                  <a:pt x="-1" y="0"/>
                </a:moveTo>
                <a:cubicBezTo>
                  <a:pt x="8864" y="0"/>
                  <a:pt x="16829" y="5416"/>
                  <a:pt x="20087" y="1366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28575">
            <a:solidFill>
              <a:srgbClr val="0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237579" name="Arc 12"/>
          <p:cNvSpPr>
            <a:spLocks/>
          </p:cNvSpPr>
          <p:nvPr/>
        </p:nvSpPr>
        <p:spPr bwMode="auto">
          <a:xfrm rot="10800000">
            <a:off x="3275013" y="2563813"/>
            <a:ext cx="4495800" cy="2819400"/>
          </a:xfrm>
          <a:custGeom>
            <a:avLst/>
            <a:gdLst>
              <a:gd name="T0" fmla="*/ 2147483647 w 20825"/>
              <a:gd name="T1" fmla="*/ 0 h 21596"/>
              <a:gd name="T2" fmla="*/ 2147483647 w 20825"/>
              <a:gd name="T3" fmla="*/ 2147483647 h 21596"/>
              <a:gd name="T4" fmla="*/ 0 w 20825"/>
              <a:gd name="T5" fmla="*/ 2147483647 h 21596"/>
              <a:gd name="T6" fmla="*/ 0 60000 65536"/>
              <a:gd name="T7" fmla="*/ 0 60000 65536"/>
              <a:gd name="T8" fmla="*/ 0 60000 65536"/>
              <a:gd name="T9" fmla="*/ 0 w 20825"/>
              <a:gd name="T10" fmla="*/ 0 h 21596"/>
              <a:gd name="T11" fmla="*/ 20825 w 20825"/>
              <a:gd name="T12" fmla="*/ 21596 h 2159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0825" h="21596" fill="none" extrusionOk="0">
                <a:moveTo>
                  <a:pt x="395" y="-1"/>
                </a:moveTo>
                <a:cubicBezTo>
                  <a:pt x="9969" y="174"/>
                  <a:pt x="18285" y="6632"/>
                  <a:pt x="20826" y="15865"/>
                </a:cubicBezTo>
              </a:path>
              <a:path w="20825" h="21596" stroke="0" extrusionOk="0">
                <a:moveTo>
                  <a:pt x="395" y="-1"/>
                </a:moveTo>
                <a:cubicBezTo>
                  <a:pt x="9969" y="174"/>
                  <a:pt x="18285" y="6632"/>
                  <a:pt x="20826" y="15865"/>
                </a:cubicBezTo>
                <a:lnTo>
                  <a:pt x="0" y="21596"/>
                </a:lnTo>
                <a:lnTo>
                  <a:pt x="395" y="-1"/>
                </a:lnTo>
                <a:close/>
              </a:path>
            </a:pathLst>
          </a:custGeom>
          <a:noFill/>
          <a:ln w="28575">
            <a:solidFill>
              <a:srgbClr val="0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237580" name="Arc 13"/>
          <p:cNvSpPr>
            <a:spLocks/>
          </p:cNvSpPr>
          <p:nvPr/>
        </p:nvSpPr>
        <p:spPr bwMode="auto">
          <a:xfrm>
            <a:off x="912813" y="2284413"/>
            <a:ext cx="2713037" cy="1828800"/>
          </a:xfrm>
          <a:custGeom>
            <a:avLst/>
            <a:gdLst>
              <a:gd name="T0" fmla="*/ 2147483647 w 18300"/>
              <a:gd name="T1" fmla="*/ 0 h 21596"/>
              <a:gd name="T2" fmla="*/ 2147483647 w 18300"/>
              <a:gd name="T3" fmla="*/ 2147483647 h 21596"/>
              <a:gd name="T4" fmla="*/ 0 w 18300"/>
              <a:gd name="T5" fmla="*/ 2147483647 h 21596"/>
              <a:gd name="T6" fmla="*/ 0 60000 65536"/>
              <a:gd name="T7" fmla="*/ 0 60000 65536"/>
              <a:gd name="T8" fmla="*/ 0 60000 65536"/>
              <a:gd name="T9" fmla="*/ 0 w 18300"/>
              <a:gd name="T10" fmla="*/ 0 h 21596"/>
              <a:gd name="T11" fmla="*/ 18300 w 18300"/>
              <a:gd name="T12" fmla="*/ 21596 h 2159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8300" h="21596" fill="none" extrusionOk="0">
                <a:moveTo>
                  <a:pt x="395" y="-1"/>
                </a:moveTo>
                <a:cubicBezTo>
                  <a:pt x="7690" y="133"/>
                  <a:pt x="14425" y="3940"/>
                  <a:pt x="18300" y="10122"/>
                </a:cubicBezTo>
              </a:path>
              <a:path w="18300" h="21596" stroke="0" extrusionOk="0">
                <a:moveTo>
                  <a:pt x="395" y="-1"/>
                </a:moveTo>
                <a:cubicBezTo>
                  <a:pt x="7690" y="133"/>
                  <a:pt x="14425" y="3940"/>
                  <a:pt x="18300" y="10122"/>
                </a:cubicBezTo>
                <a:lnTo>
                  <a:pt x="0" y="21596"/>
                </a:lnTo>
                <a:lnTo>
                  <a:pt x="395" y="-1"/>
                </a:lnTo>
                <a:close/>
              </a:path>
            </a:pathLst>
          </a:custGeom>
          <a:noFill/>
          <a:ln w="28575">
            <a:solidFill>
              <a:srgbClr val="FF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237581" name="Arc 14"/>
          <p:cNvSpPr>
            <a:spLocks/>
          </p:cNvSpPr>
          <p:nvPr/>
        </p:nvSpPr>
        <p:spPr bwMode="auto">
          <a:xfrm rot="10800000">
            <a:off x="3579813" y="2132013"/>
            <a:ext cx="3962400" cy="1828800"/>
          </a:xfrm>
          <a:custGeom>
            <a:avLst/>
            <a:gdLst>
              <a:gd name="T0" fmla="*/ 2147483647 w 18300"/>
              <a:gd name="T1" fmla="*/ 0 h 21596"/>
              <a:gd name="T2" fmla="*/ 2147483647 w 18300"/>
              <a:gd name="T3" fmla="*/ 2147483647 h 21596"/>
              <a:gd name="T4" fmla="*/ 0 w 18300"/>
              <a:gd name="T5" fmla="*/ 2147483647 h 21596"/>
              <a:gd name="T6" fmla="*/ 0 60000 65536"/>
              <a:gd name="T7" fmla="*/ 0 60000 65536"/>
              <a:gd name="T8" fmla="*/ 0 60000 65536"/>
              <a:gd name="T9" fmla="*/ 0 w 18300"/>
              <a:gd name="T10" fmla="*/ 0 h 21596"/>
              <a:gd name="T11" fmla="*/ 18300 w 18300"/>
              <a:gd name="T12" fmla="*/ 21596 h 2159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8300" h="21596" fill="none" extrusionOk="0">
                <a:moveTo>
                  <a:pt x="395" y="-1"/>
                </a:moveTo>
                <a:cubicBezTo>
                  <a:pt x="7690" y="133"/>
                  <a:pt x="14425" y="3940"/>
                  <a:pt x="18300" y="10122"/>
                </a:cubicBezTo>
              </a:path>
              <a:path w="18300" h="21596" stroke="0" extrusionOk="0">
                <a:moveTo>
                  <a:pt x="395" y="-1"/>
                </a:moveTo>
                <a:cubicBezTo>
                  <a:pt x="7690" y="133"/>
                  <a:pt x="14425" y="3940"/>
                  <a:pt x="18300" y="10122"/>
                </a:cubicBezTo>
                <a:lnTo>
                  <a:pt x="0" y="21596"/>
                </a:lnTo>
                <a:lnTo>
                  <a:pt x="395" y="-1"/>
                </a:lnTo>
                <a:close/>
              </a:path>
            </a:pathLst>
          </a:custGeom>
          <a:noFill/>
          <a:ln w="28575">
            <a:solidFill>
              <a:srgbClr val="FF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237582" name="Line 15"/>
          <p:cNvSpPr>
            <a:spLocks noChangeShapeType="1"/>
          </p:cNvSpPr>
          <p:nvPr/>
        </p:nvSpPr>
        <p:spPr bwMode="auto">
          <a:xfrm flipH="1">
            <a:off x="2132013" y="1446213"/>
            <a:ext cx="609600" cy="7620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7583" name="Line 16"/>
          <p:cNvSpPr>
            <a:spLocks noChangeShapeType="1"/>
          </p:cNvSpPr>
          <p:nvPr/>
        </p:nvSpPr>
        <p:spPr bwMode="auto">
          <a:xfrm>
            <a:off x="3275013" y="1446213"/>
            <a:ext cx="990600" cy="22860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7584" name="Text Box 17"/>
          <p:cNvSpPr txBox="1">
            <a:spLocks noChangeArrowheads="1"/>
          </p:cNvSpPr>
          <p:nvPr/>
        </p:nvSpPr>
        <p:spPr bwMode="auto">
          <a:xfrm>
            <a:off x="2771775" y="1557338"/>
            <a:ext cx="476250" cy="7112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GB" sz="4000">
                <a:solidFill>
                  <a:srgbClr val="000000"/>
                </a:solidFill>
              </a:rPr>
              <a:t>?</a:t>
            </a:r>
          </a:p>
        </p:txBody>
      </p:sp>
      <p:sp>
        <p:nvSpPr>
          <p:cNvPr id="237585" name="Text Box 19"/>
          <p:cNvSpPr txBox="1">
            <a:spLocks noChangeArrowheads="1"/>
          </p:cNvSpPr>
          <p:nvPr/>
        </p:nvSpPr>
        <p:spPr bwMode="auto">
          <a:xfrm>
            <a:off x="2671763" y="333375"/>
            <a:ext cx="2903537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buFontTx/>
              <a:buNone/>
            </a:pPr>
            <a:r>
              <a:rPr lang="en-GB" b="1">
                <a:solidFill>
                  <a:srgbClr val="000090"/>
                </a:solidFill>
              </a:rPr>
              <a:t>Patient Severity</a:t>
            </a:r>
          </a:p>
        </p:txBody>
      </p:sp>
      <p:sp>
        <p:nvSpPr>
          <p:cNvPr id="237586" name="Text Box 20"/>
          <p:cNvSpPr txBox="1">
            <a:spLocks noChangeArrowheads="1"/>
          </p:cNvSpPr>
          <p:nvPr/>
        </p:nvSpPr>
        <p:spPr bwMode="auto">
          <a:xfrm>
            <a:off x="395288" y="1989138"/>
            <a:ext cx="469900" cy="4094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GB" sz="2000">
                <a:solidFill>
                  <a:srgbClr val="000000"/>
                </a:solidFill>
              </a:rPr>
              <a:t>30</a:t>
            </a:r>
          </a:p>
          <a:p>
            <a:pPr algn="l">
              <a:spcBef>
                <a:spcPct val="0"/>
              </a:spcBef>
              <a:buFontTx/>
              <a:buNone/>
            </a:pPr>
            <a:endParaRPr lang="en-GB" sz="2000">
              <a:solidFill>
                <a:srgbClr val="000000"/>
              </a:solidFill>
            </a:endParaRPr>
          </a:p>
          <a:p>
            <a:pPr algn="l">
              <a:spcBef>
                <a:spcPct val="0"/>
              </a:spcBef>
              <a:buFontTx/>
              <a:buNone/>
            </a:pPr>
            <a:endParaRPr lang="en-GB" sz="2000">
              <a:solidFill>
                <a:srgbClr val="000000"/>
              </a:solidFill>
            </a:endParaRPr>
          </a:p>
          <a:p>
            <a:pPr algn="l">
              <a:spcBef>
                <a:spcPct val="0"/>
              </a:spcBef>
              <a:buFontTx/>
              <a:buNone/>
            </a:pPr>
            <a:endParaRPr lang="en-GB" sz="2000">
              <a:solidFill>
                <a:srgbClr val="000000"/>
              </a:solidFill>
            </a:endParaRPr>
          </a:p>
          <a:p>
            <a:pPr algn="l">
              <a:spcBef>
                <a:spcPct val="0"/>
              </a:spcBef>
              <a:buFontTx/>
              <a:buNone/>
            </a:pPr>
            <a:endParaRPr lang="en-GB" sz="2000">
              <a:solidFill>
                <a:srgbClr val="000000"/>
              </a:solidFill>
            </a:endParaRPr>
          </a:p>
          <a:p>
            <a:pPr algn="l">
              <a:spcBef>
                <a:spcPct val="0"/>
              </a:spcBef>
              <a:buFontTx/>
              <a:buNone/>
            </a:pPr>
            <a:endParaRPr lang="en-GB" sz="2000">
              <a:solidFill>
                <a:srgbClr val="000000"/>
              </a:solidFill>
            </a:endParaRPr>
          </a:p>
          <a:p>
            <a:pPr algn="l">
              <a:spcBef>
                <a:spcPct val="0"/>
              </a:spcBef>
              <a:buFontTx/>
              <a:buNone/>
            </a:pPr>
            <a:endParaRPr lang="en-GB" sz="2000">
              <a:solidFill>
                <a:srgbClr val="000000"/>
              </a:solidFill>
            </a:endParaRPr>
          </a:p>
          <a:p>
            <a:pPr algn="l">
              <a:spcBef>
                <a:spcPct val="0"/>
              </a:spcBef>
              <a:buFontTx/>
              <a:buNone/>
            </a:pPr>
            <a:endParaRPr lang="en-GB" sz="2000">
              <a:solidFill>
                <a:srgbClr val="000000"/>
              </a:solidFill>
            </a:endParaRPr>
          </a:p>
          <a:p>
            <a:pPr algn="l">
              <a:spcBef>
                <a:spcPct val="0"/>
              </a:spcBef>
              <a:buFontTx/>
              <a:buNone/>
            </a:pPr>
            <a:endParaRPr lang="en-GB" sz="2000">
              <a:solidFill>
                <a:srgbClr val="000000"/>
              </a:solidFill>
            </a:endParaRPr>
          </a:p>
          <a:p>
            <a:pPr algn="l">
              <a:spcBef>
                <a:spcPct val="0"/>
              </a:spcBef>
              <a:buFontTx/>
              <a:buNone/>
            </a:pPr>
            <a:endParaRPr lang="en-GB" sz="2000">
              <a:solidFill>
                <a:srgbClr val="000000"/>
              </a:solidFill>
            </a:endParaRPr>
          </a:p>
          <a:p>
            <a:pPr algn="l">
              <a:spcBef>
                <a:spcPct val="0"/>
              </a:spcBef>
              <a:buFontTx/>
              <a:buNone/>
            </a:pPr>
            <a:endParaRPr lang="en-GB" sz="2000">
              <a:solidFill>
                <a:srgbClr val="000000"/>
              </a:solidFill>
            </a:endParaRPr>
          </a:p>
          <a:p>
            <a:pPr algn="l">
              <a:spcBef>
                <a:spcPct val="0"/>
              </a:spcBef>
              <a:buFontTx/>
              <a:buNone/>
            </a:pPr>
            <a:endParaRPr lang="en-GB" sz="2000">
              <a:solidFill>
                <a:srgbClr val="000000"/>
              </a:solidFill>
            </a:endParaRPr>
          </a:p>
          <a:p>
            <a:pPr algn="l">
              <a:spcBef>
                <a:spcPct val="0"/>
              </a:spcBef>
              <a:buFontTx/>
              <a:buNone/>
            </a:pPr>
            <a:r>
              <a:rPr lang="en-GB" sz="2000">
                <a:solidFill>
                  <a:srgbClr val="000000"/>
                </a:solidFill>
              </a:rPr>
              <a:t>  0</a:t>
            </a:r>
          </a:p>
        </p:txBody>
      </p:sp>
      <p:grpSp>
        <p:nvGrpSpPr>
          <p:cNvPr id="237587" name="Group 4"/>
          <p:cNvGrpSpPr>
            <a:grpSpLocks/>
          </p:cNvGrpSpPr>
          <p:nvPr/>
        </p:nvGrpSpPr>
        <p:grpSpPr bwMode="auto">
          <a:xfrm>
            <a:off x="7715250" y="214313"/>
            <a:ext cx="1298575" cy="681037"/>
            <a:chOff x="7500938" y="285728"/>
            <a:chExt cx="1298575" cy="681060"/>
          </a:xfrm>
        </p:grpSpPr>
        <p:pic>
          <p:nvPicPr>
            <p:cNvPr id="237588" name="Picture 64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2396" y="285728"/>
              <a:ext cx="1071590" cy="2823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7589" name="Picture 63" descr="C:\Documents and Settings\KMosley\Local Settings\Temporary Internet Files\Content.IE5\8F8TCVUH\SJMC[1].gif"/>
            <p:cNvPicPr>
              <a:picLocks noChangeAspect="1" noChangeArrowheads="1"/>
            </p:cNvPicPr>
            <p:nvPr/>
          </p:nvPicPr>
          <p:blipFill>
            <a:blip r:embed="rId3" r:link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0938" y="668338"/>
              <a:ext cx="1298575" cy="298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593" name="Rectangle 9"/>
          <p:cNvSpPr>
            <a:spLocks noChangeArrowheads="1"/>
          </p:cNvSpPr>
          <p:nvPr/>
        </p:nvSpPr>
        <p:spPr bwMode="auto">
          <a:xfrm>
            <a:off x="7143750" y="0"/>
            <a:ext cx="2000250" cy="10715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2" name="Rectangle 2"/>
          <p:cNvSpPr>
            <a:spLocks noGrp="1" noChangeArrowheads="1"/>
          </p:cNvSpPr>
          <p:nvPr>
            <p:ph type="title"/>
          </p:nvPr>
        </p:nvSpPr>
        <p:spPr>
          <a:xfrm>
            <a:off x="2124075" y="260350"/>
            <a:ext cx="5472113" cy="798513"/>
          </a:xfrm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GB" sz="2800" dirty="0" smtClean="0">
                <a:solidFill>
                  <a:srgbClr val="000099"/>
                </a:solidFill>
                <a:latin typeface="+mn-lt"/>
                <a:ea typeface="+mj-ea"/>
                <a:cs typeface="+mj-cs"/>
              </a:rPr>
              <a:t>Parallel </a:t>
            </a:r>
            <a:r>
              <a:rPr lang="en-GB" sz="2800" i="1" dirty="0" smtClean="0">
                <a:solidFill>
                  <a:srgbClr val="000099"/>
                </a:solidFill>
                <a:latin typeface="+mn-lt"/>
                <a:ea typeface="+mj-ea"/>
                <a:cs typeface="+mj-cs"/>
              </a:rPr>
              <a:t>vs. </a:t>
            </a:r>
            <a:r>
              <a:rPr lang="en-GB" sz="2800" dirty="0" smtClean="0">
                <a:solidFill>
                  <a:srgbClr val="000099"/>
                </a:solidFill>
                <a:latin typeface="+mn-lt"/>
                <a:ea typeface="+mj-ea"/>
                <a:cs typeface="+mj-cs"/>
              </a:rPr>
              <a:t>Adaptive Designs </a:t>
            </a:r>
            <a:endParaRPr lang="en-GB" sz="2800" dirty="0">
              <a:solidFill>
                <a:srgbClr val="000099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238595" name="Rectangle 3"/>
          <p:cNvSpPr>
            <a:spLocks noChangeArrowheads="1"/>
          </p:cNvSpPr>
          <p:nvPr/>
        </p:nvSpPr>
        <p:spPr bwMode="auto">
          <a:xfrm>
            <a:off x="1862138" y="957263"/>
            <a:ext cx="6767512" cy="779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eaLnBrk="1" hangingPunct="1">
              <a:spcBef>
                <a:spcPct val="0"/>
              </a:spcBef>
              <a:buFontTx/>
              <a:buNone/>
            </a:pPr>
            <a:endParaRPr lang="en-GB" sz="3200" b="1">
              <a:solidFill>
                <a:srgbClr val="000000"/>
              </a:solidFill>
            </a:endParaRPr>
          </a:p>
        </p:txBody>
      </p:sp>
      <p:sp>
        <p:nvSpPr>
          <p:cNvPr id="238596" name="Text Box 7"/>
          <p:cNvSpPr txBox="1">
            <a:spLocks noChangeArrowheads="1"/>
          </p:cNvSpPr>
          <p:nvPr/>
        </p:nvSpPr>
        <p:spPr bwMode="auto">
          <a:xfrm>
            <a:off x="646113" y="5957888"/>
            <a:ext cx="8826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60000"/>
              </a:spcBef>
              <a:buFontTx/>
              <a:buNone/>
            </a:pPr>
            <a:r>
              <a:rPr lang="en-GB" sz="1800">
                <a:solidFill>
                  <a:srgbClr val="000000"/>
                </a:solidFill>
              </a:rPr>
              <a:t>Weeks</a:t>
            </a:r>
          </a:p>
        </p:txBody>
      </p:sp>
      <p:sp>
        <p:nvSpPr>
          <p:cNvPr id="238597" name="Line 8"/>
          <p:cNvSpPr>
            <a:spLocks noChangeShapeType="1"/>
          </p:cNvSpPr>
          <p:nvPr/>
        </p:nvSpPr>
        <p:spPr bwMode="auto">
          <a:xfrm flipV="1">
            <a:off x="2690813" y="3395663"/>
            <a:ext cx="9525" cy="6350"/>
          </a:xfrm>
          <a:prstGeom prst="line">
            <a:avLst/>
          </a:prstGeom>
          <a:noFill/>
          <a:ln w="38100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598" name="Line 9"/>
          <p:cNvSpPr>
            <a:spLocks noChangeShapeType="1"/>
          </p:cNvSpPr>
          <p:nvPr/>
        </p:nvSpPr>
        <p:spPr bwMode="auto">
          <a:xfrm flipV="1">
            <a:off x="1116013" y="3692525"/>
            <a:ext cx="12954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599" name="Line 12"/>
          <p:cNvSpPr>
            <a:spLocks noChangeShapeType="1"/>
          </p:cNvSpPr>
          <p:nvPr/>
        </p:nvSpPr>
        <p:spPr bwMode="auto">
          <a:xfrm>
            <a:off x="2411413" y="2828925"/>
            <a:ext cx="5976937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600" name="Line 13"/>
          <p:cNvSpPr>
            <a:spLocks noChangeShapeType="1"/>
          </p:cNvSpPr>
          <p:nvPr/>
        </p:nvSpPr>
        <p:spPr bwMode="auto">
          <a:xfrm>
            <a:off x="2411413" y="4773613"/>
            <a:ext cx="5976937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601" name="Line 14"/>
          <p:cNvSpPr>
            <a:spLocks noChangeShapeType="1"/>
          </p:cNvSpPr>
          <p:nvPr/>
        </p:nvSpPr>
        <p:spPr bwMode="auto">
          <a:xfrm>
            <a:off x="2411413" y="4124325"/>
            <a:ext cx="5976937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602" name="Line 15"/>
          <p:cNvSpPr>
            <a:spLocks noChangeShapeType="1"/>
          </p:cNvSpPr>
          <p:nvPr/>
        </p:nvSpPr>
        <p:spPr bwMode="auto">
          <a:xfrm>
            <a:off x="2411413" y="3405188"/>
            <a:ext cx="5976937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603" name="Text Box 19"/>
          <p:cNvSpPr txBox="1">
            <a:spLocks noChangeArrowheads="1"/>
          </p:cNvSpPr>
          <p:nvPr/>
        </p:nvSpPr>
        <p:spPr bwMode="auto">
          <a:xfrm>
            <a:off x="2411413" y="4340225"/>
            <a:ext cx="1204912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GB" sz="1800" b="1">
                <a:solidFill>
                  <a:srgbClr val="1F497D"/>
                </a:solidFill>
              </a:rPr>
              <a:t>Placebo</a:t>
            </a:r>
          </a:p>
        </p:txBody>
      </p:sp>
      <p:sp>
        <p:nvSpPr>
          <p:cNvPr id="238604" name="Text Box 20"/>
          <p:cNvSpPr txBox="1">
            <a:spLocks noChangeArrowheads="1"/>
          </p:cNvSpPr>
          <p:nvPr/>
        </p:nvSpPr>
        <p:spPr bwMode="auto">
          <a:xfrm>
            <a:off x="2411413" y="3549650"/>
            <a:ext cx="1081087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GB" sz="1800" b="1">
                <a:solidFill>
                  <a:srgbClr val="1F497D"/>
                </a:solidFill>
              </a:rPr>
              <a:t>Dose 1</a:t>
            </a:r>
          </a:p>
        </p:txBody>
      </p:sp>
      <p:sp>
        <p:nvSpPr>
          <p:cNvPr id="238605" name="Text Box 23"/>
          <p:cNvSpPr txBox="1">
            <a:spLocks noChangeArrowheads="1"/>
          </p:cNvSpPr>
          <p:nvPr/>
        </p:nvSpPr>
        <p:spPr bwMode="auto">
          <a:xfrm>
            <a:off x="250825" y="1557338"/>
            <a:ext cx="8281988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tabLst>
                <a:tab pos="801688" algn="ctr"/>
                <a:tab pos="1701800" algn="ctr"/>
                <a:tab pos="4572000" algn="ctr"/>
                <a:tab pos="7708900" algn="ctr"/>
              </a:tabLst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tabLst>
                <a:tab pos="801688" algn="ctr"/>
                <a:tab pos="1701800" algn="ctr"/>
                <a:tab pos="4572000" algn="ctr"/>
                <a:tab pos="7708900" algn="ctr"/>
              </a:tabLst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tabLst>
                <a:tab pos="801688" algn="ctr"/>
                <a:tab pos="1701800" algn="ctr"/>
                <a:tab pos="4572000" algn="ctr"/>
                <a:tab pos="7708900" algn="ctr"/>
              </a:tabLst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tabLst>
                <a:tab pos="801688" algn="ctr"/>
                <a:tab pos="1701800" algn="ctr"/>
                <a:tab pos="4572000" algn="ctr"/>
                <a:tab pos="7708900" algn="ctr"/>
              </a:tabLst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tabLst>
                <a:tab pos="801688" algn="ctr"/>
                <a:tab pos="1701800" algn="ctr"/>
                <a:tab pos="4572000" algn="ctr"/>
                <a:tab pos="7708900" algn="ctr"/>
              </a:tabLst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801688" algn="ctr"/>
                <a:tab pos="1701800" algn="ctr"/>
                <a:tab pos="4572000" algn="ctr"/>
                <a:tab pos="7708900" algn="ctr"/>
              </a:tabLst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801688" algn="ctr"/>
                <a:tab pos="1701800" algn="ctr"/>
                <a:tab pos="4572000" algn="ctr"/>
                <a:tab pos="7708900" algn="ctr"/>
              </a:tabLst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801688" algn="ctr"/>
                <a:tab pos="1701800" algn="ctr"/>
                <a:tab pos="4572000" algn="ctr"/>
                <a:tab pos="7708900" algn="ctr"/>
              </a:tabLst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801688" algn="ctr"/>
                <a:tab pos="1701800" algn="ctr"/>
                <a:tab pos="4572000" algn="ctr"/>
                <a:tab pos="7708900" algn="ctr"/>
              </a:tabLst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5000"/>
              </a:spcBef>
              <a:buFontTx/>
              <a:buNone/>
            </a:pPr>
            <a:r>
              <a:rPr lang="en-GB" sz="1400">
                <a:solidFill>
                  <a:srgbClr val="FF0000"/>
                </a:solidFill>
              </a:rPr>
              <a:t>	Screen	Placebo	Randomized, Double-Blind Treatment 	Follow</a:t>
            </a:r>
          </a:p>
          <a:p>
            <a:pPr algn="l" eaLnBrk="1" hangingPunct="1">
              <a:spcBef>
                <a:spcPct val="5000"/>
              </a:spcBef>
              <a:buFontTx/>
              <a:buNone/>
            </a:pPr>
            <a:r>
              <a:rPr lang="en-GB" sz="1400">
                <a:solidFill>
                  <a:srgbClr val="FF0000"/>
                </a:solidFill>
              </a:rPr>
              <a:t>		Run-in		Up</a:t>
            </a:r>
          </a:p>
        </p:txBody>
      </p:sp>
      <p:sp>
        <p:nvSpPr>
          <p:cNvPr id="238606" name="Line 24"/>
          <p:cNvSpPr>
            <a:spLocks noChangeShapeType="1"/>
          </p:cNvSpPr>
          <p:nvPr/>
        </p:nvSpPr>
        <p:spPr bwMode="auto">
          <a:xfrm flipV="1">
            <a:off x="1125538" y="5302250"/>
            <a:ext cx="7291387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607" name="Line 25"/>
          <p:cNvSpPr>
            <a:spLocks noChangeShapeType="1"/>
          </p:cNvSpPr>
          <p:nvPr/>
        </p:nvSpPr>
        <p:spPr bwMode="auto">
          <a:xfrm flipV="1">
            <a:off x="1547813" y="5276850"/>
            <a:ext cx="0" cy="2159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608" name="Text Box 26"/>
          <p:cNvSpPr txBox="1">
            <a:spLocks noChangeArrowheads="1"/>
          </p:cNvSpPr>
          <p:nvPr/>
        </p:nvSpPr>
        <p:spPr bwMode="auto">
          <a:xfrm>
            <a:off x="654050" y="5518150"/>
            <a:ext cx="7945438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tabLst>
                <a:tab pos="365125" algn="ctr"/>
                <a:tab pos="801688" algn="ctr"/>
                <a:tab pos="1701800" algn="ctr"/>
                <a:tab pos="2236788" algn="ctr"/>
                <a:tab pos="2786063" algn="ctr"/>
                <a:tab pos="3671888" algn="ctr"/>
                <a:tab pos="4572000" algn="ctr"/>
                <a:tab pos="5556250" algn="ctr"/>
                <a:tab pos="7089775" algn="ctr"/>
                <a:tab pos="7624763" algn="ctr"/>
              </a:tabLst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tabLst>
                <a:tab pos="365125" algn="ctr"/>
                <a:tab pos="801688" algn="ctr"/>
                <a:tab pos="1701800" algn="ctr"/>
                <a:tab pos="2236788" algn="ctr"/>
                <a:tab pos="2786063" algn="ctr"/>
                <a:tab pos="3671888" algn="ctr"/>
                <a:tab pos="4572000" algn="ctr"/>
                <a:tab pos="5556250" algn="ctr"/>
                <a:tab pos="7089775" algn="ctr"/>
                <a:tab pos="7624763" algn="ctr"/>
              </a:tabLst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tabLst>
                <a:tab pos="365125" algn="ctr"/>
                <a:tab pos="801688" algn="ctr"/>
                <a:tab pos="1701800" algn="ctr"/>
                <a:tab pos="2236788" algn="ctr"/>
                <a:tab pos="2786063" algn="ctr"/>
                <a:tab pos="3671888" algn="ctr"/>
                <a:tab pos="4572000" algn="ctr"/>
                <a:tab pos="5556250" algn="ctr"/>
                <a:tab pos="7089775" algn="ctr"/>
                <a:tab pos="7624763" algn="ctr"/>
              </a:tabLst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tabLst>
                <a:tab pos="365125" algn="ctr"/>
                <a:tab pos="801688" algn="ctr"/>
                <a:tab pos="1701800" algn="ctr"/>
                <a:tab pos="2236788" algn="ctr"/>
                <a:tab pos="2786063" algn="ctr"/>
                <a:tab pos="3671888" algn="ctr"/>
                <a:tab pos="4572000" algn="ctr"/>
                <a:tab pos="5556250" algn="ctr"/>
                <a:tab pos="7089775" algn="ctr"/>
                <a:tab pos="7624763" algn="ctr"/>
              </a:tabLst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tabLst>
                <a:tab pos="365125" algn="ctr"/>
                <a:tab pos="801688" algn="ctr"/>
                <a:tab pos="1701800" algn="ctr"/>
                <a:tab pos="2236788" algn="ctr"/>
                <a:tab pos="2786063" algn="ctr"/>
                <a:tab pos="3671888" algn="ctr"/>
                <a:tab pos="4572000" algn="ctr"/>
                <a:tab pos="5556250" algn="ctr"/>
                <a:tab pos="7089775" algn="ctr"/>
                <a:tab pos="7624763" algn="ctr"/>
              </a:tabLst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365125" algn="ctr"/>
                <a:tab pos="801688" algn="ctr"/>
                <a:tab pos="1701800" algn="ctr"/>
                <a:tab pos="2236788" algn="ctr"/>
                <a:tab pos="2786063" algn="ctr"/>
                <a:tab pos="3671888" algn="ctr"/>
                <a:tab pos="4572000" algn="ctr"/>
                <a:tab pos="5556250" algn="ctr"/>
                <a:tab pos="7089775" algn="ctr"/>
                <a:tab pos="7624763" algn="ctr"/>
              </a:tabLst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365125" algn="ctr"/>
                <a:tab pos="801688" algn="ctr"/>
                <a:tab pos="1701800" algn="ctr"/>
                <a:tab pos="2236788" algn="ctr"/>
                <a:tab pos="2786063" algn="ctr"/>
                <a:tab pos="3671888" algn="ctr"/>
                <a:tab pos="4572000" algn="ctr"/>
                <a:tab pos="5556250" algn="ctr"/>
                <a:tab pos="7089775" algn="ctr"/>
                <a:tab pos="7624763" algn="ctr"/>
              </a:tabLst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365125" algn="ctr"/>
                <a:tab pos="801688" algn="ctr"/>
                <a:tab pos="1701800" algn="ctr"/>
                <a:tab pos="2236788" algn="ctr"/>
                <a:tab pos="2786063" algn="ctr"/>
                <a:tab pos="3671888" algn="ctr"/>
                <a:tab pos="4572000" algn="ctr"/>
                <a:tab pos="5556250" algn="ctr"/>
                <a:tab pos="7089775" algn="ctr"/>
                <a:tab pos="7624763" algn="ctr"/>
              </a:tabLst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365125" algn="ctr"/>
                <a:tab pos="801688" algn="ctr"/>
                <a:tab pos="1701800" algn="ctr"/>
                <a:tab pos="2236788" algn="ctr"/>
                <a:tab pos="2786063" algn="ctr"/>
                <a:tab pos="3671888" algn="ctr"/>
                <a:tab pos="4572000" algn="ctr"/>
                <a:tab pos="5556250" algn="ctr"/>
                <a:tab pos="7089775" algn="ctr"/>
                <a:tab pos="7624763" algn="ctr"/>
              </a:tabLst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50000"/>
              </a:spcBef>
              <a:buFontTx/>
              <a:buNone/>
            </a:pPr>
            <a:r>
              <a:rPr lang="en-GB" sz="1400">
                <a:solidFill>
                  <a:srgbClr val="000000"/>
                </a:solidFill>
              </a:rPr>
              <a:t>	-2	-4	0	2	4	8	12	16      	24	26</a:t>
            </a:r>
          </a:p>
        </p:txBody>
      </p:sp>
      <p:sp>
        <p:nvSpPr>
          <p:cNvPr id="238609" name="Line 30"/>
          <p:cNvSpPr>
            <a:spLocks noChangeShapeType="1"/>
          </p:cNvSpPr>
          <p:nvPr/>
        </p:nvSpPr>
        <p:spPr bwMode="auto">
          <a:xfrm>
            <a:off x="1141413" y="2085975"/>
            <a:ext cx="7246937" cy="22225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610" name="Line 31"/>
          <p:cNvSpPr>
            <a:spLocks noChangeShapeType="1"/>
          </p:cNvSpPr>
          <p:nvPr/>
        </p:nvSpPr>
        <p:spPr bwMode="auto">
          <a:xfrm flipV="1">
            <a:off x="1125538" y="1935163"/>
            <a:ext cx="0" cy="150812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611" name="Line 32"/>
          <p:cNvSpPr>
            <a:spLocks noChangeShapeType="1"/>
          </p:cNvSpPr>
          <p:nvPr/>
        </p:nvSpPr>
        <p:spPr bwMode="auto">
          <a:xfrm flipV="1">
            <a:off x="1547813" y="1965325"/>
            <a:ext cx="0" cy="150813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612" name="Line 33"/>
          <p:cNvSpPr>
            <a:spLocks noChangeShapeType="1"/>
          </p:cNvSpPr>
          <p:nvPr/>
        </p:nvSpPr>
        <p:spPr bwMode="auto">
          <a:xfrm flipV="1">
            <a:off x="2403475" y="1949450"/>
            <a:ext cx="0" cy="150813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613" name="Line 34"/>
          <p:cNvSpPr>
            <a:spLocks noChangeShapeType="1"/>
          </p:cNvSpPr>
          <p:nvPr/>
        </p:nvSpPr>
        <p:spPr bwMode="auto">
          <a:xfrm flipV="1">
            <a:off x="7740650" y="1949450"/>
            <a:ext cx="0" cy="150813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614" name="Line 35"/>
          <p:cNvSpPr>
            <a:spLocks noChangeShapeType="1"/>
          </p:cNvSpPr>
          <p:nvPr/>
        </p:nvSpPr>
        <p:spPr bwMode="auto">
          <a:xfrm flipV="1">
            <a:off x="8388350" y="1965325"/>
            <a:ext cx="0" cy="150813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615" name="Line 36"/>
          <p:cNvSpPr>
            <a:spLocks noChangeShapeType="1"/>
          </p:cNvSpPr>
          <p:nvPr/>
        </p:nvSpPr>
        <p:spPr bwMode="auto">
          <a:xfrm flipV="1">
            <a:off x="1125538" y="5302250"/>
            <a:ext cx="0" cy="2159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616" name="Line 37"/>
          <p:cNvSpPr>
            <a:spLocks noChangeShapeType="1"/>
          </p:cNvSpPr>
          <p:nvPr/>
        </p:nvSpPr>
        <p:spPr bwMode="auto">
          <a:xfrm flipV="1">
            <a:off x="2413000" y="5302250"/>
            <a:ext cx="0" cy="2159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617" name="Line 38"/>
          <p:cNvSpPr>
            <a:spLocks noChangeShapeType="1"/>
          </p:cNvSpPr>
          <p:nvPr/>
        </p:nvSpPr>
        <p:spPr bwMode="auto">
          <a:xfrm flipV="1">
            <a:off x="2970213" y="5302250"/>
            <a:ext cx="0" cy="2159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618" name="Line 39"/>
          <p:cNvSpPr>
            <a:spLocks noChangeShapeType="1"/>
          </p:cNvSpPr>
          <p:nvPr/>
        </p:nvSpPr>
        <p:spPr bwMode="auto">
          <a:xfrm flipV="1">
            <a:off x="6300788" y="5302250"/>
            <a:ext cx="0" cy="2159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619" name="Line 40"/>
          <p:cNvSpPr>
            <a:spLocks noChangeShapeType="1"/>
          </p:cNvSpPr>
          <p:nvPr/>
        </p:nvSpPr>
        <p:spPr bwMode="auto">
          <a:xfrm flipV="1">
            <a:off x="5322888" y="5302250"/>
            <a:ext cx="0" cy="2159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620" name="Line 41"/>
          <p:cNvSpPr>
            <a:spLocks noChangeShapeType="1"/>
          </p:cNvSpPr>
          <p:nvPr/>
        </p:nvSpPr>
        <p:spPr bwMode="auto">
          <a:xfrm flipV="1">
            <a:off x="4429125" y="5302250"/>
            <a:ext cx="0" cy="2159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621" name="Line 42"/>
          <p:cNvSpPr>
            <a:spLocks noChangeShapeType="1"/>
          </p:cNvSpPr>
          <p:nvPr/>
        </p:nvSpPr>
        <p:spPr bwMode="auto">
          <a:xfrm flipV="1">
            <a:off x="3492500" y="5302250"/>
            <a:ext cx="0" cy="2159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622" name="Line 43"/>
          <p:cNvSpPr>
            <a:spLocks noChangeShapeType="1"/>
          </p:cNvSpPr>
          <p:nvPr/>
        </p:nvSpPr>
        <p:spPr bwMode="auto">
          <a:xfrm flipV="1">
            <a:off x="7740650" y="5276850"/>
            <a:ext cx="0" cy="2159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623" name="Line 44"/>
          <p:cNvSpPr>
            <a:spLocks noChangeShapeType="1"/>
          </p:cNvSpPr>
          <p:nvPr/>
        </p:nvSpPr>
        <p:spPr bwMode="auto">
          <a:xfrm flipV="1">
            <a:off x="8407400" y="5302250"/>
            <a:ext cx="0" cy="2159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624" name="Line 10"/>
          <p:cNvSpPr>
            <a:spLocks noChangeShapeType="1"/>
          </p:cNvSpPr>
          <p:nvPr/>
        </p:nvSpPr>
        <p:spPr bwMode="auto">
          <a:xfrm flipV="1">
            <a:off x="2411413" y="2828925"/>
            <a:ext cx="0" cy="1944688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625" name="Line 14"/>
          <p:cNvSpPr>
            <a:spLocks noChangeShapeType="1"/>
          </p:cNvSpPr>
          <p:nvPr/>
        </p:nvSpPr>
        <p:spPr bwMode="auto">
          <a:xfrm flipH="1">
            <a:off x="7740650" y="2108200"/>
            <a:ext cx="0" cy="3168650"/>
          </a:xfrm>
          <a:prstGeom prst="line">
            <a:avLst/>
          </a:prstGeom>
          <a:noFill/>
          <a:ln w="25400">
            <a:solidFill>
              <a:srgbClr val="00B050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7" name="TextBox 76"/>
          <p:cNvSpPr txBox="1">
            <a:spLocks noChangeArrowheads="1"/>
          </p:cNvSpPr>
          <p:nvPr/>
        </p:nvSpPr>
        <p:spPr bwMode="auto">
          <a:xfrm>
            <a:off x="3492500" y="3789363"/>
            <a:ext cx="323850" cy="52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buFontTx/>
              <a:buNone/>
            </a:pPr>
            <a:r>
              <a:rPr lang="en-GB">
                <a:solidFill>
                  <a:srgbClr val="FF0000"/>
                </a:solidFill>
              </a:rPr>
              <a:t>*</a:t>
            </a:r>
          </a:p>
        </p:txBody>
      </p:sp>
      <p:sp>
        <p:nvSpPr>
          <p:cNvPr id="78" name="TextBox 77"/>
          <p:cNvSpPr txBox="1">
            <a:spLocks noChangeArrowheads="1"/>
          </p:cNvSpPr>
          <p:nvPr/>
        </p:nvSpPr>
        <p:spPr bwMode="auto">
          <a:xfrm>
            <a:off x="5364163" y="3068638"/>
            <a:ext cx="360362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buFontTx/>
              <a:buNone/>
            </a:pPr>
            <a:r>
              <a:rPr lang="en-GB">
                <a:solidFill>
                  <a:srgbClr val="FF0000"/>
                </a:solidFill>
              </a:rPr>
              <a:t>*</a:t>
            </a:r>
          </a:p>
        </p:txBody>
      </p:sp>
      <p:sp>
        <p:nvSpPr>
          <p:cNvPr id="79" name="Line 14"/>
          <p:cNvSpPr>
            <a:spLocks noChangeShapeType="1"/>
          </p:cNvSpPr>
          <p:nvPr/>
        </p:nvSpPr>
        <p:spPr bwMode="auto">
          <a:xfrm flipH="1">
            <a:off x="3492500" y="3549650"/>
            <a:ext cx="0" cy="574675"/>
          </a:xfrm>
          <a:prstGeom prst="line">
            <a:avLst/>
          </a:prstGeom>
          <a:noFill/>
          <a:ln w="38100">
            <a:solidFill>
              <a:srgbClr val="FF0000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629" name="Text Box 20"/>
          <p:cNvSpPr txBox="1">
            <a:spLocks noChangeArrowheads="1"/>
          </p:cNvSpPr>
          <p:nvPr/>
        </p:nvSpPr>
        <p:spPr bwMode="auto">
          <a:xfrm>
            <a:off x="2411413" y="2324100"/>
            <a:ext cx="1081087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GB" sz="1800" b="1">
                <a:solidFill>
                  <a:srgbClr val="1F497D"/>
                </a:solidFill>
              </a:rPr>
              <a:t>Dose 3</a:t>
            </a:r>
          </a:p>
        </p:txBody>
      </p:sp>
      <p:sp>
        <p:nvSpPr>
          <p:cNvPr id="238630" name="Text Box 20"/>
          <p:cNvSpPr txBox="1">
            <a:spLocks noChangeArrowheads="1"/>
          </p:cNvSpPr>
          <p:nvPr/>
        </p:nvSpPr>
        <p:spPr bwMode="auto">
          <a:xfrm>
            <a:off x="2411413" y="2900363"/>
            <a:ext cx="1081087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GB" sz="1800" b="1">
                <a:solidFill>
                  <a:srgbClr val="1F497D"/>
                </a:solidFill>
              </a:rPr>
              <a:t>Dose 2</a:t>
            </a:r>
          </a:p>
        </p:txBody>
      </p:sp>
      <p:sp>
        <p:nvSpPr>
          <p:cNvPr id="82" name="TextBox 81"/>
          <p:cNvSpPr txBox="1">
            <a:spLocks noChangeArrowheads="1"/>
          </p:cNvSpPr>
          <p:nvPr/>
        </p:nvSpPr>
        <p:spPr bwMode="auto">
          <a:xfrm>
            <a:off x="2771775" y="4868863"/>
            <a:ext cx="5145088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buFontTx/>
              <a:buNone/>
            </a:pPr>
            <a:r>
              <a:rPr lang="en-GB" sz="1800">
                <a:solidFill>
                  <a:srgbClr val="FF0000"/>
                </a:solidFill>
              </a:rPr>
              <a:t> </a:t>
            </a:r>
            <a:r>
              <a:rPr lang="en-GB" sz="1400">
                <a:solidFill>
                  <a:srgbClr val="FF0000"/>
                </a:solidFill>
              </a:rPr>
              <a:t>Interim analyses – consider dose escalation</a:t>
            </a:r>
          </a:p>
        </p:txBody>
      </p:sp>
      <p:sp>
        <p:nvSpPr>
          <p:cNvPr id="83" name="Line 14"/>
          <p:cNvSpPr>
            <a:spLocks noChangeShapeType="1"/>
          </p:cNvSpPr>
          <p:nvPr/>
        </p:nvSpPr>
        <p:spPr bwMode="auto">
          <a:xfrm>
            <a:off x="5364163" y="3044825"/>
            <a:ext cx="0" cy="360363"/>
          </a:xfrm>
          <a:prstGeom prst="line">
            <a:avLst/>
          </a:prstGeom>
          <a:noFill/>
          <a:ln w="38100">
            <a:solidFill>
              <a:schemeClr val="bg2">
                <a:lumMod val="60000"/>
                <a:lumOff val="40000"/>
              </a:scheme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GB" dirty="0">
              <a:ea typeface="ＭＳ Ｐゴシック" charset="0"/>
              <a:cs typeface="ＭＳ Ｐゴシック" charset="0"/>
            </a:endParaRPr>
          </a:p>
        </p:txBody>
      </p:sp>
      <p:sp>
        <p:nvSpPr>
          <p:cNvPr id="84" name="Line 14"/>
          <p:cNvSpPr>
            <a:spLocks noChangeShapeType="1"/>
          </p:cNvSpPr>
          <p:nvPr/>
        </p:nvSpPr>
        <p:spPr bwMode="auto">
          <a:xfrm flipH="1">
            <a:off x="3492500" y="2924175"/>
            <a:ext cx="0" cy="481013"/>
          </a:xfrm>
          <a:prstGeom prst="line">
            <a:avLst/>
          </a:prstGeom>
          <a:noFill/>
          <a:ln w="38100">
            <a:solidFill>
              <a:schemeClr val="bg2">
                <a:lumMod val="60000"/>
                <a:lumOff val="40000"/>
              </a:scheme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GB" dirty="0">
              <a:ea typeface="ＭＳ Ｐゴシック" charset="0"/>
              <a:cs typeface="ＭＳ Ｐゴシック" charset="0"/>
            </a:endParaRPr>
          </a:p>
        </p:txBody>
      </p:sp>
      <p:sp>
        <p:nvSpPr>
          <p:cNvPr id="85" name="Line 14"/>
          <p:cNvSpPr>
            <a:spLocks noChangeShapeType="1"/>
          </p:cNvSpPr>
          <p:nvPr/>
        </p:nvSpPr>
        <p:spPr bwMode="auto">
          <a:xfrm flipH="1" flipV="1">
            <a:off x="3492500" y="3548063"/>
            <a:ext cx="4824413" cy="0"/>
          </a:xfrm>
          <a:prstGeom prst="line">
            <a:avLst/>
          </a:prstGeom>
          <a:noFill/>
          <a:ln w="38100">
            <a:solidFill>
              <a:srgbClr val="FF0000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6" name="Line 14"/>
          <p:cNvSpPr>
            <a:spLocks noChangeShapeType="1"/>
          </p:cNvSpPr>
          <p:nvPr/>
        </p:nvSpPr>
        <p:spPr bwMode="auto">
          <a:xfrm flipH="1" flipV="1">
            <a:off x="3492500" y="2924175"/>
            <a:ext cx="4895850" cy="0"/>
          </a:xfrm>
          <a:prstGeom prst="line">
            <a:avLst/>
          </a:prstGeom>
          <a:noFill/>
          <a:ln w="38100">
            <a:solidFill>
              <a:schemeClr val="bg2">
                <a:lumMod val="60000"/>
                <a:lumOff val="40000"/>
              </a:scheme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GB" dirty="0">
              <a:ea typeface="ＭＳ Ｐゴシック" charset="0"/>
              <a:cs typeface="ＭＳ Ｐゴシック" charset="0"/>
            </a:endParaRPr>
          </a:p>
        </p:txBody>
      </p:sp>
      <p:sp>
        <p:nvSpPr>
          <p:cNvPr id="87" name="Line 14"/>
          <p:cNvSpPr>
            <a:spLocks noChangeShapeType="1"/>
          </p:cNvSpPr>
          <p:nvPr/>
        </p:nvSpPr>
        <p:spPr bwMode="auto">
          <a:xfrm flipH="1" flipV="1">
            <a:off x="5364163" y="3044825"/>
            <a:ext cx="3024187" cy="0"/>
          </a:xfrm>
          <a:prstGeom prst="line">
            <a:avLst/>
          </a:prstGeom>
          <a:noFill/>
          <a:ln w="38100">
            <a:solidFill>
              <a:schemeClr val="bg2">
                <a:lumMod val="60000"/>
                <a:lumOff val="40000"/>
              </a:scheme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GB" dirty="0">
              <a:ea typeface="ＭＳ Ｐゴシック" charset="0"/>
              <a:cs typeface="ＭＳ Ｐゴシック" charset="0"/>
            </a:endParaRPr>
          </a:p>
        </p:txBody>
      </p:sp>
      <p:sp>
        <p:nvSpPr>
          <p:cNvPr id="238637" name="Line 14"/>
          <p:cNvSpPr>
            <a:spLocks noChangeShapeType="1"/>
          </p:cNvSpPr>
          <p:nvPr/>
        </p:nvSpPr>
        <p:spPr bwMode="auto">
          <a:xfrm flipH="1">
            <a:off x="2411413" y="2133600"/>
            <a:ext cx="0" cy="3167063"/>
          </a:xfrm>
          <a:prstGeom prst="line">
            <a:avLst/>
          </a:prstGeom>
          <a:noFill/>
          <a:ln w="25400">
            <a:solidFill>
              <a:srgbClr val="00B050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638" name="Line 14"/>
          <p:cNvSpPr>
            <a:spLocks noChangeShapeType="1"/>
          </p:cNvSpPr>
          <p:nvPr/>
        </p:nvSpPr>
        <p:spPr bwMode="auto">
          <a:xfrm flipH="1">
            <a:off x="1547813" y="2108200"/>
            <a:ext cx="0" cy="3168650"/>
          </a:xfrm>
          <a:prstGeom prst="line">
            <a:avLst/>
          </a:prstGeom>
          <a:noFill/>
          <a:ln w="25400">
            <a:solidFill>
              <a:srgbClr val="00B050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238639" name="Group 36"/>
          <p:cNvGrpSpPr>
            <a:grpSpLocks/>
          </p:cNvGrpSpPr>
          <p:nvPr/>
        </p:nvGrpSpPr>
        <p:grpSpPr bwMode="auto">
          <a:xfrm>
            <a:off x="7715250" y="319088"/>
            <a:ext cx="1298575" cy="681037"/>
            <a:chOff x="7500938" y="285728"/>
            <a:chExt cx="1298575" cy="681060"/>
          </a:xfrm>
        </p:grpSpPr>
        <p:pic>
          <p:nvPicPr>
            <p:cNvPr id="238641" name="Picture 64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2396" y="285728"/>
              <a:ext cx="1071590" cy="2823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8642" name="Picture 63" descr="C:\Documents and Settings\KMosley\Local Settings\Temporary Internet Files\Content.IE5\8F8TCVUH\SJMC[1].gif"/>
            <p:cNvPicPr>
              <a:picLocks noChangeAspect="1" noChangeArrowheads="1"/>
            </p:cNvPicPr>
            <p:nvPr/>
          </p:nvPicPr>
          <p:blipFill>
            <a:blip r:embed="rId3" r:link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0938" y="668338"/>
              <a:ext cx="1298575" cy="298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5" name="TextBox 54"/>
          <p:cNvSpPr txBox="1">
            <a:spLocks noChangeArrowheads="1"/>
          </p:cNvSpPr>
          <p:nvPr/>
        </p:nvSpPr>
        <p:spPr bwMode="auto">
          <a:xfrm flipV="1">
            <a:off x="3276600" y="4724400"/>
            <a:ext cx="331788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buFontTx/>
              <a:buNone/>
            </a:pPr>
            <a:r>
              <a:rPr lang="en-GB">
                <a:solidFill>
                  <a:srgbClr val="FF0000"/>
                </a:solidFill>
              </a:rPr>
              <a:t>*</a:t>
            </a:r>
          </a:p>
        </p:txBody>
      </p:sp>
    </p:spTree>
  </p:cSld>
  <p:clrMapOvr>
    <a:masterClrMapping/>
  </p:clrMapOvr>
  <p:transition spd="slow">
    <p:pull dir="l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7" grpId="0"/>
      <p:bldP spid="78" grpId="0"/>
      <p:bldP spid="79" grpId="0" animBg="1"/>
      <p:bldP spid="82" grpId="0"/>
      <p:bldP spid="85" grpId="0" animBg="1"/>
      <p:bldP spid="5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MasterPhAnim="0">
  <p:cSld>
    <p:bg>
      <p:bgPr>
        <a:gradFill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178" name="Rectangle 3"/>
          <p:cNvSpPr>
            <a:spLocks noGrp="1" noChangeArrowheads="1"/>
          </p:cNvSpPr>
          <p:nvPr>
            <p:ph type="body" sz="half" idx="1"/>
          </p:nvPr>
        </p:nvSpPr>
        <p:spPr bwMode="auto">
          <a:xfrm>
            <a:off x="0" y="0"/>
            <a:ext cx="9144000" cy="6858000"/>
          </a:xfrm>
          <a:solidFill>
            <a:schemeClr val="bg1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indent="0" eaLnBrk="1" hangingPunct="1">
              <a:buFont typeface="Wingdings" pitchFamily="2" charset="2"/>
              <a:buNone/>
            </a:pPr>
            <a:r>
              <a:rPr lang="en-GB" sz="1500" smtClean="0">
                <a:ea typeface="ＭＳ Ｐゴシック" pitchFamily="34" charset="-128"/>
                <a:cs typeface="ＭＳ Ｐゴシック" pitchFamily="34" charset="-128"/>
              </a:rPr>
              <a:t>			</a:t>
            </a:r>
          </a:p>
        </p:txBody>
      </p:sp>
      <p:grpSp>
        <p:nvGrpSpPr>
          <p:cNvPr id="178179" name="Group 4"/>
          <p:cNvGrpSpPr>
            <a:grpSpLocks/>
          </p:cNvGrpSpPr>
          <p:nvPr/>
        </p:nvGrpSpPr>
        <p:grpSpPr bwMode="auto">
          <a:xfrm>
            <a:off x="4932363" y="2060575"/>
            <a:ext cx="3744912" cy="3671888"/>
            <a:chOff x="3600" y="1632"/>
            <a:chExt cx="2400" cy="2352"/>
          </a:xfrm>
        </p:grpSpPr>
        <p:graphicFrame>
          <p:nvGraphicFramePr>
            <p:cNvPr id="178186" name="Object 5"/>
            <p:cNvGraphicFramePr>
              <a:graphicFrameLocks noChangeAspect="1"/>
            </p:cNvGraphicFramePr>
            <p:nvPr/>
          </p:nvGraphicFramePr>
          <p:xfrm>
            <a:off x="3696" y="2592"/>
            <a:ext cx="488" cy="52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78198" name="Clip" r:id="rId3" imgW="716890" imgH="892454" progId="">
                    <p:embed/>
                  </p:oleObj>
                </mc:Choice>
                <mc:Fallback>
                  <p:oleObj name="Clip" r:id="rId3" imgW="716890" imgH="892454" progId="">
                    <p:embed/>
                    <p:pic>
                      <p:nvPicPr>
                        <p:cNvPr id="0" name="Object 5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696" y="2592"/>
                          <a:ext cx="488" cy="528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>
                                    <a:alpha val="74997"/>
                                  </a:schemeClr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78187" name="Object 6"/>
            <p:cNvGraphicFramePr>
              <a:graphicFrameLocks noChangeAspect="1"/>
            </p:cNvGraphicFramePr>
            <p:nvPr/>
          </p:nvGraphicFramePr>
          <p:xfrm>
            <a:off x="4464" y="1680"/>
            <a:ext cx="550" cy="57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78199" name="Clip" r:id="rId5" imgW="671170" imgH="703174" progId="">
                    <p:embed/>
                  </p:oleObj>
                </mc:Choice>
                <mc:Fallback>
                  <p:oleObj name="Clip" r:id="rId5" imgW="671170" imgH="703174" progId="">
                    <p:embed/>
                    <p:pic>
                      <p:nvPicPr>
                        <p:cNvPr id="0" name="Object 6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464" y="1680"/>
                          <a:ext cx="550" cy="576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>
                                    <a:alpha val="74997"/>
                                  </a:schemeClr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78188" name="Object 7"/>
            <p:cNvGraphicFramePr>
              <a:graphicFrameLocks noChangeAspect="1"/>
            </p:cNvGraphicFramePr>
            <p:nvPr/>
          </p:nvGraphicFramePr>
          <p:xfrm>
            <a:off x="3936" y="1968"/>
            <a:ext cx="624" cy="57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78200" name="Clip" r:id="rId7" imgW="1920240" imgH="1769364" progId="">
                    <p:embed/>
                  </p:oleObj>
                </mc:Choice>
                <mc:Fallback>
                  <p:oleObj name="Clip" r:id="rId7" imgW="1920240" imgH="1769364" progId="">
                    <p:embed/>
                    <p:pic>
                      <p:nvPicPr>
                        <p:cNvPr id="0" name="Object 7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936" y="1968"/>
                          <a:ext cx="624" cy="576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>
                                    <a:alpha val="74997"/>
                                  </a:schemeClr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78189" name="Object 8"/>
            <p:cNvGraphicFramePr>
              <a:graphicFrameLocks noChangeAspect="1"/>
            </p:cNvGraphicFramePr>
            <p:nvPr/>
          </p:nvGraphicFramePr>
          <p:xfrm>
            <a:off x="5088" y="1920"/>
            <a:ext cx="453" cy="62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78201" name="Clip" r:id="rId9" imgW="654710" imgH="1167689" progId="">
                    <p:embed/>
                  </p:oleObj>
                </mc:Choice>
                <mc:Fallback>
                  <p:oleObj name="Clip" r:id="rId9" imgW="654710" imgH="1167689" progId="">
                    <p:embed/>
                    <p:pic>
                      <p:nvPicPr>
                        <p:cNvPr id="0" name="Object 8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0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5088" y="1920"/>
                          <a:ext cx="453" cy="624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>
                                    <a:alpha val="74997"/>
                                  </a:schemeClr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78190" name="Object 9"/>
            <p:cNvGraphicFramePr>
              <a:graphicFrameLocks noChangeAspect="1"/>
            </p:cNvGraphicFramePr>
            <p:nvPr/>
          </p:nvGraphicFramePr>
          <p:xfrm>
            <a:off x="5424" y="2544"/>
            <a:ext cx="509" cy="57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78202" name="Clip" r:id="rId11" imgW="1725473" imgH="2440534" progId="">
                    <p:embed/>
                  </p:oleObj>
                </mc:Choice>
                <mc:Fallback>
                  <p:oleObj name="Clip" r:id="rId11" imgW="1725473" imgH="2440534" progId="">
                    <p:embed/>
                    <p:pic>
                      <p:nvPicPr>
                        <p:cNvPr id="0" name="Object 9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2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5424" y="2544"/>
                          <a:ext cx="509" cy="576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>
                                    <a:alpha val="74997"/>
                                  </a:schemeClr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78191" name="Object 10"/>
            <p:cNvGraphicFramePr>
              <a:graphicFrameLocks noChangeAspect="1"/>
            </p:cNvGraphicFramePr>
            <p:nvPr/>
          </p:nvGraphicFramePr>
          <p:xfrm>
            <a:off x="3936" y="3216"/>
            <a:ext cx="576" cy="5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78203" name="Clip" r:id="rId13" imgW="1451153" imgH="1259129" progId="">
                    <p:embed/>
                  </p:oleObj>
                </mc:Choice>
                <mc:Fallback>
                  <p:oleObj name="Clip" r:id="rId13" imgW="1451153" imgH="1259129" progId="">
                    <p:embed/>
                    <p:pic>
                      <p:nvPicPr>
                        <p:cNvPr id="0" name="Object 10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936" y="3216"/>
                          <a:ext cx="576" cy="50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>
                                    <a:alpha val="74997"/>
                                  </a:schemeClr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78192" name="Object 11"/>
            <p:cNvGraphicFramePr>
              <a:graphicFrameLocks noChangeAspect="1"/>
            </p:cNvGraphicFramePr>
            <p:nvPr/>
          </p:nvGraphicFramePr>
          <p:xfrm>
            <a:off x="5040" y="3216"/>
            <a:ext cx="624" cy="49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78204" name="Clip" r:id="rId15" imgW="1451153" imgH="1255471" progId="">
                    <p:embed/>
                  </p:oleObj>
                </mc:Choice>
                <mc:Fallback>
                  <p:oleObj name="Clip" r:id="rId15" imgW="1451153" imgH="1255471" progId="">
                    <p:embed/>
                    <p:pic>
                      <p:nvPicPr>
                        <p:cNvPr id="0" name="Object 11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5040" y="3216"/>
                          <a:ext cx="624" cy="491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>
                                    <a:alpha val="74997"/>
                                  </a:schemeClr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78193" name="Object 12"/>
            <p:cNvGraphicFramePr>
              <a:graphicFrameLocks noChangeAspect="1"/>
            </p:cNvGraphicFramePr>
            <p:nvPr/>
          </p:nvGraphicFramePr>
          <p:xfrm>
            <a:off x="4512" y="3264"/>
            <a:ext cx="470" cy="67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78205" name="Clip" r:id="rId17" imgW="729691" imgH="1041502" progId="">
                    <p:embed/>
                  </p:oleObj>
                </mc:Choice>
                <mc:Fallback>
                  <p:oleObj name="Clip" r:id="rId17" imgW="729691" imgH="1041502" progId="">
                    <p:embed/>
                    <p:pic>
                      <p:nvPicPr>
                        <p:cNvPr id="0" name="Object 12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512" y="3264"/>
                          <a:ext cx="470" cy="672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>
                                    <a:alpha val="74997"/>
                                  </a:schemeClr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78194" name="Oval 13"/>
            <p:cNvSpPr>
              <a:spLocks noChangeArrowheads="1"/>
            </p:cNvSpPr>
            <p:nvPr/>
          </p:nvSpPr>
          <p:spPr bwMode="auto">
            <a:xfrm>
              <a:off x="3600" y="1632"/>
              <a:ext cx="2400" cy="2352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en-GB"/>
            </a:p>
          </p:txBody>
        </p:sp>
        <p:grpSp>
          <p:nvGrpSpPr>
            <p:cNvPr id="178195" name="Group 14"/>
            <p:cNvGrpSpPr>
              <a:grpSpLocks/>
            </p:cNvGrpSpPr>
            <p:nvPr/>
          </p:nvGrpSpPr>
          <p:grpSpPr bwMode="auto">
            <a:xfrm>
              <a:off x="4464" y="2592"/>
              <a:ext cx="768" cy="672"/>
              <a:chOff x="816" y="1872"/>
              <a:chExt cx="1728" cy="1776"/>
            </a:xfrm>
          </p:grpSpPr>
          <p:graphicFrame>
            <p:nvGraphicFramePr>
              <p:cNvPr id="178196" name="Object 15"/>
              <p:cNvGraphicFramePr>
                <a:graphicFrameLocks noChangeAspect="1"/>
              </p:cNvGraphicFramePr>
              <p:nvPr/>
            </p:nvGraphicFramePr>
            <p:xfrm>
              <a:off x="960" y="2016"/>
              <a:ext cx="1381" cy="1632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178206" name="Clip" r:id="rId19" imgW="3040063" imgH="3405188" progId="">
                      <p:embed/>
                    </p:oleObj>
                  </mc:Choice>
                  <mc:Fallback>
                    <p:oleObj name="Clip" r:id="rId19" imgW="3040063" imgH="3405188" progId="">
                      <p:embed/>
                      <p:pic>
                        <p:nvPicPr>
                          <p:cNvPr id="0" name="Object 15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20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960" y="2016"/>
                            <a:ext cx="1381" cy="1632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chemeClr val="accent1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>
                                      <a:alpha val="74997"/>
                                    </a:schemeClr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178197" name="Object 16"/>
              <p:cNvGraphicFramePr>
                <a:graphicFrameLocks noChangeAspect="1"/>
              </p:cNvGraphicFramePr>
              <p:nvPr/>
            </p:nvGraphicFramePr>
            <p:xfrm>
              <a:off x="816" y="1872"/>
              <a:ext cx="1728" cy="12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178207" name="Clip" r:id="rId21" imgW="5851525" imgH="3519488" progId="">
                      <p:embed/>
                    </p:oleObj>
                  </mc:Choice>
                  <mc:Fallback>
                    <p:oleObj name="Clip" r:id="rId21" imgW="5851525" imgH="3519488" progId="">
                      <p:embed/>
                      <p:pic>
                        <p:nvPicPr>
                          <p:cNvPr id="0" name="Object 16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22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816" y="1872"/>
                            <a:ext cx="1728" cy="1200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chemeClr val="accent1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>
                                      <a:alpha val="74997"/>
                                    </a:schemeClr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</p:grpSp>
      <p:sp>
        <p:nvSpPr>
          <p:cNvPr id="178180" name="Rectangle 17"/>
          <p:cNvSpPr>
            <a:spLocks noChangeArrowheads="1"/>
          </p:cNvSpPr>
          <p:nvPr/>
        </p:nvSpPr>
        <p:spPr bwMode="auto">
          <a:xfrm>
            <a:off x="1152525" y="260350"/>
            <a:ext cx="551815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buFontTx/>
              <a:buNone/>
            </a:pPr>
            <a:r>
              <a:rPr lang="en-GB" b="1">
                <a:solidFill>
                  <a:srgbClr val="FF0000"/>
                </a:solidFill>
              </a:rPr>
              <a:t>The drug development process</a:t>
            </a:r>
          </a:p>
        </p:txBody>
      </p:sp>
      <p:sp>
        <p:nvSpPr>
          <p:cNvPr id="178181" name="Rectangle 18"/>
          <p:cNvSpPr>
            <a:spLocks noChangeArrowheads="1"/>
          </p:cNvSpPr>
          <p:nvPr/>
        </p:nvSpPr>
        <p:spPr bwMode="auto">
          <a:xfrm>
            <a:off x="684213" y="1341438"/>
            <a:ext cx="4535487" cy="511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lvl="1" algn="l"/>
            <a:r>
              <a:rPr lang="en-GB" sz="2400" b="1">
                <a:solidFill>
                  <a:srgbClr val="003366"/>
                </a:solidFill>
              </a:rPr>
              <a:t>12,000 compounds synthesised</a:t>
            </a:r>
          </a:p>
          <a:p>
            <a:pPr lvl="1" algn="l"/>
            <a:endParaRPr lang="en-GB" sz="2400" b="1">
              <a:solidFill>
                <a:srgbClr val="003366"/>
              </a:solidFill>
            </a:endParaRPr>
          </a:p>
          <a:p>
            <a:pPr lvl="1" algn="l"/>
            <a:r>
              <a:rPr lang="en-GB" sz="2400" b="1">
                <a:solidFill>
                  <a:srgbClr val="003366"/>
                </a:solidFill>
              </a:rPr>
              <a:t>80 compounds, fully screened</a:t>
            </a:r>
          </a:p>
          <a:p>
            <a:pPr lvl="1" algn="l"/>
            <a:endParaRPr lang="en-GB" sz="2400" b="1">
              <a:solidFill>
                <a:srgbClr val="003366"/>
              </a:solidFill>
            </a:endParaRPr>
          </a:p>
          <a:p>
            <a:pPr lvl="1" algn="l"/>
            <a:r>
              <a:rPr lang="en-GB" sz="2400" b="1">
                <a:solidFill>
                  <a:srgbClr val="003366"/>
                </a:solidFill>
              </a:rPr>
              <a:t>10 compounds to man</a:t>
            </a:r>
          </a:p>
          <a:p>
            <a:pPr lvl="1" algn="l"/>
            <a:endParaRPr lang="en-GB" sz="2400" b="1">
              <a:solidFill>
                <a:srgbClr val="003366"/>
              </a:solidFill>
            </a:endParaRPr>
          </a:p>
          <a:p>
            <a:pPr lvl="1" algn="l"/>
            <a:r>
              <a:rPr lang="en-GB" sz="2400" b="1">
                <a:solidFill>
                  <a:srgbClr val="003366"/>
                </a:solidFill>
              </a:rPr>
              <a:t>4 compounds to full clinical trials</a:t>
            </a:r>
          </a:p>
          <a:p>
            <a:pPr lvl="1" algn="l"/>
            <a:endParaRPr lang="en-GB" sz="2400" b="1">
              <a:solidFill>
                <a:srgbClr val="003366"/>
              </a:solidFill>
            </a:endParaRPr>
          </a:p>
          <a:p>
            <a:pPr lvl="1" algn="l">
              <a:buFontTx/>
              <a:buNone/>
            </a:pPr>
            <a:r>
              <a:rPr lang="en-GB" sz="2400" b="1">
                <a:solidFill>
                  <a:srgbClr val="FF0000"/>
                </a:solidFill>
              </a:rPr>
              <a:t>1 compounds to market</a:t>
            </a:r>
          </a:p>
        </p:txBody>
      </p:sp>
      <p:cxnSp>
        <p:nvCxnSpPr>
          <p:cNvPr id="178182" name="Straight Connector 19"/>
          <p:cNvCxnSpPr>
            <a:cxnSpLocks noChangeShapeType="1"/>
          </p:cNvCxnSpPr>
          <p:nvPr/>
        </p:nvCxnSpPr>
        <p:spPr bwMode="auto">
          <a:xfrm>
            <a:off x="0" y="1125538"/>
            <a:ext cx="914400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78183" name="Straight Connector 21"/>
          <p:cNvCxnSpPr>
            <a:cxnSpLocks noChangeShapeType="1"/>
          </p:cNvCxnSpPr>
          <p:nvPr/>
        </p:nvCxnSpPr>
        <p:spPr bwMode="auto">
          <a:xfrm>
            <a:off x="0" y="1196975"/>
            <a:ext cx="914400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78184" name="Straight Connector 23"/>
          <p:cNvCxnSpPr>
            <a:cxnSpLocks noChangeShapeType="1"/>
          </p:cNvCxnSpPr>
          <p:nvPr/>
        </p:nvCxnSpPr>
        <p:spPr bwMode="auto">
          <a:xfrm>
            <a:off x="0" y="1125538"/>
            <a:ext cx="91440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78185" name="Picture 64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60350"/>
            <a:ext cx="1690687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617" name="Rectangle 1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FFFF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buFontTx/>
              <a:buNone/>
            </a:pPr>
            <a:endParaRPr lang="en-GB"/>
          </a:p>
        </p:txBody>
      </p:sp>
      <p:sp>
        <p:nvSpPr>
          <p:cNvPr id="239618" name="Rectangle 2" descr="Light upward diagonal"/>
          <p:cNvSpPr>
            <a:spLocks noChangeArrowheads="1"/>
          </p:cNvSpPr>
          <p:nvPr/>
        </p:nvSpPr>
        <p:spPr bwMode="auto">
          <a:xfrm>
            <a:off x="7569200" y="2290763"/>
            <a:ext cx="393700" cy="2889250"/>
          </a:xfrm>
          <a:prstGeom prst="rect">
            <a:avLst/>
          </a:prstGeom>
          <a:pattFill prst="ltUpDiag">
            <a:fgClr>
              <a:schemeClr val="tx1"/>
            </a:fgClr>
            <a:bgClr>
              <a:schemeClr val="bg1"/>
            </a:bgClr>
          </a:patt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buFontTx/>
              <a:buNone/>
            </a:pPr>
            <a:endParaRPr lang="en-GB"/>
          </a:p>
        </p:txBody>
      </p:sp>
      <p:sp>
        <p:nvSpPr>
          <p:cNvPr id="239619" name="Rectangle 3"/>
          <p:cNvSpPr txBox="1">
            <a:spLocks noChangeArrowheads="1"/>
          </p:cNvSpPr>
          <p:nvPr/>
        </p:nvSpPr>
        <p:spPr bwMode="auto">
          <a:xfrm>
            <a:off x="500063" y="357188"/>
            <a:ext cx="71755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US" b="1">
                <a:solidFill>
                  <a:srgbClr val="002060"/>
                </a:solidFill>
              </a:rPr>
              <a:t>Aprepitant Blocks Brain NK</a:t>
            </a:r>
            <a:r>
              <a:rPr lang="en-US" b="1" baseline="-25000">
                <a:solidFill>
                  <a:srgbClr val="002060"/>
                </a:solidFill>
              </a:rPr>
              <a:t>1</a:t>
            </a:r>
            <a:r>
              <a:rPr lang="en-US" b="1">
                <a:solidFill>
                  <a:srgbClr val="002060"/>
                </a:solidFill>
              </a:rPr>
              <a:t> Receptors </a:t>
            </a:r>
          </a:p>
        </p:txBody>
      </p:sp>
      <p:graphicFrame>
        <p:nvGraphicFramePr>
          <p:cNvPr id="239620" name="Object 2"/>
          <p:cNvGraphicFramePr>
            <a:graphicFrameLocks noChangeAspect="1"/>
          </p:cNvGraphicFramePr>
          <p:nvPr/>
        </p:nvGraphicFramePr>
        <p:xfrm>
          <a:off x="1835150" y="1700213"/>
          <a:ext cx="1606550" cy="32369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41" name="Document" r:id="rId4" imgW="2770717" imgH="2768600" progId="Word.Document.8">
                  <p:embed/>
                </p:oleObj>
              </mc:Choice>
              <mc:Fallback>
                <p:oleObj name="Document" r:id="rId4" imgW="2770717" imgH="2768600" progId="Word.Document.8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52792" t="3302" r="3299" b="3302"/>
                      <a:stretch>
                        <a:fillRect/>
                      </a:stretch>
                    </p:blipFill>
                    <p:spPr bwMode="auto">
                      <a:xfrm>
                        <a:off x="1835150" y="1700213"/>
                        <a:ext cx="1606550" cy="32369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9621" name="Text Box 5"/>
          <p:cNvSpPr txBox="1">
            <a:spLocks noChangeArrowheads="1"/>
          </p:cNvSpPr>
          <p:nvPr/>
        </p:nvSpPr>
        <p:spPr bwMode="auto">
          <a:xfrm>
            <a:off x="360363" y="1819275"/>
            <a:ext cx="2447925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58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US" sz="2200">
                <a:solidFill>
                  <a:srgbClr val="000000"/>
                </a:solidFill>
              </a:rPr>
              <a:t>Baseline</a:t>
            </a:r>
          </a:p>
        </p:txBody>
      </p:sp>
      <p:sp>
        <p:nvSpPr>
          <p:cNvPr id="239622" name="Text Box 6"/>
          <p:cNvSpPr txBox="1">
            <a:spLocks noChangeArrowheads="1"/>
          </p:cNvSpPr>
          <p:nvPr/>
        </p:nvSpPr>
        <p:spPr bwMode="auto">
          <a:xfrm>
            <a:off x="360363" y="3927475"/>
            <a:ext cx="2452687" cy="76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58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US" sz="2200">
                <a:solidFill>
                  <a:srgbClr val="000000"/>
                </a:solidFill>
              </a:rPr>
              <a:t>After after aprepitant</a:t>
            </a:r>
          </a:p>
        </p:txBody>
      </p:sp>
      <p:sp>
        <p:nvSpPr>
          <p:cNvPr id="239623" name="Freeform 7"/>
          <p:cNvSpPr>
            <a:spLocks/>
          </p:cNvSpPr>
          <p:nvPr/>
        </p:nvSpPr>
        <p:spPr bwMode="auto">
          <a:xfrm>
            <a:off x="5224463" y="2232025"/>
            <a:ext cx="3213100" cy="2767013"/>
          </a:xfrm>
          <a:custGeom>
            <a:avLst/>
            <a:gdLst>
              <a:gd name="T0" fmla="*/ 0 w 2277"/>
              <a:gd name="T1" fmla="*/ 2147483647 h 1743"/>
              <a:gd name="T2" fmla="*/ 2147483647 w 2277"/>
              <a:gd name="T3" fmla="*/ 2147483647 h 1743"/>
              <a:gd name="T4" fmla="*/ 2147483647 w 2277"/>
              <a:gd name="T5" fmla="*/ 2147483647 h 1743"/>
              <a:gd name="T6" fmla="*/ 0 60000 65536"/>
              <a:gd name="T7" fmla="*/ 0 60000 65536"/>
              <a:gd name="T8" fmla="*/ 0 60000 65536"/>
              <a:gd name="T9" fmla="*/ 0 w 2277"/>
              <a:gd name="T10" fmla="*/ 0 h 1743"/>
              <a:gd name="T11" fmla="*/ 2277 w 2277"/>
              <a:gd name="T12" fmla="*/ 1743 h 174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277" h="1743">
                <a:moveTo>
                  <a:pt x="0" y="1743"/>
                </a:moveTo>
                <a:cubicBezTo>
                  <a:pt x="440" y="1715"/>
                  <a:pt x="606" y="1536"/>
                  <a:pt x="1003" y="768"/>
                </a:cubicBezTo>
                <a:cubicBezTo>
                  <a:pt x="1400" y="0"/>
                  <a:pt x="1915" y="162"/>
                  <a:pt x="2277" y="127"/>
                </a:cubicBezTo>
              </a:path>
            </a:pathLst>
          </a:cu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239624" name="Text Box 8"/>
          <p:cNvSpPr txBox="1">
            <a:spLocks noChangeArrowheads="1"/>
          </p:cNvSpPr>
          <p:nvPr/>
        </p:nvSpPr>
        <p:spPr bwMode="auto">
          <a:xfrm>
            <a:off x="4143375" y="5572125"/>
            <a:ext cx="4811713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58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 anchorCtr="1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50000"/>
              </a:spcBef>
              <a:buFontTx/>
              <a:buNone/>
            </a:pPr>
            <a:r>
              <a:rPr lang="en-US" sz="1600" b="1">
                <a:solidFill>
                  <a:srgbClr val="000000"/>
                </a:solidFill>
              </a:rPr>
              <a:t>Aprepitant Plasma Trough Concentration (ng/mL)</a:t>
            </a:r>
          </a:p>
        </p:txBody>
      </p:sp>
      <p:sp>
        <p:nvSpPr>
          <p:cNvPr id="239625" name="Text Box 9"/>
          <p:cNvSpPr txBox="1">
            <a:spLocks noChangeArrowheads="1"/>
          </p:cNvSpPr>
          <p:nvPr/>
        </p:nvSpPr>
        <p:spPr bwMode="auto">
          <a:xfrm rot="-5400000">
            <a:off x="2536031" y="3636169"/>
            <a:ext cx="3436938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58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 anchorCtr="1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50000"/>
              </a:spcBef>
              <a:buFontTx/>
              <a:buNone/>
            </a:pPr>
            <a:r>
              <a:rPr lang="en-US" sz="1600" b="1">
                <a:solidFill>
                  <a:srgbClr val="000000"/>
                </a:solidFill>
              </a:rPr>
              <a:t>Brain NK</a:t>
            </a:r>
            <a:r>
              <a:rPr lang="en-US" sz="1600" b="1" baseline="-25000">
                <a:solidFill>
                  <a:srgbClr val="000000"/>
                </a:solidFill>
              </a:rPr>
              <a:t>1</a:t>
            </a:r>
            <a:r>
              <a:rPr lang="en-US" sz="1600" b="1">
                <a:solidFill>
                  <a:srgbClr val="000000"/>
                </a:solidFill>
              </a:rPr>
              <a:t> Receptor Occupancy (%)</a:t>
            </a:r>
          </a:p>
        </p:txBody>
      </p:sp>
      <p:grpSp>
        <p:nvGrpSpPr>
          <p:cNvPr id="239626" name="Group 10"/>
          <p:cNvGrpSpPr>
            <a:grpSpLocks/>
          </p:cNvGrpSpPr>
          <p:nvPr/>
        </p:nvGrpSpPr>
        <p:grpSpPr bwMode="auto">
          <a:xfrm>
            <a:off x="4433888" y="2301875"/>
            <a:ext cx="342900" cy="2870200"/>
            <a:chOff x="3039" y="1325"/>
            <a:chExt cx="243" cy="1808"/>
          </a:xfrm>
        </p:grpSpPr>
        <p:sp>
          <p:nvSpPr>
            <p:cNvPr id="239730" name="Text Box 11"/>
            <p:cNvSpPr txBox="1">
              <a:spLocks noChangeArrowheads="1"/>
            </p:cNvSpPr>
            <p:nvPr/>
          </p:nvSpPr>
          <p:spPr bwMode="auto">
            <a:xfrm>
              <a:off x="3201" y="2978"/>
              <a:ext cx="81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58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r">
                <a:spcBef>
                  <a:spcPct val="50000"/>
                </a:spcBef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239731" name="Text Box 12"/>
            <p:cNvSpPr txBox="1">
              <a:spLocks noChangeArrowheads="1"/>
            </p:cNvSpPr>
            <p:nvPr/>
          </p:nvSpPr>
          <p:spPr bwMode="auto">
            <a:xfrm>
              <a:off x="3120" y="2813"/>
              <a:ext cx="162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58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r">
                <a:spcBef>
                  <a:spcPct val="50000"/>
                </a:spcBef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239732" name="Text Box 13"/>
            <p:cNvSpPr txBox="1">
              <a:spLocks noChangeArrowheads="1"/>
            </p:cNvSpPr>
            <p:nvPr/>
          </p:nvSpPr>
          <p:spPr bwMode="auto">
            <a:xfrm>
              <a:off x="3120" y="2645"/>
              <a:ext cx="162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58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r">
                <a:spcBef>
                  <a:spcPct val="50000"/>
                </a:spcBef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20</a:t>
              </a:r>
            </a:p>
          </p:txBody>
        </p:sp>
        <p:sp>
          <p:nvSpPr>
            <p:cNvPr id="239733" name="Text Box 14"/>
            <p:cNvSpPr txBox="1">
              <a:spLocks noChangeArrowheads="1"/>
            </p:cNvSpPr>
            <p:nvPr/>
          </p:nvSpPr>
          <p:spPr bwMode="auto">
            <a:xfrm>
              <a:off x="3120" y="2477"/>
              <a:ext cx="162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58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r">
                <a:spcBef>
                  <a:spcPct val="50000"/>
                </a:spcBef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30</a:t>
              </a:r>
            </a:p>
          </p:txBody>
        </p:sp>
        <p:sp>
          <p:nvSpPr>
            <p:cNvPr id="239734" name="Text Box 15"/>
            <p:cNvSpPr txBox="1">
              <a:spLocks noChangeArrowheads="1"/>
            </p:cNvSpPr>
            <p:nvPr/>
          </p:nvSpPr>
          <p:spPr bwMode="auto">
            <a:xfrm>
              <a:off x="3120" y="2315"/>
              <a:ext cx="162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58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r">
                <a:spcBef>
                  <a:spcPct val="50000"/>
                </a:spcBef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40</a:t>
              </a:r>
            </a:p>
          </p:txBody>
        </p:sp>
        <p:sp>
          <p:nvSpPr>
            <p:cNvPr id="239735" name="Text Box 16"/>
            <p:cNvSpPr txBox="1">
              <a:spLocks noChangeArrowheads="1"/>
            </p:cNvSpPr>
            <p:nvPr/>
          </p:nvSpPr>
          <p:spPr bwMode="auto">
            <a:xfrm>
              <a:off x="3120" y="2144"/>
              <a:ext cx="162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58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r">
                <a:spcBef>
                  <a:spcPct val="50000"/>
                </a:spcBef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50</a:t>
              </a:r>
            </a:p>
          </p:txBody>
        </p:sp>
        <p:sp>
          <p:nvSpPr>
            <p:cNvPr id="239736" name="Text Box 17"/>
            <p:cNvSpPr txBox="1">
              <a:spLocks noChangeArrowheads="1"/>
            </p:cNvSpPr>
            <p:nvPr/>
          </p:nvSpPr>
          <p:spPr bwMode="auto">
            <a:xfrm>
              <a:off x="3120" y="1988"/>
              <a:ext cx="162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58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r">
                <a:spcBef>
                  <a:spcPct val="50000"/>
                </a:spcBef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60</a:t>
              </a:r>
            </a:p>
          </p:txBody>
        </p:sp>
        <p:sp>
          <p:nvSpPr>
            <p:cNvPr id="239737" name="Text Box 18"/>
            <p:cNvSpPr txBox="1">
              <a:spLocks noChangeArrowheads="1"/>
            </p:cNvSpPr>
            <p:nvPr/>
          </p:nvSpPr>
          <p:spPr bwMode="auto">
            <a:xfrm>
              <a:off x="3120" y="1820"/>
              <a:ext cx="162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58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r">
                <a:spcBef>
                  <a:spcPct val="50000"/>
                </a:spcBef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70</a:t>
              </a:r>
            </a:p>
          </p:txBody>
        </p:sp>
        <p:sp>
          <p:nvSpPr>
            <p:cNvPr id="239738" name="Text Box 19"/>
            <p:cNvSpPr txBox="1">
              <a:spLocks noChangeArrowheads="1"/>
            </p:cNvSpPr>
            <p:nvPr/>
          </p:nvSpPr>
          <p:spPr bwMode="auto">
            <a:xfrm>
              <a:off x="3120" y="1655"/>
              <a:ext cx="162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58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r">
                <a:spcBef>
                  <a:spcPct val="50000"/>
                </a:spcBef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80</a:t>
              </a:r>
            </a:p>
          </p:txBody>
        </p:sp>
        <p:sp>
          <p:nvSpPr>
            <p:cNvPr id="239739" name="Text Box 20"/>
            <p:cNvSpPr txBox="1">
              <a:spLocks noChangeArrowheads="1"/>
            </p:cNvSpPr>
            <p:nvPr/>
          </p:nvSpPr>
          <p:spPr bwMode="auto">
            <a:xfrm>
              <a:off x="3120" y="1487"/>
              <a:ext cx="162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58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r">
                <a:spcBef>
                  <a:spcPct val="50000"/>
                </a:spcBef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90</a:t>
              </a:r>
            </a:p>
          </p:txBody>
        </p:sp>
        <p:sp>
          <p:nvSpPr>
            <p:cNvPr id="239740" name="Text Box 21"/>
            <p:cNvSpPr txBox="1">
              <a:spLocks noChangeArrowheads="1"/>
            </p:cNvSpPr>
            <p:nvPr/>
          </p:nvSpPr>
          <p:spPr bwMode="auto">
            <a:xfrm>
              <a:off x="3039" y="1325"/>
              <a:ext cx="243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58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r">
                <a:spcBef>
                  <a:spcPct val="50000"/>
                </a:spcBef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100</a:t>
              </a:r>
            </a:p>
          </p:txBody>
        </p:sp>
      </p:grpSp>
      <p:grpSp>
        <p:nvGrpSpPr>
          <p:cNvPr id="239627" name="Group 22"/>
          <p:cNvGrpSpPr>
            <a:grpSpLocks/>
          </p:cNvGrpSpPr>
          <p:nvPr/>
        </p:nvGrpSpPr>
        <p:grpSpPr bwMode="auto">
          <a:xfrm>
            <a:off x="4848225" y="2298700"/>
            <a:ext cx="47625" cy="2886075"/>
            <a:chOff x="3332" y="1323"/>
            <a:chExt cx="34" cy="1818"/>
          </a:xfrm>
        </p:grpSpPr>
        <p:sp>
          <p:nvSpPr>
            <p:cNvPr id="239718" name="Line 23"/>
            <p:cNvSpPr>
              <a:spLocks noChangeShapeType="1"/>
            </p:cNvSpPr>
            <p:nvPr/>
          </p:nvSpPr>
          <p:spPr bwMode="auto">
            <a:xfrm>
              <a:off x="3363" y="1323"/>
              <a:ext cx="0" cy="1818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39719" name="Line 24"/>
            <p:cNvSpPr>
              <a:spLocks noChangeShapeType="1"/>
            </p:cNvSpPr>
            <p:nvPr/>
          </p:nvSpPr>
          <p:spPr bwMode="auto">
            <a:xfrm>
              <a:off x="3332" y="3054"/>
              <a:ext cx="34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39720" name="Line 25"/>
            <p:cNvSpPr>
              <a:spLocks noChangeShapeType="1"/>
            </p:cNvSpPr>
            <p:nvPr/>
          </p:nvSpPr>
          <p:spPr bwMode="auto">
            <a:xfrm>
              <a:off x="3332" y="2889"/>
              <a:ext cx="34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39721" name="Line 26"/>
            <p:cNvSpPr>
              <a:spLocks noChangeShapeType="1"/>
            </p:cNvSpPr>
            <p:nvPr/>
          </p:nvSpPr>
          <p:spPr bwMode="auto">
            <a:xfrm>
              <a:off x="3332" y="2724"/>
              <a:ext cx="34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39722" name="Line 27"/>
            <p:cNvSpPr>
              <a:spLocks noChangeShapeType="1"/>
            </p:cNvSpPr>
            <p:nvPr/>
          </p:nvSpPr>
          <p:spPr bwMode="auto">
            <a:xfrm>
              <a:off x="3332" y="2559"/>
              <a:ext cx="34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39723" name="Line 28"/>
            <p:cNvSpPr>
              <a:spLocks noChangeShapeType="1"/>
            </p:cNvSpPr>
            <p:nvPr/>
          </p:nvSpPr>
          <p:spPr bwMode="auto">
            <a:xfrm>
              <a:off x="3332" y="2394"/>
              <a:ext cx="34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39724" name="Line 29"/>
            <p:cNvSpPr>
              <a:spLocks noChangeShapeType="1"/>
            </p:cNvSpPr>
            <p:nvPr/>
          </p:nvSpPr>
          <p:spPr bwMode="auto">
            <a:xfrm>
              <a:off x="3332" y="2229"/>
              <a:ext cx="34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39725" name="Line 30"/>
            <p:cNvSpPr>
              <a:spLocks noChangeShapeType="1"/>
            </p:cNvSpPr>
            <p:nvPr/>
          </p:nvSpPr>
          <p:spPr bwMode="auto">
            <a:xfrm>
              <a:off x="3332" y="2063"/>
              <a:ext cx="34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39726" name="Line 31"/>
            <p:cNvSpPr>
              <a:spLocks noChangeShapeType="1"/>
            </p:cNvSpPr>
            <p:nvPr/>
          </p:nvSpPr>
          <p:spPr bwMode="auto">
            <a:xfrm>
              <a:off x="3332" y="1898"/>
              <a:ext cx="34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39727" name="Line 32"/>
            <p:cNvSpPr>
              <a:spLocks noChangeShapeType="1"/>
            </p:cNvSpPr>
            <p:nvPr/>
          </p:nvSpPr>
          <p:spPr bwMode="auto">
            <a:xfrm>
              <a:off x="3332" y="1733"/>
              <a:ext cx="34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39728" name="Line 33"/>
            <p:cNvSpPr>
              <a:spLocks noChangeShapeType="1"/>
            </p:cNvSpPr>
            <p:nvPr/>
          </p:nvSpPr>
          <p:spPr bwMode="auto">
            <a:xfrm>
              <a:off x="3332" y="1568"/>
              <a:ext cx="34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39729" name="Line 34"/>
            <p:cNvSpPr>
              <a:spLocks noChangeShapeType="1"/>
            </p:cNvSpPr>
            <p:nvPr/>
          </p:nvSpPr>
          <p:spPr bwMode="auto">
            <a:xfrm>
              <a:off x="3332" y="1403"/>
              <a:ext cx="34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239628" name="Group 35"/>
          <p:cNvGrpSpPr>
            <a:grpSpLocks/>
          </p:cNvGrpSpPr>
          <p:nvPr/>
        </p:nvGrpSpPr>
        <p:grpSpPr bwMode="auto">
          <a:xfrm>
            <a:off x="4894263" y="5267325"/>
            <a:ext cx="4027487" cy="246063"/>
            <a:chOff x="3364" y="3193"/>
            <a:chExt cx="2855" cy="155"/>
          </a:xfrm>
        </p:grpSpPr>
        <p:sp>
          <p:nvSpPr>
            <p:cNvPr id="239712" name="Text Box 36"/>
            <p:cNvSpPr txBox="1">
              <a:spLocks noChangeArrowheads="1"/>
            </p:cNvSpPr>
            <p:nvPr/>
          </p:nvSpPr>
          <p:spPr bwMode="auto">
            <a:xfrm>
              <a:off x="3364" y="3193"/>
              <a:ext cx="81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58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spcBef>
                  <a:spcPct val="50000"/>
                </a:spcBef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239713" name="Text Box 37"/>
            <p:cNvSpPr txBox="1">
              <a:spLocks noChangeArrowheads="1"/>
            </p:cNvSpPr>
            <p:nvPr/>
          </p:nvSpPr>
          <p:spPr bwMode="auto">
            <a:xfrm>
              <a:off x="3919" y="3193"/>
              <a:ext cx="81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58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spcBef>
                  <a:spcPct val="50000"/>
                </a:spcBef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239714" name="Text Box 38"/>
            <p:cNvSpPr txBox="1">
              <a:spLocks noChangeArrowheads="1"/>
            </p:cNvSpPr>
            <p:nvPr/>
          </p:nvSpPr>
          <p:spPr bwMode="auto">
            <a:xfrm>
              <a:off x="4392" y="3193"/>
              <a:ext cx="162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58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spcBef>
                  <a:spcPct val="50000"/>
                </a:spcBef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10</a:t>
              </a:r>
            </a:p>
          </p:txBody>
        </p:sp>
        <p:sp>
          <p:nvSpPr>
            <p:cNvPr id="239715" name="Text Box 39"/>
            <p:cNvSpPr txBox="1">
              <a:spLocks noChangeArrowheads="1"/>
            </p:cNvSpPr>
            <p:nvPr/>
          </p:nvSpPr>
          <p:spPr bwMode="auto">
            <a:xfrm>
              <a:off x="4869" y="3193"/>
              <a:ext cx="243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58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spcBef>
                  <a:spcPct val="50000"/>
                </a:spcBef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100</a:t>
              </a:r>
            </a:p>
          </p:txBody>
        </p:sp>
        <p:sp>
          <p:nvSpPr>
            <p:cNvPr id="239716" name="Text Box 40"/>
            <p:cNvSpPr txBox="1">
              <a:spLocks noChangeArrowheads="1"/>
            </p:cNvSpPr>
            <p:nvPr/>
          </p:nvSpPr>
          <p:spPr bwMode="auto">
            <a:xfrm>
              <a:off x="5344" y="3193"/>
              <a:ext cx="323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58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spcBef>
                  <a:spcPct val="50000"/>
                </a:spcBef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1000</a:t>
              </a:r>
            </a:p>
          </p:txBody>
        </p:sp>
        <p:sp>
          <p:nvSpPr>
            <p:cNvPr id="239717" name="Text Box 41"/>
            <p:cNvSpPr txBox="1">
              <a:spLocks noChangeArrowheads="1"/>
            </p:cNvSpPr>
            <p:nvPr/>
          </p:nvSpPr>
          <p:spPr bwMode="auto">
            <a:xfrm>
              <a:off x="5815" y="3193"/>
              <a:ext cx="404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58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spcBef>
                  <a:spcPct val="50000"/>
                </a:spcBef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</a:rPr>
                <a:t>10000</a:t>
              </a:r>
            </a:p>
          </p:txBody>
        </p:sp>
      </p:grpSp>
      <p:grpSp>
        <p:nvGrpSpPr>
          <p:cNvPr id="239629" name="Group 42"/>
          <p:cNvGrpSpPr>
            <a:grpSpLocks/>
          </p:cNvGrpSpPr>
          <p:nvPr/>
        </p:nvGrpSpPr>
        <p:grpSpPr bwMode="auto">
          <a:xfrm>
            <a:off x="4973638" y="5114925"/>
            <a:ext cx="3670300" cy="134938"/>
            <a:chOff x="3421" y="3097"/>
            <a:chExt cx="2601" cy="85"/>
          </a:xfrm>
        </p:grpSpPr>
        <p:grpSp>
          <p:nvGrpSpPr>
            <p:cNvPr id="239657" name="Group 43"/>
            <p:cNvGrpSpPr>
              <a:grpSpLocks/>
            </p:cNvGrpSpPr>
            <p:nvPr/>
          </p:nvGrpSpPr>
          <p:grpSpPr bwMode="auto">
            <a:xfrm>
              <a:off x="4117" y="3138"/>
              <a:ext cx="359" cy="35"/>
              <a:chOff x="4117" y="3138"/>
              <a:chExt cx="359" cy="35"/>
            </a:xfrm>
          </p:grpSpPr>
          <p:sp>
            <p:nvSpPr>
              <p:cNvPr id="239703" name="Line 44"/>
              <p:cNvSpPr>
                <a:spLocks noChangeShapeType="1"/>
              </p:cNvSpPr>
              <p:nvPr/>
            </p:nvSpPr>
            <p:spPr bwMode="auto">
              <a:xfrm>
                <a:off x="4117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704" name="Line 45"/>
              <p:cNvSpPr>
                <a:spLocks noChangeShapeType="1"/>
              </p:cNvSpPr>
              <p:nvPr/>
            </p:nvSpPr>
            <p:spPr bwMode="auto">
              <a:xfrm>
                <a:off x="4207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705" name="Line 46"/>
              <p:cNvSpPr>
                <a:spLocks noChangeShapeType="1"/>
              </p:cNvSpPr>
              <p:nvPr/>
            </p:nvSpPr>
            <p:spPr bwMode="auto">
              <a:xfrm>
                <a:off x="4270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706" name="Line 47"/>
              <p:cNvSpPr>
                <a:spLocks noChangeShapeType="1"/>
              </p:cNvSpPr>
              <p:nvPr/>
            </p:nvSpPr>
            <p:spPr bwMode="auto">
              <a:xfrm>
                <a:off x="4321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707" name="Line 48"/>
              <p:cNvSpPr>
                <a:spLocks noChangeShapeType="1"/>
              </p:cNvSpPr>
              <p:nvPr/>
            </p:nvSpPr>
            <p:spPr bwMode="auto">
              <a:xfrm>
                <a:off x="4361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708" name="Line 49"/>
              <p:cNvSpPr>
                <a:spLocks noChangeShapeType="1"/>
              </p:cNvSpPr>
              <p:nvPr/>
            </p:nvSpPr>
            <p:spPr bwMode="auto">
              <a:xfrm>
                <a:off x="4395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709" name="Line 50"/>
              <p:cNvSpPr>
                <a:spLocks noChangeShapeType="1"/>
              </p:cNvSpPr>
              <p:nvPr/>
            </p:nvSpPr>
            <p:spPr bwMode="auto">
              <a:xfrm>
                <a:off x="4427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710" name="Line 51"/>
              <p:cNvSpPr>
                <a:spLocks noChangeShapeType="1"/>
              </p:cNvSpPr>
              <p:nvPr/>
            </p:nvSpPr>
            <p:spPr bwMode="auto">
              <a:xfrm>
                <a:off x="4453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711" name="Line 52"/>
              <p:cNvSpPr>
                <a:spLocks noChangeShapeType="1"/>
              </p:cNvSpPr>
              <p:nvPr/>
            </p:nvSpPr>
            <p:spPr bwMode="auto">
              <a:xfrm>
                <a:off x="4476" y="3138"/>
                <a:ext cx="0" cy="35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239658" name="Group 53"/>
            <p:cNvGrpSpPr>
              <a:grpSpLocks/>
            </p:cNvGrpSpPr>
            <p:nvPr/>
          </p:nvGrpSpPr>
          <p:grpSpPr bwMode="auto">
            <a:xfrm>
              <a:off x="4632" y="3138"/>
              <a:ext cx="359" cy="35"/>
              <a:chOff x="4117" y="3138"/>
              <a:chExt cx="359" cy="35"/>
            </a:xfrm>
          </p:grpSpPr>
          <p:sp>
            <p:nvSpPr>
              <p:cNvPr id="239694" name="Line 54"/>
              <p:cNvSpPr>
                <a:spLocks noChangeShapeType="1"/>
              </p:cNvSpPr>
              <p:nvPr/>
            </p:nvSpPr>
            <p:spPr bwMode="auto">
              <a:xfrm>
                <a:off x="4117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695" name="Line 55"/>
              <p:cNvSpPr>
                <a:spLocks noChangeShapeType="1"/>
              </p:cNvSpPr>
              <p:nvPr/>
            </p:nvSpPr>
            <p:spPr bwMode="auto">
              <a:xfrm>
                <a:off x="4207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696" name="Line 56"/>
              <p:cNvSpPr>
                <a:spLocks noChangeShapeType="1"/>
              </p:cNvSpPr>
              <p:nvPr/>
            </p:nvSpPr>
            <p:spPr bwMode="auto">
              <a:xfrm>
                <a:off x="4270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697" name="Line 57"/>
              <p:cNvSpPr>
                <a:spLocks noChangeShapeType="1"/>
              </p:cNvSpPr>
              <p:nvPr/>
            </p:nvSpPr>
            <p:spPr bwMode="auto">
              <a:xfrm>
                <a:off x="4321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698" name="Line 58"/>
              <p:cNvSpPr>
                <a:spLocks noChangeShapeType="1"/>
              </p:cNvSpPr>
              <p:nvPr/>
            </p:nvSpPr>
            <p:spPr bwMode="auto">
              <a:xfrm>
                <a:off x="4361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699" name="Line 59"/>
              <p:cNvSpPr>
                <a:spLocks noChangeShapeType="1"/>
              </p:cNvSpPr>
              <p:nvPr/>
            </p:nvSpPr>
            <p:spPr bwMode="auto">
              <a:xfrm>
                <a:off x="4395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700" name="Line 60"/>
              <p:cNvSpPr>
                <a:spLocks noChangeShapeType="1"/>
              </p:cNvSpPr>
              <p:nvPr/>
            </p:nvSpPr>
            <p:spPr bwMode="auto">
              <a:xfrm>
                <a:off x="4427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701" name="Line 61"/>
              <p:cNvSpPr>
                <a:spLocks noChangeShapeType="1"/>
              </p:cNvSpPr>
              <p:nvPr/>
            </p:nvSpPr>
            <p:spPr bwMode="auto">
              <a:xfrm>
                <a:off x="4453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702" name="Line 62"/>
              <p:cNvSpPr>
                <a:spLocks noChangeShapeType="1"/>
              </p:cNvSpPr>
              <p:nvPr/>
            </p:nvSpPr>
            <p:spPr bwMode="auto">
              <a:xfrm>
                <a:off x="4476" y="3138"/>
                <a:ext cx="0" cy="35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239659" name="Group 63"/>
            <p:cNvGrpSpPr>
              <a:grpSpLocks/>
            </p:cNvGrpSpPr>
            <p:nvPr/>
          </p:nvGrpSpPr>
          <p:grpSpPr bwMode="auto">
            <a:xfrm>
              <a:off x="5146" y="3138"/>
              <a:ext cx="359" cy="35"/>
              <a:chOff x="4117" y="3138"/>
              <a:chExt cx="359" cy="35"/>
            </a:xfrm>
          </p:grpSpPr>
          <p:sp>
            <p:nvSpPr>
              <p:cNvPr id="239685" name="Line 64"/>
              <p:cNvSpPr>
                <a:spLocks noChangeShapeType="1"/>
              </p:cNvSpPr>
              <p:nvPr/>
            </p:nvSpPr>
            <p:spPr bwMode="auto">
              <a:xfrm>
                <a:off x="4117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686" name="Line 65"/>
              <p:cNvSpPr>
                <a:spLocks noChangeShapeType="1"/>
              </p:cNvSpPr>
              <p:nvPr/>
            </p:nvSpPr>
            <p:spPr bwMode="auto">
              <a:xfrm>
                <a:off x="4207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687" name="Line 66"/>
              <p:cNvSpPr>
                <a:spLocks noChangeShapeType="1"/>
              </p:cNvSpPr>
              <p:nvPr/>
            </p:nvSpPr>
            <p:spPr bwMode="auto">
              <a:xfrm>
                <a:off x="4270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688" name="Line 67"/>
              <p:cNvSpPr>
                <a:spLocks noChangeShapeType="1"/>
              </p:cNvSpPr>
              <p:nvPr/>
            </p:nvSpPr>
            <p:spPr bwMode="auto">
              <a:xfrm>
                <a:off x="4321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689" name="Line 68"/>
              <p:cNvSpPr>
                <a:spLocks noChangeShapeType="1"/>
              </p:cNvSpPr>
              <p:nvPr/>
            </p:nvSpPr>
            <p:spPr bwMode="auto">
              <a:xfrm>
                <a:off x="4361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690" name="Line 69"/>
              <p:cNvSpPr>
                <a:spLocks noChangeShapeType="1"/>
              </p:cNvSpPr>
              <p:nvPr/>
            </p:nvSpPr>
            <p:spPr bwMode="auto">
              <a:xfrm>
                <a:off x="4395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691" name="Line 70"/>
              <p:cNvSpPr>
                <a:spLocks noChangeShapeType="1"/>
              </p:cNvSpPr>
              <p:nvPr/>
            </p:nvSpPr>
            <p:spPr bwMode="auto">
              <a:xfrm>
                <a:off x="4427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692" name="Line 71"/>
              <p:cNvSpPr>
                <a:spLocks noChangeShapeType="1"/>
              </p:cNvSpPr>
              <p:nvPr/>
            </p:nvSpPr>
            <p:spPr bwMode="auto">
              <a:xfrm>
                <a:off x="4453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693" name="Line 72"/>
              <p:cNvSpPr>
                <a:spLocks noChangeShapeType="1"/>
              </p:cNvSpPr>
              <p:nvPr/>
            </p:nvSpPr>
            <p:spPr bwMode="auto">
              <a:xfrm>
                <a:off x="4476" y="3138"/>
                <a:ext cx="0" cy="35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239660" name="Group 73"/>
            <p:cNvGrpSpPr>
              <a:grpSpLocks/>
            </p:cNvGrpSpPr>
            <p:nvPr/>
          </p:nvGrpSpPr>
          <p:grpSpPr bwMode="auto">
            <a:xfrm>
              <a:off x="5660" y="3138"/>
              <a:ext cx="359" cy="35"/>
              <a:chOff x="4117" y="3138"/>
              <a:chExt cx="359" cy="35"/>
            </a:xfrm>
          </p:grpSpPr>
          <p:sp>
            <p:nvSpPr>
              <p:cNvPr id="239676" name="Line 74"/>
              <p:cNvSpPr>
                <a:spLocks noChangeShapeType="1"/>
              </p:cNvSpPr>
              <p:nvPr/>
            </p:nvSpPr>
            <p:spPr bwMode="auto">
              <a:xfrm>
                <a:off x="4117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677" name="Line 75"/>
              <p:cNvSpPr>
                <a:spLocks noChangeShapeType="1"/>
              </p:cNvSpPr>
              <p:nvPr/>
            </p:nvSpPr>
            <p:spPr bwMode="auto">
              <a:xfrm>
                <a:off x="4207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678" name="Line 76"/>
              <p:cNvSpPr>
                <a:spLocks noChangeShapeType="1"/>
              </p:cNvSpPr>
              <p:nvPr/>
            </p:nvSpPr>
            <p:spPr bwMode="auto">
              <a:xfrm>
                <a:off x="4270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679" name="Line 77"/>
              <p:cNvSpPr>
                <a:spLocks noChangeShapeType="1"/>
              </p:cNvSpPr>
              <p:nvPr/>
            </p:nvSpPr>
            <p:spPr bwMode="auto">
              <a:xfrm>
                <a:off x="4321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680" name="Line 78"/>
              <p:cNvSpPr>
                <a:spLocks noChangeShapeType="1"/>
              </p:cNvSpPr>
              <p:nvPr/>
            </p:nvSpPr>
            <p:spPr bwMode="auto">
              <a:xfrm>
                <a:off x="4361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681" name="Line 79"/>
              <p:cNvSpPr>
                <a:spLocks noChangeShapeType="1"/>
              </p:cNvSpPr>
              <p:nvPr/>
            </p:nvSpPr>
            <p:spPr bwMode="auto">
              <a:xfrm>
                <a:off x="4395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682" name="Line 80"/>
              <p:cNvSpPr>
                <a:spLocks noChangeShapeType="1"/>
              </p:cNvSpPr>
              <p:nvPr/>
            </p:nvSpPr>
            <p:spPr bwMode="auto">
              <a:xfrm>
                <a:off x="4427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683" name="Line 81"/>
              <p:cNvSpPr>
                <a:spLocks noChangeShapeType="1"/>
              </p:cNvSpPr>
              <p:nvPr/>
            </p:nvSpPr>
            <p:spPr bwMode="auto">
              <a:xfrm>
                <a:off x="4453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684" name="Line 82"/>
              <p:cNvSpPr>
                <a:spLocks noChangeShapeType="1"/>
              </p:cNvSpPr>
              <p:nvPr/>
            </p:nvSpPr>
            <p:spPr bwMode="auto">
              <a:xfrm>
                <a:off x="4476" y="3138"/>
                <a:ext cx="0" cy="35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grpSp>
          <p:nvGrpSpPr>
            <p:cNvPr id="239661" name="Group 83"/>
            <p:cNvGrpSpPr>
              <a:grpSpLocks/>
            </p:cNvGrpSpPr>
            <p:nvPr/>
          </p:nvGrpSpPr>
          <p:grpSpPr bwMode="auto">
            <a:xfrm>
              <a:off x="3603" y="3138"/>
              <a:ext cx="359" cy="35"/>
              <a:chOff x="4117" y="3138"/>
              <a:chExt cx="359" cy="35"/>
            </a:xfrm>
          </p:grpSpPr>
          <p:sp>
            <p:nvSpPr>
              <p:cNvPr id="239667" name="Line 84"/>
              <p:cNvSpPr>
                <a:spLocks noChangeShapeType="1"/>
              </p:cNvSpPr>
              <p:nvPr/>
            </p:nvSpPr>
            <p:spPr bwMode="auto">
              <a:xfrm>
                <a:off x="4117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668" name="Line 85"/>
              <p:cNvSpPr>
                <a:spLocks noChangeShapeType="1"/>
              </p:cNvSpPr>
              <p:nvPr/>
            </p:nvSpPr>
            <p:spPr bwMode="auto">
              <a:xfrm>
                <a:off x="4207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669" name="Line 86"/>
              <p:cNvSpPr>
                <a:spLocks noChangeShapeType="1"/>
              </p:cNvSpPr>
              <p:nvPr/>
            </p:nvSpPr>
            <p:spPr bwMode="auto">
              <a:xfrm>
                <a:off x="4270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670" name="Line 87"/>
              <p:cNvSpPr>
                <a:spLocks noChangeShapeType="1"/>
              </p:cNvSpPr>
              <p:nvPr/>
            </p:nvSpPr>
            <p:spPr bwMode="auto">
              <a:xfrm>
                <a:off x="4321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671" name="Line 88"/>
              <p:cNvSpPr>
                <a:spLocks noChangeShapeType="1"/>
              </p:cNvSpPr>
              <p:nvPr/>
            </p:nvSpPr>
            <p:spPr bwMode="auto">
              <a:xfrm>
                <a:off x="4361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672" name="Line 89"/>
              <p:cNvSpPr>
                <a:spLocks noChangeShapeType="1"/>
              </p:cNvSpPr>
              <p:nvPr/>
            </p:nvSpPr>
            <p:spPr bwMode="auto">
              <a:xfrm>
                <a:off x="4395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673" name="Line 90"/>
              <p:cNvSpPr>
                <a:spLocks noChangeShapeType="1"/>
              </p:cNvSpPr>
              <p:nvPr/>
            </p:nvSpPr>
            <p:spPr bwMode="auto">
              <a:xfrm>
                <a:off x="4427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674" name="Line 91"/>
              <p:cNvSpPr>
                <a:spLocks noChangeShapeType="1"/>
              </p:cNvSpPr>
              <p:nvPr/>
            </p:nvSpPr>
            <p:spPr bwMode="auto">
              <a:xfrm>
                <a:off x="4453" y="3138"/>
                <a:ext cx="0" cy="20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239675" name="Line 92"/>
              <p:cNvSpPr>
                <a:spLocks noChangeShapeType="1"/>
              </p:cNvSpPr>
              <p:nvPr/>
            </p:nvSpPr>
            <p:spPr bwMode="auto">
              <a:xfrm>
                <a:off x="4476" y="3138"/>
                <a:ext cx="0" cy="35"/>
              </a:xfrm>
              <a:prstGeom prst="line">
                <a:avLst/>
              </a:prstGeom>
              <a:noFill/>
              <a:ln w="158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/>
              </a:p>
            </p:txBody>
          </p:sp>
        </p:grpSp>
        <p:sp>
          <p:nvSpPr>
            <p:cNvPr id="239662" name="Line 93"/>
            <p:cNvSpPr>
              <a:spLocks noChangeShapeType="1"/>
            </p:cNvSpPr>
            <p:nvPr/>
          </p:nvSpPr>
          <p:spPr bwMode="auto">
            <a:xfrm>
              <a:off x="3424" y="3138"/>
              <a:ext cx="0" cy="2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39663" name="Line 94"/>
            <p:cNvSpPr>
              <a:spLocks noChangeShapeType="1"/>
            </p:cNvSpPr>
            <p:nvPr/>
          </p:nvSpPr>
          <p:spPr bwMode="auto">
            <a:xfrm>
              <a:off x="3421" y="3137"/>
              <a:ext cx="85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39664" name="Line 95"/>
            <p:cNvSpPr>
              <a:spLocks noChangeShapeType="1"/>
            </p:cNvSpPr>
            <p:nvPr/>
          </p:nvSpPr>
          <p:spPr bwMode="auto">
            <a:xfrm>
              <a:off x="3560" y="3137"/>
              <a:ext cx="2462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39665" name="Line 96"/>
            <p:cNvSpPr>
              <a:spLocks noChangeShapeType="1"/>
            </p:cNvSpPr>
            <p:nvPr/>
          </p:nvSpPr>
          <p:spPr bwMode="auto">
            <a:xfrm rot="-4421169">
              <a:off x="3463" y="3139"/>
              <a:ext cx="85" cy="1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39666" name="Line 97"/>
            <p:cNvSpPr>
              <a:spLocks noChangeShapeType="1"/>
            </p:cNvSpPr>
            <p:nvPr/>
          </p:nvSpPr>
          <p:spPr bwMode="auto">
            <a:xfrm rot="-4421169">
              <a:off x="3514" y="3139"/>
              <a:ext cx="85" cy="1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239630" name="Group 98"/>
          <p:cNvGrpSpPr>
            <a:grpSpLocks/>
          </p:cNvGrpSpPr>
          <p:nvPr/>
        </p:nvGrpSpPr>
        <p:grpSpPr bwMode="auto">
          <a:xfrm>
            <a:off x="4970463" y="2330450"/>
            <a:ext cx="3376612" cy="2781300"/>
            <a:chOff x="3419" y="1343"/>
            <a:chExt cx="2393" cy="1752"/>
          </a:xfrm>
        </p:grpSpPr>
        <p:sp>
          <p:nvSpPr>
            <p:cNvPr id="239641" name="Oval 99"/>
            <p:cNvSpPr>
              <a:spLocks noChangeArrowheads="1"/>
            </p:cNvSpPr>
            <p:nvPr/>
          </p:nvSpPr>
          <p:spPr bwMode="auto">
            <a:xfrm>
              <a:off x="3419" y="3045"/>
              <a:ext cx="50" cy="50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9642" name="Oval 100"/>
            <p:cNvSpPr>
              <a:spLocks noChangeArrowheads="1"/>
            </p:cNvSpPr>
            <p:nvPr/>
          </p:nvSpPr>
          <p:spPr bwMode="auto">
            <a:xfrm>
              <a:off x="3420" y="2880"/>
              <a:ext cx="50" cy="50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9643" name="Oval 101"/>
            <p:cNvSpPr>
              <a:spLocks noChangeArrowheads="1"/>
            </p:cNvSpPr>
            <p:nvPr/>
          </p:nvSpPr>
          <p:spPr bwMode="auto">
            <a:xfrm>
              <a:off x="3420" y="2845"/>
              <a:ext cx="50" cy="50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9644" name="Oval 102"/>
            <p:cNvSpPr>
              <a:spLocks noChangeArrowheads="1"/>
            </p:cNvSpPr>
            <p:nvPr/>
          </p:nvSpPr>
          <p:spPr bwMode="auto">
            <a:xfrm>
              <a:off x="4540" y="1956"/>
              <a:ext cx="50" cy="50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9645" name="Oval 103"/>
            <p:cNvSpPr>
              <a:spLocks noChangeArrowheads="1"/>
            </p:cNvSpPr>
            <p:nvPr/>
          </p:nvSpPr>
          <p:spPr bwMode="auto">
            <a:xfrm>
              <a:off x="4594" y="1987"/>
              <a:ext cx="50" cy="50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9646" name="Oval 104"/>
            <p:cNvSpPr>
              <a:spLocks noChangeArrowheads="1"/>
            </p:cNvSpPr>
            <p:nvPr/>
          </p:nvSpPr>
          <p:spPr bwMode="auto">
            <a:xfrm>
              <a:off x="4594" y="2054"/>
              <a:ext cx="50" cy="50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9647" name="Oval 105"/>
            <p:cNvSpPr>
              <a:spLocks noChangeArrowheads="1"/>
            </p:cNvSpPr>
            <p:nvPr/>
          </p:nvSpPr>
          <p:spPr bwMode="auto">
            <a:xfrm>
              <a:off x="4670" y="1921"/>
              <a:ext cx="50" cy="50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9648" name="Oval 106"/>
            <p:cNvSpPr>
              <a:spLocks noChangeArrowheads="1"/>
            </p:cNvSpPr>
            <p:nvPr/>
          </p:nvSpPr>
          <p:spPr bwMode="auto">
            <a:xfrm>
              <a:off x="4760" y="1822"/>
              <a:ext cx="50" cy="50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9649" name="Oval 107"/>
            <p:cNvSpPr>
              <a:spLocks noChangeArrowheads="1"/>
            </p:cNvSpPr>
            <p:nvPr/>
          </p:nvSpPr>
          <p:spPr bwMode="auto">
            <a:xfrm>
              <a:off x="4743" y="1740"/>
              <a:ext cx="50" cy="50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9650" name="Oval 108"/>
            <p:cNvSpPr>
              <a:spLocks noChangeArrowheads="1"/>
            </p:cNvSpPr>
            <p:nvPr/>
          </p:nvSpPr>
          <p:spPr bwMode="auto">
            <a:xfrm>
              <a:off x="4791" y="1691"/>
              <a:ext cx="50" cy="50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9651" name="Oval 109"/>
            <p:cNvSpPr>
              <a:spLocks noChangeArrowheads="1"/>
            </p:cNvSpPr>
            <p:nvPr/>
          </p:nvSpPr>
          <p:spPr bwMode="auto">
            <a:xfrm>
              <a:off x="4844" y="1673"/>
              <a:ext cx="50" cy="50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9652" name="Oval 110"/>
            <p:cNvSpPr>
              <a:spLocks noChangeArrowheads="1"/>
            </p:cNvSpPr>
            <p:nvPr/>
          </p:nvSpPr>
          <p:spPr bwMode="auto">
            <a:xfrm>
              <a:off x="4901" y="1523"/>
              <a:ext cx="50" cy="50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9653" name="Oval 111"/>
            <p:cNvSpPr>
              <a:spLocks noChangeArrowheads="1"/>
            </p:cNvSpPr>
            <p:nvPr/>
          </p:nvSpPr>
          <p:spPr bwMode="auto">
            <a:xfrm>
              <a:off x="5296" y="1443"/>
              <a:ext cx="50" cy="50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9654" name="Oval 112"/>
            <p:cNvSpPr>
              <a:spLocks noChangeArrowheads="1"/>
            </p:cNvSpPr>
            <p:nvPr/>
          </p:nvSpPr>
          <p:spPr bwMode="auto">
            <a:xfrm>
              <a:off x="5327" y="1461"/>
              <a:ext cx="50" cy="50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9655" name="Oval 113"/>
            <p:cNvSpPr>
              <a:spLocks noChangeArrowheads="1"/>
            </p:cNvSpPr>
            <p:nvPr/>
          </p:nvSpPr>
          <p:spPr bwMode="auto">
            <a:xfrm>
              <a:off x="5489" y="1476"/>
              <a:ext cx="50" cy="50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sp>
          <p:nvSpPr>
            <p:cNvPr id="239656" name="Oval 114"/>
            <p:cNvSpPr>
              <a:spLocks noChangeArrowheads="1"/>
            </p:cNvSpPr>
            <p:nvPr/>
          </p:nvSpPr>
          <p:spPr bwMode="auto">
            <a:xfrm>
              <a:off x="5762" y="1343"/>
              <a:ext cx="50" cy="50"/>
            </a:xfrm>
            <a:prstGeom prst="ellipse">
              <a:avLst/>
            </a:prstGeom>
            <a:solidFill>
              <a:schemeClr val="tx2"/>
            </a:solidFill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</p:grpSp>
      <p:sp>
        <p:nvSpPr>
          <p:cNvPr id="239631" name="Text Box 115"/>
          <p:cNvSpPr txBox="1">
            <a:spLocks noChangeArrowheads="1"/>
          </p:cNvSpPr>
          <p:nvPr/>
        </p:nvSpPr>
        <p:spPr bwMode="auto">
          <a:xfrm>
            <a:off x="5715000" y="1447800"/>
            <a:ext cx="3140075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58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sz="1400" b="1">
                <a:solidFill>
                  <a:srgbClr val="000000"/>
                </a:solidFill>
              </a:rPr>
              <a:t>Mean (± SD) Plasma Trough Concentrations of the Aprepitant 3-Day Regimen</a:t>
            </a:r>
          </a:p>
        </p:txBody>
      </p:sp>
      <p:grpSp>
        <p:nvGrpSpPr>
          <p:cNvPr id="239632" name="Group 116"/>
          <p:cNvGrpSpPr>
            <a:grpSpLocks/>
          </p:cNvGrpSpPr>
          <p:nvPr/>
        </p:nvGrpSpPr>
        <p:grpSpPr bwMode="auto">
          <a:xfrm>
            <a:off x="392113" y="5500688"/>
            <a:ext cx="4557712" cy="909637"/>
            <a:chOff x="278" y="3465"/>
            <a:chExt cx="3230" cy="573"/>
          </a:xfrm>
        </p:grpSpPr>
        <p:sp>
          <p:nvSpPr>
            <p:cNvPr id="239638" name="Text Box 117"/>
            <p:cNvSpPr txBox="1">
              <a:spLocks noChangeArrowheads="1"/>
            </p:cNvSpPr>
            <p:nvPr/>
          </p:nvSpPr>
          <p:spPr bwMode="auto">
            <a:xfrm>
              <a:off x="278" y="3825"/>
              <a:ext cx="3230" cy="2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58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l">
                <a:spcBef>
                  <a:spcPct val="0"/>
                </a:spcBef>
                <a:buFontTx/>
                <a:buNone/>
              </a:pPr>
              <a:r>
                <a:rPr lang="en-US" sz="1600">
                  <a:solidFill>
                    <a:srgbClr val="000000"/>
                  </a:solidFill>
                </a:rPr>
                <a:t>Low                                                              High</a:t>
              </a:r>
            </a:p>
          </p:txBody>
        </p:sp>
        <p:sp>
          <p:nvSpPr>
            <p:cNvPr id="239639" name="Rectangle 118"/>
            <p:cNvSpPr>
              <a:spLocks noChangeArrowheads="1"/>
            </p:cNvSpPr>
            <p:nvPr/>
          </p:nvSpPr>
          <p:spPr bwMode="auto">
            <a:xfrm>
              <a:off x="354" y="3735"/>
              <a:ext cx="3043" cy="98"/>
            </a:xfrm>
            <a:prstGeom prst="rect">
              <a:avLst/>
            </a:prstGeom>
            <a:gradFill rotWithShape="0">
              <a:gsLst>
                <a:gs pos="0">
                  <a:srgbClr val="3366FF"/>
                </a:gs>
                <a:gs pos="25000">
                  <a:srgbClr val="01A78F"/>
                </a:gs>
                <a:gs pos="50000">
                  <a:srgbClr val="FFFF00"/>
                </a:gs>
                <a:gs pos="75000">
                  <a:srgbClr val="FF6633"/>
                </a:gs>
                <a:gs pos="100000">
                  <a:srgbClr val="FF3399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58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  <a:buFontTx/>
                <a:buNone/>
              </a:pPr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9640" name="Text Box 119"/>
            <p:cNvSpPr txBox="1">
              <a:spLocks noChangeArrowheads="1"/>
            </p:cNvSpPr>
            <p:nvPr/>
          </p:nvSpPr>
          <p:spPr bwMode="auto">
            <a:xfrm>
              <a:off x="354" y="3465"/>
              <a:ext cx="3023" cy="2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58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en-US" sz="1600">
                  <a:solidFill>
                    <a:srgbClr val="000000"/>
                  </a:solidFill>
                </a:rPr>
                <a:t>Tracer Binding</a:t>
              </a:r>
            </a:p>
          </p:txBody>
        </p:sp>
      </p:grpSp>
      <p:sp>
        <p:nvSpPr>
          <p:cNvPr id="239633" name="Line 120"/>
          <p:cNvSpPr>
            <a:spLocks noChangeShapeType="1"/>
          </p:cNvSpPr>
          <p:nvPr/>
        </p:nvSpPr>
        <p:spPr bwMode="auto">
          <a:xfrm>
            <a:off x="7770813" y="2298700"/>
            <a:ext cx="0" cy="2873375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grpSp>
        <p:nvGrpSpPr>
          <p:cNvPr id="239634" name="Group 121"/>
          <p:cNvGrpSpPr>
            <a:grpSpLocks/>
          </p:cNvGrpSpPr>
          <p:nvPr/>
        </p:nvGrpSpPr>
        <p:grpSpPr bwMode="auto">
          <a:xfrm>
            <a:off x="7715250" y="214313"/>
            <a:ext cx="1298575" cy="681037"/>
            <a:chOff x="7500938" y="285728"/>
            <a:chExt cx="1298575" cy="681060"/>
          </a:xfrm>
        </p:grpSpPr>
        <p:pic>
          <p:nvPicPr>
            <p:cNvPr id="239636" name="Picture 64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2396" y="285728"/>
              <a:ext cx="1071590" cy="2823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9637" name="Picture 63" descr="C:\Documents and Settings\KMosley\Local Settings\Temporary Internet Files\Content.IE5\8F8TCVUH\SJMC[1].gif"/>
            <p:cNvPicPr>
              <a:picLocks noChangeAspect="1" noChangeArrowheads="1"/>
            </p:cNvPicPr>
            <p:nvPr/>
          </p:nvPicPr>
          <p:blipFill>
            <a:blip r:embed="rId7" r:link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0938" y="668338"/>
              <a:ext cx="1298575" cy="298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5" name="Line 51"/>
          <p:cNvSpPr>
            <a:spLocks noChangeShapeType="1"/>
          </p:cNvSpPr>
          <p:nvPr/>
        </p:nvSpPr>
        <p:spPr bwMode="auto">
          <a:xfrm>
            <a:off x="0" y="981075"/>
            <a:ext cx="9144000" cy="0"/>
          </a:xfrm>
          <a:prstGeom prst="line">
            <a:avLst/>
          </a:prstGeom>
          <a:noFill/>
          <a:ln w="25400">
            <a:solidFill>
              <a:schemeClr val="accent1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 algn="l">
              <a:spcBef>
                <a:spcPct val="0"/>
              </a:spcBef>
              <a:defRPr/>
            </a:pPr>
            <a:endParaRPr lang="en-GB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641" name="Rectangle 5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00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2406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638" y="1557338"/>
            <a:ext cx="4430712" cy="458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064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387"/>
          <a:stretch>
            <a:fillRect/>
          </a:stretch>
        </p:blipFill>
        <p:spPr bwMode="auto">
          <a:xfrm>
            <a:off x="468313" y="3933825"/>
            <a:ext cx="3348037" cy="25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0644" name="Rectangle 4"/>
          <p:cNvSpPr>
            <a:spLocks noChangeArrowheads="1"/>
          </p:cNvSpPr>
          <p:nvPr/>
        </p:nvSpPr>
        <p:spPr bwMode="auto">
          <a:xfrm>
            <a:off x="4500563" y="404813"/>
            <a:ext cx="2659062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buFontTx/>
              <a:buNone/>
            </a:pPr>
            <a:r>
              <a:rPr lang="en-US" b="1">
                <a:solidFill>
                  <a:srgbClr val="FFFF00"/>
                </a:solidFill>
              </a:rPr>
              <a:t>Funtional  MRI</a:t>
            </a:r>
          </a:p>
        </p:txBody>
      </p:sp>
      <p:pic>
        <p:nvPicPr>
          <p:cNvPr id="240645" name="Picture 5" descr="4Tphotofeb200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052513"/>
            <a:ext cx="3919537" cy="285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40646" name="Group 4"/>
          <p:cNvGrpSpPr>
            <a:grpSpLocks/>
          </p:cNvGrpSpPr>
          <p:nvPr/>
        </p:nvGrpSpPr>
        <p:grpSpPr bwMode="auto">
          <a:xfrm>
            <a:off x="7715250" y="214313"/>
            <a:ext cx="1298575" cy="681037"/>
            <a:chOff x="7500938" y="285728"/>
            <a:chExt cx="1298575" cy="681060"/>
          </a:xfrm>
        </p:grpSpPr>
        <p:pic>
          <p:nvPicPr>
            <p:cNvPr id="240647" name="Picture 64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2396" y="285728"/>
              <a:ext cx="1071590" cy="2823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0648" name="Picture 63" descr="C:\Documents and Settings\KMosley\Local Settings\Temporary Internet Files\Content.IE5\8F8TCVUH\SJMC[1].gif"/>
            <p:cNvPicPr>
              <a:picLocks noChangeAspect="1" noChangeArrowheads="1"/>
            </p:cNvPicPr>
            <p:nvPr/>
          </p:nvPicPr>
          <p:blipFill>
            <a:blip r:embed="rId6" r:link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0938" y="668338"/>
              <a:ext cx="1298575" cy="298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665" name="Rectangle 10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00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buFontTx/>
              <a:buNone/>
            </a:pPr>
            <a:r>
              <a:rPr lang="en-GB" b="1">
                <a:solidFill>
                  <a:srgbClr val="FFFF00"/>
                </a:solidFill>
              </a:rPr>
              <a:t>BOLD (Blood Oxygenation Level Dependent) f-MRI </a:t>
            </a:r>
          </a:p>
        </p:txBody>
      </p:sp>
      <p:grpSp>
        <p:nvGrpSpPr>
          <p:cNvPr id="241666" name="Group 4"/>
          <p:cNvGrpSpPr>
            <a:grpSpLocks/>
          </p:cNvGrpSpPr>
          <p:nvPr/>
        </p:nvGrpSpPr>
        <p:grpSpPr bwMode="auto">
          <a:xfrm>
            <a:off x="0" y="714375"/>
            <a:ext cx="9144000" cy="6045200"/>
            <a:chOff x="-103" y="709"/>
            <a:chExt cx="5523" cy="3814"/>
          </a:xfrm>
        </p:grpSpPr>
        <p:sp>
          <p:nvSpPr>
            <p:cNvPr id="241667" name="Rectangle 5"/>
            <p:cNvSpPr>
              <a:spLocks noChangeArrowheads="1"/>
            </p:cNvSpPr>
            <p:nvPr/>
          </p:nvSpPr>
          <p:spPr bwMode="auto">
            <a:xfrm>
              <a:off x="-103" y="709"/>
              <a:ext cx="5523" cy="3611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  <p:pic>
          <p:nvPicPr>
            <p:cNvPr id="241668" name="Picture 6" descr="fmriactive1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" y="816"/>
              <a:ext cx="1680" cy="1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1669" name="Picture 7" descr="fmriactive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8" y="816"/>
              <a:ext cx="1680" cy="15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1670" name="Text Box 8"/>
            <p:cNvSpPr txBox="1">
              <a:spLocks noChangeArrowheads="1"/>
            </p:cNvSpPr>
            <p:nvPr/>
          </p:nvSpPr>
          <p:spPr bwMode="auto">
            <a:xfrm>
              <a:off x="896" y="2400"/>
              <a:ext cx="1344" cy="2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spcBef>
                  <a:spcPct val="50000"/>
                </a:spcBef>
                <a:buFontTx/>
                <a:buNone/>
              </a:pPr>
              <a:r>
                <a:rPr lang="en-US" sz="2400">
                  <a:solidFill>
                    <a:srgbClr val="000000"/>
                  </a:solidFill>
                  <a:latin typeface="Comic Sans MS" pitchFamily="66" charset="0"/>
                </a:rPr>
                <a:t>Resting state</a:t>
              </a:r>
            </a:p>
          </p:txBody>
        </p:sp>
        <p:sp>
          <p:nvSpPr>
            <p:cNvPr id="241671" name="Text Box 9"/>
            <p:cNvSpPr txBox="1">
              <a:spLocks noChangeArrowheads="1"/>
            </p:cNvSpPr>
            <p:nvPr/>
          </p:nvSpPr>
          <p:spPr bwMode="auto">
            <a:xfrm>
              <a:off x="3499" y="2400"/>
              <a:ext cx="1296" cy="2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800">
                  <a:solidFill>
                    <a:srgbClr val="FF6600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spcBef>
                  <a:spcPct val="50000"/>
                </a:spcBef>
                <a:buFontTx/>
                <a:buNone/>
              </a:pPr>
              <a:r>
                <a:rPr lang="en-US" sz="2400">
                  <a:solidFill>
                    <a:srgbClr val="000000"/>
                  </a:solidFill>
                  <a:latin typeface="Comic Sans MS" pitchFamily="66" charset="0"/>
                </a:rPr>
                <a:t>Active state</a:t>
              </a:r>
            </a:p>
          </p:txBody>
        </p:sp>
        <p:sp>
          <p:nvSpPr>
            <p:cNvPr id="241672" name="Rectangle 10"/>
            <p:cNvSpPr>
              <a:spLocks noChangeArrowheads="1"/>
            </p:cNvSpPr>
            <p:nvPr/>
          </p:nvSpPr>
          <p:spPr bwMode="auto">
            <a:xfrm>
              <a:off x="703" y="2795"/>
              <a:ext cx="4264" cy="17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lvl="1" algn="l">
                <a:buFontTx/>
                <a:buNone/>
              </a:pPr>
              <a:r>
                <a:rPr lang="en-GB" sz="2000">
                  <a:solidFill>
                    <a:srgbClr val="000099"/>
                  </a:solidFill>
                </a:rPr>
                <a:t>Reflection of increase in cerebral blood flow (signal increase) during the performance of an activation paradigm (visual stimulation, motor activity, cognitive test) </a:t>
              </a:r>
            </a:p>
            <a:p>
              <a:pPr lvl="1" algn="l">
                <a:buFontTx/>
                <a:buNone/>
              </a:pPr>
              <a:endParaRPr lang="en-GB" sz="2000">
                <a:solidFill>
                  <a:srgbClr val="000099"/>
                </a:solidFill>
              </a:endParaRPr>
            </a:p>
            <a:p>
              <a:pPr lvl="1" algn="l">
                <a:buFontTx/>
                <a:buNone/>
              </a:pPr>
              <a:r>
                <a:rPr lang="en-GB" sz="2000">
                  <a:solidFill>
                    <a:srgbClr val="000099"/>
                  </a:solidFill>
                </a:rPr>
                <a:t>Net result of the ratio between Hb (diamagnetic) and deoxy-Hb (paramagnetic)</a:t>
              </a:r>
            </a:p>
            <a:p>
              <a:pPr lvl="1" algn="l">
                <a:buFontTx/>
                <a:buNone/>
              </a:pPr>
              <a:endParaRPr lang="en-GB" sz="2000">
                <a:solidFill>
                  <a:srgbClr val="000099"/>
                </a:solidFill>
              </a:endParaRPr>
            </a:p>
          </p:txBody>
        </p:sp>
        <p:sp>
          <p:nvSpPr>
            <p:cNvPr id="241673" name="Rectangle 11"/>
            <p:cNvSpPr>
              <a:spLocks noChangeArrowheads="1"/>
            </p:cNvSpPr>
            <p:nvPr/>
          </p:nvSpPr>
          <p:spPr bwMode="auto">
            <a:xfrm>
              <a:off x="476" y="845"/>
              <a:ext cx="576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>
                <a:buFontTx/>
                <a:buNone/>
              </a:pPr>
              <a:endParaRPr lang="en-GB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689" name="Rectangle 7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00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242690" name="Picture 2" descr="druguplrn2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79" t="49327" r="13721"/>
          <a:stretch>
            <a:fillRect/>
          </a:stretch>
        </p:blipFill>
        <p:spPr bwMode="auto">
          <a:xfrm>
            <a:off x="4643438" y="1773238"/>
            <a:ext cx="4133850" cy="3167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2691" name="Picture 3" descr="placeboenc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64" t="49815" r="10028" b="1953"/>
          <a:stretch>
            <a:fillRect/>
          </a:stretch>
        </p:blipFill>
        <p:spPr bwMode="auto">
          <a:xfrm>
            <a:off x="323850" y="1773238"/>
            <a:ext cx="4132263" cy="314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2692" name="Rectangle 4"/>
          <p:cNvSpPr>
            <a:spLocks noChangeArrowheads="1"/>
          </p:cNvSpPr>
          <p:nvPr/>
        </p:nvSpPr>
        <p:spPr bwMode="auto">
          <a:xfrm>
            <a:off x="179388" y="404813"/>
            <a:ext cx="7321550" cy="1039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buFontTx/>
              <a:buNone/>
            </a:pPr>
            <a:r>
              <a:rPr lang="en-GB" b="1">
                <a:solidFill>
                  <a:srgbClr val="FFFF00"/>
                </a:solidFill>
              </a:rPr>
              <a:t>Scopolamine effects on learning network</a:t>
            </a:r>
          </a:p>
          <a:p>
            <a:pPr>
              <a:buFontTx/>
              <a:buNone/>
            </a:pPr>
            <a:r>
              <a:rPr lang="en-GB" b="1">
                <a:solidFill>
                  <a:srgbClr val="FFFF00"/>
                </a:solidFill>
              </a:rPr>
              <a:t>(Similar results after sleep deprivation)</a:t>
            </a:r>
          </a:p>
        </p:txBody>
      </p:sp>
      <p:sp>
        <p:nvSpPr>
          <p:cNvPr id="242693" name="Rectangle 5"/>
          <p:cNvSpPr>
            <a:spLocks noChangeArrowheads="1"/>
          </p:cNvSpPr>
          <p:nvPr/>
        </p:nvSpPr>
        <p:spPr bwMode="auto">
          <a:xfrm>
            <a:off x="5276850" y="5084763"/>
            <a:ext cx="304958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buFontTx/>
              <a:buNone/>
            </a:pPr>
            <a:r>
              <a:rPr lang="en-GB" sz="2000">
                <a:solidFill>
                  <a:srgbClr val="FFFF00"/>
                </a:solidFill>
              </a:rPr>
              <a:t>scopolamine (0.4 mg s.c)</a:t>
            </a:r>
          </a:p>
        </p:txBody>
      </p:sp>
      <p:sp>
        <p:nvSpPr>
          <p:cNvPr id="242694" name="Rectangle 6"/>
          <p:cNvSpPr>
            <a:spLocks noChangeArrowheads="1"/>
          </p:cNvSpPr>
          <p:nvPr/>
        </p:nvSpPr>
        <p:spPr bwMode="auto">
          <a:xfrm>
            <a:off x="1908175" y="5084763"/>
            <a:ext cx="1074738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buFontTx/>
              <a:buNone/>
            </a:pPr>
            <a:r>
              <a:rPr lang="en-GB" sz="2000">
                <a:solidFill>
                  <a:srgbClr val="FFFF00"/>
                </a:solidFill>
              </a:rPr>
              <a:t>placebo</a:t>
            </a:r>
          </a:p>
        </p:txBody>
      </p:sp>
      <p:grpSp>
        <p:nvGrpSpPr>
          <p:cNvPr id="242695" name="Group 4"/>
          <p:cNvGrpSpPr>
            <a:grpSpLocks/>
          </p:cNvGrpSpPr>
          <p:nvPr/>
        </p:nvGrpSpPr>
        <p:grpSpPr bwMode="auto">
          <a:xfrm>
            <a:off x="7715250" y="214313"/>
            <a:ext cx="1298575" cy="681037"/>
            <a:chOff x="7500938" y="285728"/>
            <a:chExt cx="1298575" cy="681060"/>
          </a:xfrm>
        </p:grpSpPr>
        <p:pic>
          <p:nvPicPr>
            <p:cNvPr id="242696" name="Picture 64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2396" y="285728"/>
              <a:ext cx="1071590" cy="2823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2697" name="Picture 63" descr="C:\Documents and Settings\KMosley\Local Settings\Temporary Internet Files\Content.IE5\8F8TCVUH\SJMC[1].gif"/>
            <p:cNvPicPr>
              <a:picLocks noChangeAspect="1" noChangeArrowheads="1"/>
            </p:cNvPicPr>
            <p:nvPr/>
          </p:nvPicPr>
          <p:blipFill>
            <a:blip r:embed="rId5" r:link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0938" y="668338"/>
              <a:ext cx="1298575" cy="298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71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25" y="260350"/>
            <a:ext cx="7515225" cy="7143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sz="2800" smtClean="0">
                <a:solidFill>
                  <a:srgbClr val="FFFF00"/>
                </a:solidFill>
                <a:ea typeface="ＭＳ Ｐゴシック" pitchFamily="34" charset="-128"/>
              </a:rPr>
              <a:t>Sustained attention fMRI results in HVs</a:t>
            </a:r>
            <a:endParaRPr lang="en-US" sz="2800" smtClean="0">
              <a:solidFill>
                <a:srgbClr val="FFFF00"/>
              </a:solidFill>
              <a:ea typeface="ＭＳ Ｐゴシック" pitchFamily="34" charset="-128"/>
            </a:endParaRPr>
          </a:p>
        </p:txBody>
      </p:sp>
      <p:pic>
        <p:nvPicPr>
          <p:cNvPr id="243714" name="Picture 3" descr="att_down_placonly_sa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9763" y="1198563"/>
            <a:ext cx="2227262" cy="1833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3715" name="Picture 4" descr="att_down_drugonly_sa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3438" y="1196975"/>
            <a:ext cx="2235200" cy="184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3716" name="Text Box 5"/>
          <p:cNvSpPr txBox="1">
            <a:spLocks noChangeArrowheads="1"/>
          </p:cNvSpPr>
          <p:nvPr/>
        </p:nvSpPr>
        <p:spPr bwMode="auto">
          <a:xfrm>
            <a:off x="2143125" y="3143250"/>
            <a:ext cx="1544638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GB" b="1">
                <a:solidFill>
                  <a:srgbClr val="FFFF00"/>
                </a:solidFill>
              </a:rPr>
              <a:t>placebo</a:t>
            </a:r>
            <a:endParaRPr lang="en-US" b="1">
              <a:solidFill>
                <a:srgbClr val="FFFF00"/>
              </a:solidFill>
            </a:endParaRPr>
          </a:p>
        </p:txBody>
      </p:sp>
      <p:sp>
        <p:nvSpPr>
          <p:cNvPr id="243717" name="Text Box 6"/>
          <p:cNvSpPr txBox="1">
            <a:spLocks noChangeArrowheads="1"/>
          </p:cNvSpPr>
          <p:nvPr/>
        </p:nvSpPr>
        <p:spPr bwMode="auto">
          <a:xfrm>
            <a:off x="5143500" y="3143250"/>
            <a:ext cx="12065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GB" b="1">
                <a:solidFill>
                  <a:srgbClr val="FFFF00"/>
                </a:solidFill>
              </a:rPr>
              <a:t>Drug</a:t>
            </a:r>
            <a:endParaRPr lang="en-US" b="1">
              <a:solidFill>
                <a:srgbClr val="FFFF00"/>
              </a:solidFill>
            </a:endParaRPr>
          </a:p>
        </p:txBody>
      </p:sp>
      <p:pic>
        <p:nvPicPr>
          <p:cNvPr id="243718" name="Picture 9" descr="prop08_fig1"/>
          <p:cNvPicPr>
            <a:picLocks noChangeAspect="1" noChangeArrowheads="1"/>
          </p:cNvPicPr>
          <p:nvPr>
            <p:ph sz="half" idx="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0" y="3857625"/>
            <a:ext cx="5832475" cy="2698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43719" name="Group 4"/>
          <p:cNvGrpSpPr>
            <a:grpSpLocks/>
          </p:cNvGrpSpPr>
          <p:nvPr/>
        </p:nvGrpSpPr>
        <p:grpSpPr bwMode="auto">
          <a:xfrm>
            <a:off x="7715250" y="214313"/>
            <a:ext cx="1298575" cy="681037"/>
            <a:chOff x="7500938" y="285728"/>
            <a:chExt cx="1298575" cy="681060"/>
          </a:xfrm>
        </p:grpSpPr>
        <p:pic>
          <p:nvPicPr>
            <p:cNvPr id="243720" name="Picture 64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2396" y="285728"/>
              <a:ext cx="1071590" cy="2823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3721" name="Picture 63" descr="C:\Documents and Settings\KMosley\Local Settings\Temporary Internet Files\Content.IE5\8F8TCVUH\SJMC[1].gif"/>
            <p:cNvPicPr>
              <a:picLocks noChangeAspect="1" noChangeArrowheads="1"/>
            </p:cNvPicPr>
            <p:nvPr/>
          </p:nvPicPr>
          <p:blipFill>
            <a:blip r:embed="rId6" r:link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0938" y="668338"/>
              <a:ext cx="1298575" cy="298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737" name="Rectangle 5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00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buFontTx/>
              <a:buNone/>
            </a:pPr>
            <a:endParaRPr lang="en-GB"/>
          </a:p>
        </p:txBody>
      </p:sp>
      <p:graphicFrame>
        <p:nvGraphicFramePr>
          <p:cNvPr id="244738" name="Object 2"/>
          <p:cNvGraphicFramePr>
            <a:graphicFrameLocks noChangeAspect="1"/>
          </p:cNvGraphicFramePr>
          <p:nvPr/>
        </p:nvGraphicFramePr>
        <p:xfrm>
          <a:off x="1042988" y="1412875"/>
          <a:ext cx="4968875" cy="3413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44" name="PhotoSuite Image" r:id="rId3" imgW="3048000" imgH="2286000" progId="PhotoSuite Image">
                  <p:embed/>
                </p:oleObj>
              </mc:Choice>
              <mc:Fallback>
                <p:oleObj name="PhotoSuite Image" r:id="rId3" imgW="3048000" imgH="2286000" progId="PhotoSuite Image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lum bright="18000" contrast="12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42988" y="1412875"/>
                        <a:ext cx="4968875" cy="34131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>
                                  <a:alpha val="74997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4739" name="Rectangle 3"/>
          <p:cNvSpPr>
            <a:spLocks noChangeArrowheads="1"/>
          </p:cNvSpPr>
          <p:nvPr/>
        </p:nvSpPr>
        <p:spPr bwMode="auto">
          <a:xfrm>
            <a:off x="835025" y="260350"/>
            <a:ext cx="4849813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buFontTx/>
              <a:buNone/>
            </a:pPr>
            <a:r>
              <a:rPr lang="en-GB" b="1">
                <a:solidFill>
                  <a:srgbClr val="FFFF00"/>
                </a:solidFill>
              </a:rPr>
              <a:t>Animal MR Imaging System</a:t>
            </a:r>
          </a:p>
        </p:txBody>
      </p:sp>
      <p:graphicFrame>
        <p:nvGraphicFramePr>
          <p:cNvPr id="244740" name="Object 3"/>
          <p:cNvGraphicFramePr>
            <a:graphicFrameLocks noGrp="1" noChangeAspect="1"/>
          </p:cNvGraphicFramePr>
          <p:nvPr>
            <p:ph/>
          </p:nvPr>
        </p:nvGraphicFramePr>
        <p:xfrm>
          <a:off x="5651500" y="4365625"/>
          <a:ext cx="3048000" cy="2286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45" name="PhotoSuite Image" r:id="rId5" imgW="3048000" imgH="2286000" progId="PhotoSuite Image">
                  <p:embed/>
                </p:oleObj>
              </mc:Choice>
              <mc:Fallback>
                <p:oleObj name="PhotoSuite Image" r:id="rId5" imgW="3048000" imgH="2286000" progId="PhotoSuite Image">
                  <p:embed/>
                  <p:pic>
                    <p:nvPicPr>
                      <p:cNvPr id="0" name="Object 3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6316" t="39297"/>
                      <a:stretch>
                        <a:fillRect/>
                      </a:stretch>
                    </p:blipFill>
                    <p:spPr bwMode="auto">
                      <a:xfrm>
                        <a:off x="5651500" y="4365625"/>
                        <a:ext cx="3048000" cy="2286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>
                                  <a:alpha val="74997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44741" name="Group 4"/>
          <p:cNvGrpSpPr>
            <a:grpSpLocks/>
          </p:cNvGrpSpPr>
          <p:nvPr/>
        </p:nvGrpSpPr>
        <p:grpSpPr bwMode="auto">
          <a:xfrm>
            <a:off x="7715250" y="214313"/>
            <a:ext cx="1298575" cy="681037"/>
            <a:chOff x="7500938" y="285728"/>
            <a:chExt cx="1298575" cy="681060"/>
          </a:xfrm>
        </p:grpSpPr>
        <p:pic>
          <p:nvPicPr>
            <p:cNvPr id="244742" name="Picture 64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2396" y="285728"/>
              <a:ext cx="1071590" cy="2823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4743" name="Picture 63" descr="C:\Documents and Settings\KMosley\Local Settings\Temporary Internet Files\Content.IE5\8F8TCVUH\SJMC[1].gif"/>
            <p:cNvPicPr>
              <a:picLocks noChangeAspect="1" noChangeArrowheads="1"/>
            </p:cNvPicPr>
            <p:nvPr/>
          </p:nvPicPr>
          <p:blipFill>
            <a:blip r:embed="rId8" r:link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0938" y="668338"/>
              <a:ext cx="1298575" cy="298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61" name="Rectangle 17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buFontTx/>
              <a:buNone/>
            </a:pPr>
            <a:endParaRPr lang="en-GB"/>
          </a:p>
        </p:txBody>
      </p:sp>
      <p:pic>
        <p:nvPicPr>
          <p:cNvPr id="2457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00" r="15370"/>
          <a:stretch>
            <a:fillRect/>
          </a:stretch>
        </p:blipFill>
        <p:spPr bwMode="auto">
          <a:xfrm>
            <a:off x="250825" y="1268413"/>
            <a:ext cx="6408738" cy="511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76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951" t="54272" r="21201" b="20947"/>
          <a:stretch>
            <a:fillRect/>
          </a:stretch>
        </p:blipFill>
        <p:spPr bwMode="auto">
          <a:xfrm>
            <a:off x="6948488" y="1125538"/>
            <a:ext cx="1727200" cy="1655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764" name="Rectangle 4"/>
          <p:cNvSpPr>
            <a:spLocks noChangeArrowheads="1"/>
          </p:cNvSpPr>
          <p:nvPr/>
        </p:nvSpPr>
        <p:spPr bwMode="auto">
          <a:xfrm>
            <a:off x="6516688" y="2868613"/>
            <a:ext cx="287337" cy="215900"/>
          </a:xfrm>
          <a:prstGeom prst="rect">
            <a:avLst/>
          </a:prstGeom>
          <a:solidFill>
            <a:srgbClr val="CC33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buFontTx/>
              <a:buNone/>
            </a:pPr>
            <a:endParaRPr lang="en-GB"/>
          </a:p>
        </p:txBody>
      </p:sp>
      <p:sp>
        <p:nvSpPr>
          <p:cNvPr id="245765" name="Text Box 5"/>
          <p:cNvSpPr txBox="1">
            <a:spLocks noChangeArrowheads="1"/>
          </p:cNvSpPr>
          <p:nvPr/>
        </p:nvSpPr>
        <p:spPr bwMode="auto">
          <a:xfrm>
            <a:off x="6927850" y="2768600"/>
            <a:ext cx="1939925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GB" sz="1600">
                <a:solidFill>
                  <a:srgbClr val="E88A00"/>
                </a:solidFill>
              </a:rPr>
              <a:t>+ve correlation with</a:t>
            </a:r>
          </a:p>
          <a:p>
            <a:pPr algn="l">
              <a:spcBef>
                <a:spcPct val="0"/>
              </a:spcBef>
              <a:buFontTx/>
              <a:buNone/>
            </a:pPr>
            <a:r>
              <a:rPr lang="en-GB" sz="1600">
                <a:solidFill>
                  <a:srgbClr val="E88A00"/>
                </a:solidFill>
              </a:rPr>
              <a:t>exposure</a:t>
            </a:r>
          </a:p>
        </p:txBody>
      </p:sp>
      <p:sp>
        <p:nvSpPr>
          <p:cNvPr id="245766" name="Rectangle 6"/>
          <p:cNvSpPr>
            <a:spLocks noChangeArrowheads="1"/>
          </p:cNvSpPr>
          <p:nvPr/>
        </p:nvSpPr>
        <p:spPr bwMode="auto">
          <a:xfrm>
            <a:off x="6516688" y="3517900"/>
            <a:ext cx="287337" cy="2159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buFontTx/>
              <a:buNone/>
            </a:pPr>
            <a:endParaRPr lang="en-GB"/>
          </a:p>
        </p:txBody>
      </p:sp>
      <p:sp>
        <p:nvSpPr>
          <p:cNvPr id="245767" name="Text Box 7"/>
          <p:cNvSpPr txBox="1">
            <a:spLocks noChangeArrowheads="1"/>
          </p:cNvSpPr>
          <p:nvPr/>
        </p:nvSpPr>
        <p:spPr bwMode="auto">
          <a:xfrm>
            <a:off x="6948488" y="3416300"/>
            <a:ext cx="1889125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GB" sz="1600">
                <a:solidFill>
                  <a:srgbClr val="E88A00"/>
                </a:solidFill>
              </a:rPr>
              <a:t>-ve correlation with</a:t>
            </a:r>
          </a:p>
          <a:p>
            <a:pPr algn="l">
              <a:spcBef>
                <a:spcPct val="0"/>
              </a:spcBef>
              <a:buFontTx/>
              <a:buNone/>
            </a:pPr>
            <a:r>
              <a:rPr lang="en-GB" sz="1600">
                <a:solidFill>
                  <a:srgbClr val="E88A00"/>
                </a:solidFill>
              </a:rPr>
              <a:t>exposure</a:t>
            </a:r>
          </a:p>
        </p:txBody>
      </p:sp>
      <p:sp>
        <p:nvSpPr>
          <p:cNvPr id="245768" name="Line 8"/>
          <p:cNvSpPr>
            <a:spLocks noChangeShapeType="1"/>
          </p:cNvSpPr>
          <p:nvPr/>
        </p:nvSpPr>
        <p:spPr bwMode="auto">
          <a:xfrm flipH="1">
            <a:off x="5724525" y="5805488"/>
            <a:ext cx="935038" cy="71437"/>
          </a:xfrm>
          <a:prstGeom prst="line">
            <a:avLst/>
          </a:prstGeom>
          <a:noFill/>
          <a:ln w="9525">
            <a:solidFill>
              <a:srgbClr val="CC33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5769" name="Text Box 9"/>
          <p:cNvSpPr txBox="1">
            <a:spLocks noChangeArrowheads="1"/>
          </p:cNvSpPr>
          <p:nvPr/>
        </p:nvSpPr>
        <p:spPr bwMode="auto">
          <a:xfrm>
            <a:off x="6659563" y="5589588"/>
            <a:ext cx="20637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GB" sz="2000">
                <a:solidFill>
                  <a:srgbClr val="E88A00"/>
                </a:solidFill>
              </a:rPr>
              <a:t>Prefrontal cortex</a:t>
            </a:r>
          </a:p>
        </p:txBody>
      </p:sp>
      <p:sp>
        <p:nvSpPr>
          <p:cNvPr id="245770" name="Line 10"/>
          <p:cNvSpPr>
            <a:spLocks noChangeShapeType="1"/>
          </p:cNvSpPr>
          <p:nvPr/>
        </p:nvSpPr>
        <p:spPr bwMode="auto">
          <a:xfrm flipH="1" flipV="1">
            <a:off x="5867400" y="5013325"/>
            <a:ext cx="792163" cy="287338"/>
          </a:xfrm>
          <a:prstGeom prst="line">
            <a:avLst/>
          </a:prstGeom>
          <a:noFill/>
          <a:ln w="9525">
            <a:solidFill>
              <a:srgbClr val="CC33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5771" name="Text Box 11"/>
          <p:cNvSpPr txBox="1">
            <a:spLocks noChangeArrowheads="1"/>
          </p:cNvSpPr>
          <p:nvPr/>
        </p:nvSpPr>
        <p:spPr bwMode="auto">
          <a:xfrm>
            <a:off x="6659563" y="5157788"/>
            <a:ext cx="1138237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GB" sz="2000">
                <a:solidFill>
                  <a:srgbClr val="E88A00"/>
                </a:solidFill>
              </a:rPr>
              <a:t>Striatum</a:t>
            </a:r>
          </a:p>
        </p:txBody>
      </p:sp>
      <p:sp>
        <p:nvSpPr>
          <p:cNvPr id="245772" name="Line 12"/>
          <p:cNvSpPr>
            <a:spLocks noChangeShapeType="1"/>
          </p:cNvSpPr>
          <p:nvPr/>
        </p:nvSpPr>
        <p:spPr bwMode="auto">
          <a:xfrm>
            <a:off x="4067175" y="4005263"/>
            <a:ext cx="2520950" cy="360362"/>
          </a:xfrm>
          <a:prstGeom prst="line">
            <a:avLst/>
          </a:prstGeom>
          <a:noFill/>
          <a:ln w="9525">
            <a:solidFill>
              <a:srgbClr val="CC3300"/>
            </a:solidFill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5773" name="Text Box 13"/>
          <p:cNvSpPr txBox="1">
            <a:spLocks noChangeArrowheads="1"/>
          </p:cNvSpPr>
          <p:nvPr/>
        </p:nvSpPr>
        <p:spPr bwMode="auto">
          <a:xfrm>
            <a:off x="6696075" y="4184650"/>
            <a:ext cx="175418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GB" sz="2000">
                <a:solidFill>
                  <a:srgbClr val="E88A00"/>
                </a:solidFill>
              </a:rPr>
              <a:t>Hippocampus</a:t>
            </a:r>
          </a:p>
        </p:txBody>
      </p:sp>
      <p:sp>
        <p:nvSpPr>
          <p:cNvPr id="245774" name="Line 15"/>
          <p:cNvSpPr>
            <a:spLocks noChangeShapeType="1"/>
          </p:cNvSpPr>
          <p:nvPr/>
        </p:nvSpPr>
        <p:spPr bwMode="auto">
          <a:xfrm>
            <a:off x="4067175" y="4076700"/>
            <a:ext cx="2520950" cy="792163"/>
          </a:xfrm>
          <a:prstGeom prst="line">
            <a:avLst/>
          </a:prstGeom>
          <a:noFill/>
          <a:ln w="9525">
            <a:solidFill>
              <a:srgbClr val="CC3300"/>
            </a:solidFill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5775" name="Text Box 16"/>
          <p:cNvSpPr txBox="1">
            <a:spLocks noChangeArrowheads="1"/>
          </p:cNvSpPr>
          <p:nvPr/>
        </p:nvSpPr>
        <p:spPr bwMode="auto">
          <a:xfrm>
            <a:off x="6659563" y="4724400"/>
            <a:ext cx="131127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GB" sz="2000">
                <a:solidFill>
                  <a:srgbClr val="E88A00"/>
                </a:solidFill>
              </a:rPr>
              <a:t>Thalamus</a:t>
            </a:r>
          </a:p>
        </p:txBody>
      </p:sp>
      <p:sp>
        <p:nvSpPr>
          <p:cNvPr id="245776" name="Rectangle 17"/>
          <p:cNvSpPr>
            <a:spLocks noChangeArrowheads="1"/>
          </p:cNvSpPr>
          <p:nvPr/>
        </p:nvSpPr>
        <p:spPr bwMode="auto">
          <a:xfrm>
            <a:off x="250825" y="260350"/>
            <a:ext cx="7740650" cy="63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r>
              <a:rPr lang="en-GB" b="1">
                <a:solidFill>
                  <a:srgbClr val="333399"/>
                </a:solidFill>
              </a:rPr>
              <a:t>Rat pharmaco fMRI </a:t>
            </a:r>
          </a:p>
        </p:txBody>
      </p:sp>
      <p:grpSp>
        <p:nvGrpSpPr>
          <p:cNvPr id="245777" name="Group 4"/>
          <p:cNvGrpSpPr>
            <a:grpSpLocks/>
          </p:cNvGrpSpPr>
          <p:nvPr/>
        </p:nvGrpSpPr>
        <p:grpSpPr bwMode="auto">
          <a:xfrm>
            <a:off x="7715250" y="214313"/>
            <a:ext cx="1298575" cy="681037"/>
            <a:chOff x="7500938" y="285728"/>
            <a:chExt cx="1298575" cy="681060"/>
          </a:xfrm>
        </p:grpSpPr>
        <p:pic>
          <p:nvPicPr>
            <p:cNvPr id="245778" name="Picture 64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2396" y="285728"/>
              <a:ext cx="1071590" cy="2823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5779" name="Picture 63" descr="C:\Documents and Settings\KMosley\Local Settings\Temporary Internet Files\Content.IE5\8F8TCVUH\SJMC[1].gif"/>
            <p:cNvPicPr>
              <a:picLocks noChangeAspect="1" noChangeArrowheads="1"/>
            </p:cNvPicPr>
            <p:nvPr/>
          </p:nvPicPr>
          <p:blipFill>
            <a:blip r:embed="rId5" r:link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0938" y="668338"/>
              <a:ext cx="1298575" cy="298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785" name="Rectangle 9"/>
          <p:cNvSpPr>
            <a:spLocks noChangeArrowheads="1"/>
          </p:cNvSpPr>
          <p:nvPr/>
        </p:nvSpPr>
        <p:spPr bwMode="auto">
          <a:xfrm>
            <a:off x="0" y="1341438"/>
            <a:ext cx="360363" cy="2873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l">
              <a:spcBef>
                <a:spcPct val="0"/>
              </a:spcBef>
              <a:buFontTx/>
              <a:buNone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9227" name="Rectangle 11"/>
          <p:cNvSpPr>
            <a:spLocks noChangeArrowheads="1"/>
          </p:cNvSpPr>
          <p:nvPr/>
        </p:nvSpPr>
        <p:spPr bwMode="auto">
          <a:xfrm>
            <a:off x="785813" y="4562475"/>
            <a:ext cx="8215312" cy="263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457200" indent="-457200" algn="l">
              <a:lnSpc>
                <a:spcPct val="120000"/>
              </a:lnSpc>
              <a:spcBef>
                <a:spcPct val="0"/>
              </a:spcBef>
              <a:buClr>
                <a:srgbClr val="FFCC00"/>
              </a:buClr>
              <a:buFontTx/>
              <a:buNone/>
              <a:defRPr/>
            </a:pPr>
            <a:r>
              <a:rPr lang="en-GB" sz="1800" b="1" u="sng" dirty="0">
                <a:solidFill>
                  <a:srgbClr val="003399"/>
                </a:solidFill>
                <a:ea typeface="ＭＳ Ｐゴシック" charset="0"/>
              </a:rPr>
              <a:t>Marker Features</a:t>
            </a:r>
          </a:p>
          <a:p>
            <a:pPr marL="774900" indent="-342900" algn="l">
              <a:spcBef>
                <a:spcPct val="0"/>
              </a:spcBef>
              <a:buClr>
                <a:srgbClr val="3333CC"/>
              </a:buClr>
              <a:buFontTx/>
              <a:buNone/>
              <a:defRPr/>
            </a:pPr>
            <a:r>
              <a:rPr lang="en-US" sz="1800" dirty="0">
                <a:solidFill>
                  <a:srgbClr val="FF3300"/>
                </a:solidFill>
                <a:ea typeface="ＭＳ Ｐゴシック" charset="0"/>
              </a:rPr>
              <a:t>Specificity</a:t>
            </a:r>
          </a:p>
          <a:p>
            <a:pPr marL="774900" indent="-342900" algn="l">
              <a:spcBef>
                <a:spcPct val="0"/>
              </a:spcBef>
              <a:buClr>
                <a:srgbClr val="3333CC"/>
              </a:buClr>
              <a:buFontTx/>
              <a:buNone/>
              <a:defRPr/>
            </a:pPr>
            <a:r>
              <a:rPr lang="en-US" sz="1800" dirty="0">
                <a:solidFill>
                  <a:srgbClr val="FF3300"/>
                </a:solidFill>
                <a:ea typeface="ＭＳ Ｐゴシック" charset="0"/>
              </a:rPr>
              <a:t>Sensitivity</a:t>
            </a:r>
          </a:p>
          <a:p>
            <a:pPr marL="774900" indent="-342900" algn="l">
              <a:spcBef>
                <a:spcPct val="0"/>
              </a:spcBef>
              <a:buClr>
                <a:srgbClr val="3333CC"/>
              </a:buClr>
              <a:buFontTx/>
              <a:buNone/>
              <a:defRPr/>
            </a:pPr>
            <a:r>
              <a:rPr lang="en-US" sz="1600" dirty="0">
                <a:solidFill>
                  <a:srgbClr val="003399"/>
                </a:solidFill>
                <a:ea typeface="ＭＳ Ｐゴシック" charset="0"/>
              </a:rPr>
              <a:t>Positive and negative predictive value</a:t>
            </a:r>
          </a:p>
          <a:p>
            <a:pPr marL="774900" indent="-342900" algn="l">
              <a:spcBef>
                <a:spcPct val="0"/>
              </a:spcBef>
              <a:buClr>
                <a:srgbClr val="3333CC"/>
              </a:buClr>
              <a:buFontTx/>
              <a:buNone/>
              <a:defRPr/>
            </a:pPr>
            <a:r>
              <a:rPr lang="en-US" sz="1600" dirty="0" err="1">
                <a:solidFill>
                  <a:srgbClr val="003399"/>
                </a:solidFill>
                <a:ea typeface="ＭＳ Ｐゴシック" charset="0"/>
              </a:rPr>
              <a:t>Discriminant</a:t>
            </a:r>
            <a:r>
              <a:rPr lang="en-US" sz="1600" dirty="0">
                <a:solidFill>
                  <a:srgbClr val="003399"/>
                </a:solidFill>
                <a:ea typeface="ＭＳ Ｐゴシック" charset="0"/>
              </a:rPr>
              <a:t> validity</a:t>
            </a:r>
          </a:p>
          <a:p>
            <a:pPr marL="774900" indent="-342900" algn="l">
              <a:spcBef>
                <a:spcPct val="0"/>
              </a:spcBef>
              <a:buClr>
                <a:srgbClr val="3333CC"/>
              </a:buClr>
              <a:buFontTx/>
              <a:buNone/>
              <a:defRPr/>
            </a:pPr>
            <a:r>
              <a:rPr lang="en-US" sz="1600" dirty="0">
                <a:solidFill>
                  <a:srgbClr val="003399"/>
                </a:solidFill>
                <a:ea typeface="ＭＳ Ｐゴシック" charset="0"/>
              </a:rPr>
              <a:t>Sensitivity to change</a:t>
            </a:r>
          </a:p>
          <a:p>
            <a:pPr marL="774900" indent="-342900" algn="l">
              <a:spcBef>
                <a:spcPct val="0"/>
              </a:spcBef>
              <a:buClr>
                <a:srgbClr val="3333CC"/>
              </a:buClr>
              <a:buFontTx/>
              <a:buNone/>
              <a:defRPr/>
            </a:pPr>
            <a:r>
              <a:rPr lang="en-US" sz="1600" dirty="0">
                <a:solidFill>
                  <a:srgbClr val="003399"/>
                </a:solidFill>
                <a:ea typeface="ＭＳ Ｐゴシック" charset="0"/>
              </a:rPr>
              <a:t>Sensitivity to treatment difference Accuracy </a:t>
            </a:r>
          </a:p>
          <a:p>
            <a:pPr marL="774900" indent="-342900" algn="l">
              <a:spcBef>
                <a:spcPct val="0"/>
              </a:spcBef>
              <a:buClr>
                <a:srgbClr val="3333CC"/>
              </a:buClr>
              <a:buFontTx/>
              <a:buNone/>
              <a:defRPr/>
            </a:pPr>
            <a:r>
              <a:rPr lang="en-US" sz="1600" dirty="0">
                <a:solidFill>
                  <a:srgbClr val="003399"/>
                </a:solidFill>
                <a:ea typeface="ＭＳ Ｐゴシック" charset="0"/>
              </a:rPr>
              <a:t>Likelihood ratio of a positive and negative results</a:t>
            </a:r>
            <a:endParaRPr lang="en-US" sz="1600" b="1" dirty="0">
              <a:solidFill>
                <a:srgbClr val="FF9933"/>
              </a:solidFill>
              <a:ea typeface="ＭＳ Ｐゴシック" charset="0"/>
            </a:endParaRPr>
          </a:p>
          <a:p>
            <a:pPr marL="457200" indent="-457200" algn="l">
              <a:lnSpc>
                <a:spcPct val="120000"/>
              </a:lnSpc>
              <a:spcBef>
                <a:spcPct val="0"/>
              </a:spcBef>
              <a:buClr>
                <a:srgbClr val="FFCC00"/>
              </a:buClr>
              <a:buFontTx/>
              <a:buNone/>
              <a:defRPr/>
            </a:pPr>
            <a:endParaRPr lang="en-US" dirty="0">
              <a:solidFill>
                <a:srgbClr val="FF3300"/>
              </a:solidFill>
              <a:ea typeface="ＭＳ Ｐゴシック" charset="0"/>
            </a:endParaRPr>
          </a:p>
        </p:txBody>
      </p:sp>
      <p:sp>
        <p:nvSpPr>
          <p:cNvPr id="246787" name="Text Box 12"/>
          <p:cNvSpPr txBox="1">
            <a:spLocks noChangeArrowheads="1"/>
          </p:cNvSpPr>
          <p:nvPr/>
        </p:nvSpPr>
        <p:spPr bwMode="auto">
          <a:xfrm>
            <a:off x="395288" y="333375"/>
            <a:ext cx="64897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GB" sz="2400" b="1">
                <a:solidFill>
                  <a:srgbClr val="16165D"/>
                </a:solidFill>
              </a:rPr>
              <a:t>What Markers? A question based approach</a:t>
            </a:r>
          </a:p>
        </p:txBody>
      </p:sp>
      <p:sp>
        <p:nvSpPr>
          <p:cNvPr id="246788" name="Oval 15"/>
          <p:cNvSpPr>
            <a:spLocks noChangeArrowheads="1"/>
          </p:cNvSpPr>
          <p:nvPr/>
        </p:nvSpPr>
        <p:spPr bwMode="auto">
          <a:xfrm>
            <a:off x="1476375" y="2133600"/>
            <a:ext cx="1655763" cy="69215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r>
              <a:rPr lang="en-GB" b="1">
                <a:solidFill>
                  <a:srgbClr val="000000"/>
                </a:solidFill>
              </a:rPr>
              <a:t>Healthy</a:t>
            </a:r>
          </a:p>
        </p:txBody>
      </p:sp>
      <p:sp>
        <p:nvSpPr>
          <p:cNvPr id="246789" name="Oval 17"/>
          <p:cNvSpPr>
            <a:spLocks noChangeArrowheads="1"/>
          </p:cNvSpPr>
          <p:nvPr/>
        </p:nvSpPr>
        <p:spPr bwMode="auto">
          <a:xfrm>
            <a:off x="6227763" y="2060575"/>
            <a:ext cx="1655762" cy="69215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r>
              <a:rPr lang="en-GB" b="1">
                <a:solidFill>
                  <a:srgbClr val="000000"/>
                </a:solidFill>
              </a:rPr>
              <a:t>Patient</a:t>
            </a:r>
          </a:p>
        </p:txBody>
      </p:sp>
      <p:sp>
        <p:nvSpPr>
          <p:cNvPr id="246790" name="AutoShape 18"/>
          <p:cNvSpPr>
            <a:spLocks noChangeArrowheads="1"/>
          </p:cNvSpPr>
          <p:nvPr/>
        </p:nvSpPr>
        <p:spPr bwMode="auto">
          <a:xfrm>
            <a:off x="3419475" y="2278063"/>
            <a:ext cx="2663825" cy="360362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lnTo>
                  <a:pt x="16200" y="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lnTo>
                  <a:pt x="135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lnTo>
                  <a:pt x="0" y="5400"/>
                </a:lnTo>
                <a:close/>
              </a:path>
            </a:pathLst>
          </a:custGeom>
          <a:solidFill>
            <a:srgbClr val="CC33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246791" name="AutoShape 31"/>
          <p:cNvSpPr>
            <a:spLocks noChangeArrowheads="1"/>
          </p:cNvSpPr>
          <p:nvPr/>
        </p:nvSpPr>
        <p:spPr bwMode="auto">
          <a:xfrm>
            <a:off x="2844800" y="1125538"/>
            <a:ext cx="1081088" cy="1150937"/>
          </a:xfrm>
          <a:prstGeom prst="downArrowCallout">
            <a:avLst>
              <a:gd name="adj1" fmla="val 25000"/>
              <a:gd name="adj2" fmla="val 25000"/>
              <a:gd name="adj3" fmla="val 17743"/>
              <a:gd name="adj4" fmla="val 66667"/>
            </a:avLst>
          </a:prstGeom>
          <a:solidFill>
            <a:srgbClr val="FF7C8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en-GB" sz="1400" b="1">
              <a:solidFill>
                <a:srgbClr val="000000"/>
              </a:solidFill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en-GB" sz="1400" b="1">
                <a:solidFill>
                  <a:srgbClr val="003399"/>
                </a:solidFill>
              </a:rPr>
              <a:t>Disease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GB" sz="1400" b="1">
                <a:solidFill>
                  <a:srgbClr val="003399"/>
                </a:solidFill>
              </a:rPr>
              <a:t>initiating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GB" sz="1400" b="1">
                <a:solidFill>
                  <a:srgbClr val="003399"/>
                </a:solidFill>
              </a:rPr>
              <a:t>event</a:t>
            </a:r>
          </a:p>
          <a:p>
            <a:pPr>
              <a:spcBef>
                <a:spcPct val="0"/>
              </a:spcBef>
              <a:buFontTx/>
              <a:buNone/>
            </a:pPr>
            <a:endParaRPr lang="en-GB">
              <a:solidFill>
                <a:srgbClr val="003399"/>
              </a:solidFill>
            </a:endParaRPr>
          </a:p>
        </p:txBody>
      </p:sp>
      <p:sp>
        <p:nvSpPr>
          <p:cNvPr id="246792" name="Text Box 32"/>
          <p:cNvSpPr txBox="1">
            <a:spLocks noChangeArrowheads="1"/>
          </p:cNvSpPr>
          <p:nvPr/>
        </p:nvSpPr>
        <p:spPr bwMode="auto">
          <a:xfrm>
            <a:off x="1692275" y="3430588"/>
            <a:ext cx="2384425" cy="738187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GB" sz="1400" b="1">
                <a:solidFill>
                  <a:srgbClr val="000000"/>
                </a:solidFill>
              </a:rPr>
              <a:t>Prospective Markers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GB" sz="1400" b="1">
                <a:solidFill>
                  <a:srgbClr val="000000"/>
                </a:solidFill>
              </a:rPr>
              <a:t>in </a:t>
            </a:r>
            <a:r>
              <a:rPr lang="en-GB" altLang="en-US" sz="1400" b="1">
                <a:solidFill>
                  <a:srgbClr val="000000"/>
                </a:solidFill>
              </a:rPr>
              <a:t>‘</a:t>
            </a:r>
            <a:r>
              <a:rPr lang="en-GB" sz="1400" b="1">
                <a:solidFill>
                  <a:srgbClr val="000000"/>
                </a:solidFill>
              </a:rPr>
              <a:t>at risk</a:t>
            </a:r>
            <a:r>
              <a:rPr lang="en-GB" altLang="en-US" sz="1400" b="1">
                <a:solidFill>
                  <a:srgbClr val="000000"/>
                </a:solidFill>
              </a:rPr>
              <a:t>’</a:t>
            </a:r>
            <a:r>
              <a:rPr lang="en-GB" sz="1400" b="1">
                <a:solidFill>
                  <a:srgbClr val="000000"/>
                </a:solidFill>
              </a:rPr>
              <a:t> or susceptible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GB" sz="1400" b="1">
                <a:solidFill>
                  <a:srgbClr val="000000"/>
                </a:solidFill>
              </a:rPr>
              <a:t>individuals</a:t>
            </a:r>
          </a:p>
        </p:txBody>
      </p:sp>
      <p:sp>
        <p:nvSpPr>
          <p:cNvPr id="246793" name="Text Box 33"/>
          <p:cNvSpPr txBox="1">
            <a:spLocks noChangeArrowheads="1"/>
          </p:cNvSpPr>
          <p:nvPr/>
        </p:nvSpPr>
        <p:spPr bwMode="auto">
          <a:xfrm>
            <a:off x="4787900" y="3429000"/>
            <a:ext cx="1511300" cy="739775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GB" sz="1400" b="1">
                <a:solidFill>
                  <a:srgbClr val="000000"/>
                </a:solidFill>
              </a:rPr>
              <a:t>Diagnostic and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GB" sz="1400" b="1">
                <a:solidFill>
                  <a:srgbClr val="000000"/>
                </a:solidFill>
              </a:rPr>
              <a:t>prognostic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GB" sz="1400" b="1">
                <a:solidFill>
                  <a:srgbClr val="000000"/>
                </a:solidFill>
              </a:rPr>
              <a:t>markers</a:t>
            </a:r>
          </a:p>
        </p:txBody>
      </p:sp>
      <p:sp>
        <p:nvSpPr>
          <p:cNvPr id="246794" name="Text Box 35"/>
          <p:cNvSpPr txBox="1">
            <a:spLocks noChangeArrowheads="1"/>
          </p:cNvSpPr>
          <p:nvPr/>
        </p:nvSpPr>
        <p:spPr bwMode="auto">
          <a:xfrm>
            <a:off x="5143500" y="1214438"/>
            <a:ext cx="1219200" cy="738187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GB" sz="1400" b="1">
                <a:solidFill>
                  <a:srgbClr val="000000"/>
                </a:solidFill>
              </a:rPr>
              <a:t>Markers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GB" sz="1400" b="1">
                <a:solidFill>
                  <a:srgbClr val="000000"/>
                </a:solidFill>
              </a:rPr>
              <a:t>of disease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GB" sz="1400" b="1">
                <a:solidFill>
                  <a:srgbClr val="000000"/>
                </a:solidFill>
              </a:rPr>
              <a:t>progression</a:t>
            </a:r>
          </a:p>
        </p:txBody>
      </p:sp>
      <p:sp>
        <p:nvSpPr>
          <p:cNvPr id="246795" name="Line 37"/>
          <p:cNvSpPr>
            <a:spLocks noChangeShapeType="1"/>
          </p:cNvSpPr>
          <p:nvPr/>
        </p:nvSpPr>
        <p:spPr bwMode="auto">
          <a:xfrm flipH="1">
            <a:off x="2714625" y="2643188"/>
            <a:ext cx="793750" cy="714375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6796" name="Line 38"/>
          <p:cNvSpPr>
            <a:spLocks noChangeShapeType="1"/>
          </p:cNvSpPr>
          <p:nvPr/>
        </p:nvSpPr>
        <p:spPr bwMode="auto">
          <a:xfrm>
            <a:off x="4071938" y="2643188"/>
            <a:ext cx="785812" cy="714375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6797" name="Line 39"/>
          <p:cNvSpPr>
            <a:spLocks noChangeShapeType="1"/>
          </p:cNvSpPr>
          <p:nvPr/>
        </p:nvSpPr>
        <p:spPr bwMode="auto">
          <a:xfrm flipH="1" flipV="1">
            <a:off x="6429375" y="1643063"/>
            <a:ext cx="428625" cy="360362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6798" name="Text Box 42"/>
          <p:cNvSpPr txBox="1">
            <a:spLocks noChangeArrowheads="1"/>
          </p:cNvSpPr>
          <p:nvPr/>
        </p:nvSpPr>
        <p:spPr bwMode="auto">
          <a:xfrm>
            <a:off x="7178675" y="1214438"/>
            <a:ext cx="1770063" cy="523875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GB" sz="1400" b="1">
                <a:solidFill>
                  <a:srgbClr val="000000"/>
                </a:solidFill>
              </a:rPr>
              <a:t>Surrogate Markers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GB" sz="1400" b="1">
                <a:solidFill>
                  <a:srgbClr val="000000"/>
                </a:solidFill>
              </a:rPr>
              <a:t>of efficacy</a:t>
            </a:r>
          </a:p>
        </p:txBody>
      </p:sp>
      <p:sp>
        <p:nvSpPr>
          <p:cNvPr id="246799" name="Line 43"/>
          <p:cNvSpPr>
            <a:spLocks noChangeShapeType="1"/>
          </p:cNvSpPr>
          <p:nvPr/>
        </p:nvSpPr>
        <p:spPr bwMode="auto">
          <a:xfrm flipV="1">
            <a:off x="6948488" y="1628775"/>
            <a:ext cx="428625" cy="360363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6800" name="Line 45"/>
          <p:cNvSpPr>
            <a:spLocks noChangeShapeType="1"/>
          </p:cNvSpPr>
          <p:nvPr/>
        </p:nvSpPr>
        <p:spPr bwMode="auto">
          <a:xfrm>
            <a:off x="5643563" y="2643188"/>
            <a:ext cx="1071562" cy="714375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6801" name="Text Box 46"/>
          <p:cNvSpPr txBox="1">
            <a:spLocks noChangeArrowheads="1"/>
          </p:cNvSpPr>
          <p:nvPr/>
        </p:nvSpPr>
        <p:spPr bwMode="auto">
          <a:xfrm>
            <a:off x="6802438" y="3429000"/>
            <a:ext cx="1222375" cy="738188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GB" sz="1400" b="1">
              <a:solidFill>
                <a:srgbClr val="000000"/>
              </a:solidFill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en-GB" sz="1400" b="1">
                <a:solidFill>
                  <a:srgbClr val="000000"/>
                </a:solidFill>
              </a:rPr>
              <a:t>PD Markers </a:t>
            </a:r>
          </a:p>
          <a:p>
            <a:pPr>
              <a:spcBef>
                <a:spcPct val="0"/>
              </a:spcBef>
              <a:buFontTx/>
              <a:buNone/>
            </a:pPr>
            <a:endParaRPr lang="en-GB" sz="1400" b="1">
              <a:solidFill>
                <a:srgbClr val="000000"/>
              </a:solidFill>
            </a:endParaRPr>
          </a:p>
        </p:txBody>
      </p:sp>
      <p:sp>
        <p:nvSpPr>
          <p:cNvPr id="246802" name="Rectangle 18"/>
          <p:cNvSpPr>
            <a:spLocks noChangeArrowheads="1"/>
          </p:cNvSpPr>
          <p:nvPr/>
        </p:nvSpPr>
        <p:spPr bwMode="auto">
          <a:xfrm>
            <a:off x="2786063" y="5000625"/>
            <a:ext cx="54292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774700" indent="-342900" algn="l">
              <a:spcBef>
                <a:spcPct val="0"/>
              </a:spcBef>
              <a:buClr>
                <a:srgbClr val="3333CC"/>
              </a:buClr>
              <a:buFontTx/>
              <a:buNone/>
            </a:pPr>
            <a:endParaRPr lang="en-US" sz="1400" b="1">
              <a:solidFill>
                <a:srgbClr val="FF9933"/>
              </a:solidFill>
            </a:endParaRPr>
          </a:p>
        </p:txBody>
      </p:sp>
      <p:sp>
        <p:nvSpPr>
          <p:cNvPr id="246803" name="Line 43"/>
          <p:cNvSpPr>
            <a:spLocks noChangeShapeType="1"/>
          </p:cNvSpPr>
          <p:nvPr/>
        </p:nvSpPr>
        <p:spPr bwMode="auto">
          <a:xfrm flipV="1">
            <a:off x="4286250" y="1643063"/>
            <a:ext cx="785813" cy="646112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6804" name="Line 51"/>
          <p:cNvSpPr>
            <a:spLocks noChangeShapeType="1"/>
          </p:cNvSpPr>
          <p:nvPr/>
        </p:nvSpPr>
        <p:spPr bwMode="auto">
          <a:xfrm>
            <a:off x="0" y="950913"/>
            <a:ext cx="9144000" cy="0"/>
          </a:xfrm>
          <a:prstGeom prst="line">
            <a:avLst/>
          </a:prstGeom>
          <a:noFill/>
          <a:ln w="38100">
            <a:solidFill>
              <a:srgbClr val="16165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246805" name="Picture 6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60350"/>
            <a:ext cx="1690687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2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2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2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2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92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2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2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2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92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2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922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922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22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22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922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922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7450" y="0"/>
            <a:ext cx="2571750" cy="1143000"/>
          </a:xfrm>
        </p:spPr>
        <p:txBody>
          <a:bodyPr/>
          <a:lstStyle/>
          <a:p>
            <a:pPr>
              <a:defRPr/>
            </a:pPr>
            <a:r>
              <a:rPr lang="en-GB" sz="3200" dirty="0" smtClean="0">
                <a:solidFill>
                  <a:srgbClr val="000090"/>
                </a:solidFill>
                <a:latin typeface="+mn-lt"/>
                <a:ea typeface="+mj-ea"/>
                <a:cs typeface="+mj-cs"/>
              </a:rPr>
              <a:t>Summary</a:t>
            </a:r>
            <a:endParaRPr lang="en-GB" sz="3200" dirty="0">
              <a:solidFill>
                <a:srgbClr val="000090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63491" name="Rectangle 2"/>
          <p:cNvSpPr>
            <a:spLocks noChangeArrowheads="1"/>
          </p:cNvSpPr>
          <p:nvPr/>
        </p:nvSpPr>
        <p:spPr bwMode="auto">
          <a:xfrm>
            <a:off x="7429500" y="0"/>
            <a:ext cx="1714500" cy="10001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defRPr/>
            </a:pPr>
            <a:endParaRPr lang="en-GB">
              <a:latin typeface="Arial" charset="0"/>
              <a:ea typeface="ＭＳ Ｐゴシック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71500" y="1428750"/>
            <a:ext cx="7786688" cy="4648200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 algn="l">
              <a:lnSpc>
                <a:spcPct val="80000"/>
              </a:lnSpc>
              <a:defRPr/>
            </a:pPr>
            <a:endParaRPr lang="en-GB" sz="2000" kern="0" dirty="0">
              <a:solidFill>
                <a:srgbClr val="002060"/>
              </a:solidFill>
              <a:latin typeface="Times New Roman"/>
              <a:ea typeface="ＭＳ Ｐゴシック" charset="0"/>
            </a:endParaRPr>
          </a:p>
          <a:p>
            <a:pPr marL="914400" lvl="1" indent="-457200" algn="l">
              <a:spcBef>
                <a:spcPct val="0"/>
              </a:spcBef>
              <a:defRPr/>
            </a:pPr>
            <a:r>
              <a:rPr lang="en-GB" sz="2000" dirty="0">
                <a:solidFill>
                  <a:srgbClr val="002060"/>
                </a:solidFill>
                <a:latin typeface="Arial"/>
                <a:ea typeface="ＭＳ Ｐゴシック" charset="0"/>
              </a:rPr>
              <a:t>Predicted therapeutic doses are often developed in animal models of diseases, but extrapolation of these findings to human diseases may be invalid </a:t>
            </a:r>
          </a:p>
          <a:p>
            <a:pPr marL="914400" lvl="1" indent="-457200" algn="l">
              <a:spcBef>
                <a:spcPct val="0"/>
              </a:spcBef>
              <a:defRPr/>
            </a:pPr>
            <a:endParaRPr lang="en-GB" sz="2000" kern="0" dirty="0">
              <a:solidFill>
                <a:srgbClr val="002060"/>
              </a:solidFill>
              <a:latin typeface="Arial"/>
              <a:ea typeface="ＭＳ Ｐゴシック" charset="0"/>
            </a:endParaRPr>
          </a:p>
          <a:p>
            <a:pPr marL="914400" lvl="1" indent="-457200" algn="l">
              <a:spcBef>
                <a:spcPct val="0"/>
              </a:spcBef>
              <a:defRPr/>
            </a:pPr>
            <a:r>
              <a:rPr lang="en-GB" sz="2000" kern="0" dirty="0" err="1">
                <a:solidFill>
                  <a:srgbClr val="002060"/>
                </a:solidFill>
                <a:latin typeface="Arial"/>
                <a:ea typeface="ＭＳ Ｐゴシック" charset="0"/>
              </a:rPr>
              <a:t>Pharmacodynamic</a:t>
            </a:r>
            <a:r>
              <a:rPr lang="en-GB" sz="2000" kern="0" dirty="0">
                <a:solidFill>
                  <a:srgbClr val="002060"/>
                </a:solidFill>
                <a:latin typeface="Arial"/>
                <a:ea typeface="ＭＳ Ｐゴシック" charset="0"/>
              </a:rPr>
              <a:t> markers in Phase I clinical trials are important steps toward validation of target pharmacology </a:t>
            </a:r>
          </a:p>
          <a:p>
            <a:pPr marL="914400" lvl="1" indent="-457200" algn="l">
              <a:spcBef>
                <a:spcPct val="0"/>
              </a:spcBef>
              <a:defRPr/>
            </a:pPr>
            <a:endParaRPr lang="en-GB" sz="2000" kern="0" dirty="0">
              <a:solidFill>
                <a:srgbClr val="002060"/>
              </a:solidFill>
              <a:latin typeface="Arial"/>
              <a:ea typeface="ＭＳ Ｐゴシック" charset="0"/>
            </a:endParaRPr>
          </a:p>
          <a:p>
            <a:pPr marL="914400" lvl="1" indent="-457200" algn="l">
              <a:spcBef>
                <a:spcPct val="0"/>
              </a:spcBef>
              <a:defRPr/>
            </a:pPr>
            <a:r>
              <a:rPr lang="en-US" sz="2000" dirty="0">
                <a:solidFill>
                  <a:srgbClr val="002060"/>
                </a:solidFill>
                <a:latin typeface="Arial"/>
                <a:ea typeface="ＭＳ Ｐゴシック" charset="0"/>
              </a:rPr>
              <a:t>Pharmacological activity at selected doses  </a:t>
            </a:r>
            <a:r>
              <a:rPr lang="en-GB" sz="2000" kern="0" dirty="0">
                <a:solidFill>
                  <a:srgbClr val="002060"/>
                </a:solidFill>
                <a:latin typeface="Arial"/>
                <a:ea typeface="ＭＳ Ｐゴシック" charset="0"/>
              </a:rPr>
              <a:t>improves decision making abilities and dose-selection for subsequent studies </a:t>
            </a:r>
          </a:p>
          <a:p>
            <a:pPr marL="914400" lvl="1" indent="-457200" algn="l">
              <a:spcBef>
                <a:spcPct val="0"/>
              </a:spcBef>
              <a:defRPr/>
            </a:pPr>
            <a:endParaRPr lang="en-GB" sz="2000" kern="0" dirty="0">
              <a:solidFill>
                <a:srgbClr val="002060"/>
              </a:solidFill>
              <a:latin typeface="Arial"/>
              <a:ea typeface="ＭＳ Ｐゴシック" charset="0"/>
            </a:endParaRPr>
          </a:p>
          <a:p>
            <a:pPr marL="914400" lvl="1" indent="-457200" algn="l">
              <a:spcBef>
                <a:spcPct val="0"/>
              </a:spcBef>
              <a:defRPr/>
            </a:pPr>
            <a:r>
              <a:rPr lang="en-GB" sz="2000" kern="0" dirty="0">
                <a:solidFill>
                  <a:srgbClr val="002060"/>
                </a:solidFill>
                <a:latin typeface="Arial"/>
                <a:ea typeface="ＭＳ Ｐゴシック" charset="0"/>
              </a:rPr>
              <a:t>Presence of effect on PD markers but subsequent lack of efficacy in POC trial </a:t>
            </a:r>
            <a:r>
              <a:rPr lang="en-US" sz="2000" dirty="0">
                <a:solidFill>
                  <a:srgbClr val="002060"/>
                </a:solidFill>
                <a:latin typeface="Arial"/>
                <a:ea typeface="ＭＳ Ｐゴシック" charset="0"/>
              </a:rPr>
              <a:t>disproves the target hypothesis for moving to further development</a:t>
            </a:r>
          </a:p>
        </p:txBody>
      </p:sp>
      <p:pic>
        <p:nvPicPr>
          <p:cNvPr id="247812" name="Picture 6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60350"/>
            <a:ext cx="1690687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/>
          <p:cNvGraphicFramePr/>
          <p:nvPr/>
        </p:nvGraphicFramePr>
        <p:xfrm>
          <a:off x="1244600" y="1105136"/>
          <a:ext cx="6146800" cy="48723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48834" name="TextBox 21"/>
          <p:cNvSpPr txBox="1">
            <a:spLocks noChangeArrowheads="1"/>
          </p:cNvSpPr>
          <p:nvPr/>
        </p:nvSpPr>
        <p:spPr bwMode="auto">
          <a:xfrm>
            <a:off x="2717800" y="273050"/>
            <a:ext cx="3957638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4572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defTabSz="4572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</a:pPr>
            <a:r>
              <a:rPr lang="en-US" sz="2400" b="1">
                <a:solidFill>
                  <a:srgbClr val="1F497D"/>
                </a:solidFill>
                <a:latin typeface="Calibri" pitchFamily="34" charset="0"/>
              </a:rPr>
              <a:t>MREs in Clinical Research</a:t>
            </a:r>
          </a:p>
        </p:txBody>
      </p:sp>
      <p:sp>
        <p:nvSpPr>
          <p:cNvPr id="15" name="Shape 14"/>
          <p:cNvSpPr/>
          <p:nvPr/>
        </p:nvSpPr>
        <p:spPr>
          <a:xfrm rot="6644115">
            <a:off x="5861475" y="453149"/>
            <a:ext cx="853642" cy="676882"/>
          </a:xfrm>
          <a:prstGeom prst="swooshArrow">
            <a:avLst>
              <a:gd name="adj1" fmla="val 16310"/>
              <a:gd name="adj2" fmla="val 31370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</p:sp>
      <p:sp>
        <p:nvSpPr>
          <p:cNvPr id="20" name="Shape 19"/>
          <p:cNvSpPr/>
          <p:nvPr/>
        </p:nvSpPr>
        <p:spPr>
          <a:xfrm rot="14955885" flipH="1">
            <a:off x="2051473" y="453149"/>
            <a:ext cx="853642" cy="676882"/>
          </a:xfrm>
          <a:prstGeom prst="swooshArrow">
            <a:avLst>
              <a:gd name="adj1" fmla="val 16310"/>
              <a:gd name="adj2" fmla="val 31370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</p:sp>
      <p:sp>
        <p:nvSpPr>
          <p:cNvPr id="248841" name="Rectangle 5"/>
          <p:cNvSpPr>
            <a:spLocks noChangeArrowheads="1"/>
          </p:cNvSpPr>
          <p:nvPr/>
        </p:nvSpPr>
        <p:spPr bwMode="auto">
          <a:xfrm>
            <a:off x="1422400" y="5951538"/>
            <a:ext cx="6083300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l" defTabSz="457200" eaLnBrk="1" hangingPunct="1">
              <a:spcBef>
                <a:spcPct val="0"/>
              </a:spcBef>
              <a:buFontTx/>
              <a:buNone/>
            </a:pPr>
            <a:r>
              <a:rPr lang="en-US" sz="1600">
                <a:solidFill>
                  <a:srgbClr val="1F497D"/>
                </a:solidFill>
                <a:cs typeface="Arial" pitchFamily="34" charset="0"/>
              </a:rPr>
              <a:t>Open to MBBS, BSc, Nurses and Allied Health Professionals who wish to pursue a career in clinical research </a:t>
            </a:r>
          </a:p>
        </p:txBody>
      </p:sp>
      <p:pic>
        <p:nvPicPr>
          <p:cNvPr id="248842" name="Picture 6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60350"/>
            <a:ext cx="1690687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MasterPhAnim="0">
  <p:cSld>
    <p:bg>
      <p:bgPr>
        <a:gradFill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202" name="Rectangle 3"/>
          <p:cNvSpPr>
            <a:spLocks noGrp="1" noChangeArrowheads="1"/>
          </p:cNvSpPr>
          <p:nvPr>
            <p:ph type="body" sz="half" idx="1"/>
          </p:nvPr>
        </p:nvSpPr>
        <p:spPr bwMode="auto">
          <a:xfrm>
            <a:off x="0" y="0"/>
            <a:ext cx="9144000" cy="6858000"/>
          </a:xfrm>
          <a:solidFill>
            <a:schemeClr val="bg1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39725" lvl="1" indent="-225425" eaLnBrk="1" hangingPunct="1"/>
            <a:endParaRPr lang="en-GB" smtClean="0">
              <a:ea typeface="ＭＳ Ｐゴシック" pitchFamily="34" charset="-128"/>
              <a:cs typeface="Arial" pitchFamily="34" charset="0"/>
            </a:endParaRPr>
          </a:p>
          <a:p>
            <a:pPr marL="339725" lvl="1" indent="-225425" eaLnBrk="1" hangingPunct="1"/>
            <a:endParaRPr lang="en-GB" smtClean="0">
              <a:ea typeface="ＭＳ Ｐゴシック" pitchFamily="34" charset="-128"/>
              <a:cs typeface="Arial" pitchFamily="34" charset="0"/>
            </a:endParaRPr>
          </a:p>
          <a:p>
            <a:pPr marL="339725" lvl="1" indent="-225425" eaLnBrk="1" hangingPunct="1">
              <a:buFontTx/>
              <a:buNone/>
            </a:pPr>
            <a:r>
              <a:rPr lang="en-GB" sz="1600" smtClean="0">
                <a:ea typeface="ＭＳ Ｐゴシック" pitchFamily="34" charset="-128"/>
                <a:cs typeface="Arial" pitchFamily="34" charset="0"/>
              </a:rPr>
              <a:t>				</a:t>
            </a:r>
          </a:p>
          <a:p>
            <a:pPr marL="339725" lvl="1" indent="-225425" eaLnBrk="1" hangingPunct="1">
              <a:buFontTx/>
              <a:buNone/>
            </a:pPr>
            <a:r>
              <a:rPr lang="en-GB" sz="1600" smtClean="0">
                <a:solidFill>
                  <a:srgbClr val="FF0000"/>
                </a:solidFill>
                <a:ea typeface="ＭＳ Ｐゴシック" pitchFamily="34" charset="-128"/>
                <a:cs typeface="Arial" pitchFamily="34" charset="0"/>
              </a:rPr>
              <a:t>					</a:t>
            </a:r>
          </a:p>
        </p:txBody>
      </p:sp>
      <p:graphicFrame>
        <p:nvGraphicFramePr>
          <p:cNvPr id="179203" name="Object 4"/>
          <p:cNvGraphicFramePr>
            <a:graphicFrameLocks noChangeAspect="1"/>
          </p:cNvGraphicFramePr>
          <p:nvPr>
            <p:ph type="clipArt" sz="half" idx="2"/>
          </p:nvPr>
        </p:nvGraphicFramePr>
        <p:xfrm>
          <a:off x="5643563" y="3786188"/>
          <a:ext cx="3313112" cy="27670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09" name="Clip" r:id="rId3" imgW="1112825" imgH="906170" progId="">
                  <p:embed/>
                </p:oleObj>
              </mc:Choice>
              <mc:Fallback>
                <p:oleObj name="Clip" r:id="rId3" imgW="1112825" imgH="906170" progId="">
                  <p:embed/>
                  <p:pic>
                    <p:nvPicPr>
                      <p:cNvPr id="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643563" y="3786188"/>
                        <a:ext cx="3313112" cy="27670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9204" name="Rectangle 6"/>
          <p:cNvSpPr>
            <a:spLocks noChangeArrowheads="1"/>
          </p:cNvSpPr>
          <p:nvPr/>
        </p:nvSpPr>
        <p:spPr bwMode="auto">
          <a:xfrm>
            <a:off x="1296988" y="188913"/>
            <a:ext cx="551815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buFontTx/>
              <a:buNone/>
            </a:pPr>
            <a:r>
              <a:rPr lang="en-GB" b="1">
                <a:solidFill>
                  <a:srgbClr val="FF0000"/>
                </a:solidFill>
              </a:rPr>
              <a:t>The drug development process</a:t>
            </a:r>
          </a:p>
        </p:txBody>
      </p:sp>
      <p:sp>
        <p:nvSpPr>
          <p:cNvPr id="179205" name="Rectangle 7"/>
          <p:cNvSpPr>
            <a:spLocks noChangeArrowheads="1"/>
          </p:cNvSpPr>
          <p:nvPr/>
        </p:nvSpPr>
        <p:spPr bwMode="auto">
          <a:xfrm>
            <a:off x="1643063" y="4643438"/>
            <a:ext cx="4572000" cy="1031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lvl="1">
              <a:buFontTx/>
              <a:buNone/>
            </a:pPr>
            <a:r>
              <a:rPr lang="en-GB" b="1">
                <a:solidFill>
                  <a:srgbClr val="003366"/>
                </a:solidFill>
              </a:rPr>
              <a:t>Total  13 years</a:t>
            </a:r>
          </a:p>
          <a:p>
            <a:pPr lvl="1">
              <a:buFontTx/>
              <a:buNone/>
            </a:pPr>
            <a:r>
              <a:rPr lang="en-GB">
                <a:solidFill>
                  <a:srgbClr val="FF0000"/>
                </a:solidFill>
              </a:rPr>
              <a:t>&gt; £ 1 billion</a:t>
            </a:r>
          </a:p>
        </p:txBody>
      </p:sp>
      <p:sp>
        <p:nvSpPr>
          <p:cNvPr id="179206" name="Rectangle 8"/>
          <p:cNvSpPr>
            <a:spLocks noChangeArrowheads="1"/>
          </p:cNvSpPr>
          <p:nvPr/>
        </p:nvSpPr>
        <p:spPr bwMode="auto">
          <a:xfrm>
            <a:off x="642938" y="1500188"/>
            <a:ext cx="5400675" cy="257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lvl="1" algn="l"/>
            <a:r>
              <a:rPr lang="en-GB">
                <a:solidFill>
                  <a:srgbClr val="003366"/>
                </a:solidFill>
              </a:rPr>
              <a:t>Pre-clinical - 4 years</a:t>
            </a:r>
          </a:p>
          <a:p>
            <a:pPr lvl="1" algn="l"/>
            <a:r>
              <a:rPr lang="en-GB">
                <a:solidFill>
                  <a:srgbClr val="003366"/>
                </a:solidFill>
              </a:rPr>
              <a:t>Phase I – 2 years</a:t>
            </a:r>
          </a:p>
          <a:p>
            <a:pPr lvl="1" algn="l"/>
            <a:r>
              <a:rPr lang="en-GB">
                <a:solidFill>
                  <a:srgbClr val="003366"/>
                </a:solidFill>
              </a:rPr>
              <a:t>Phase II – 2 years</a:t>
            </a:r>
          </a:p>
          <a:p>
            <a:pPr lvl="1" algn="l"/>
            <a:r>
              <a:rPr lang="en-GB">
                <a:solidFill>
                  <a:srgbClr val="003366"/>
                </a:solidFill>
              </a:rPr>
              <a:t>Phase III – 3 year</a:t>
            </a:r>
          </a:p>
          <a:p>
            <a:pPr lvl="1" algn="l"/>
            <a:r>
              <a:rPr lang="en-GB">
                <a:solidFill>
                  <a:srgbClr val="003366"/>
                </a:solidFill>
              </a:rPr>
              <a:t>Regulatory review – 2 years</a:t>
            </a:r>
          </a:p>
        </p:txBody>
      </p:sp>
      <p:cxnSp>
        <p:nvCxnSpPr>
          <p:cNvPr id="179207" name="Straight Connector 6"/>
          <p:cNvCxnSpPr>
            <a:cxnSpLocks noChangeShapeType="1"/>
          </p:cNvCxnSpPr>
          <p:nvPr/>
        </p:nvCxnSpPr>
        <p:spPr bwMode="auto">
          <a:xfrm>
            <a:off x="0" y="1125538"/>
            <a:ext cx="91440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79208" name="Picture 6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60350"/>
            <a:ext cx="1690687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857" name="Title 1"/>
          <p:cNvSpPr>
            <a:spLocks noGrp="1"/>
          </p:cNvSpPr>
          <p:nvPr>
            <p:ph type="title"/>
          </p:nvPr>
        </p:nvSpPr>
        <p:spPr>
          <a:xfrm>
            <a:off x="609600" y="0"/>
            <a:ext cx="8077200" cy="601663"/>
          </a:xfrm>
        </p:spPr>
        <p:txBody>
          <a:bodyPr/>
          <a:lstStyle/>
          <a:p>
            <a:pPr algn="l" eaLnBrk="1" hangingPunct="1"/>
            <a:r>
              <a:rPr lang="en-US" sz="2800" smtClean="0">
                <a:solidFill>
                  <a:schemeClr val="tx2"/>
                </a:solidFill>
                <a:ea typeface="ＭＳ Ｐゴシック" pitchFamily="34" charset="-128"/>
              </a:rPr>
              <a:t>MRes inTranslational Medicine</a:t>
            </a:r>
          </a:p>
        </p:txBody>
      </p:sp>
      <p:sp>
        <p:nvSpPr>
          <p:cNvPr id="249858" name="Content Placeholder 2"/>
          <p:cNvSpPr>
            <a:spLocks noGrp="1"/>
          </p:cNvSpPr>
          <p:nvPr>
            <p:ph idx="1"/>
          </p:nvPr>
        </p:nvSpPr>
        <p:spPr>
          <a:xfrm>
            <a:off x="609600" y="614363"/>
            <a:ext cx="8178800" cy="6142037"/>
          </a:xfrm>
        </p:spPr>
        <p:txBody>
          <a:bodyPr/>
          <a:lstStyle/>
          <a:p>
            <a:pPr eaLnBrk="1" hangingPunct="1">
              <a:spcAft>
                <a:spcPts val="600"/>
              </a:spcAft>
            </a:pPr>
            <a:r>
              <a:rPr lang="en-US" sz="2000" smtClean="0">
                <a:solidFill>
                  <a:srgbClr val="1F497D"/>
                </a:solidFill>
                <a:ea typeface="ＭＳ Ｐゴシック" pitchFamily="34" charset="-128"/>
              </a:rPr>
              <a:t>Designed for MBBS and BSc </a:t>
            </a:r>
            <a:r>
              <a:rPr lang="en-GB" sz="2000" smtClean="0">
                <a:solidFill>
                  <a:srgbClr val="1F497D"/>
                </a:solidFill>
                <a:ea typeface="ＭＳ Ｐゴシック" pitchFamily="34" charset="-128"/>
              </a:rPr>
              <a:t>graduates</a:t>
            </a:r>
          </a:p>
          <a:p>
            <a:pPr eaLnBrk="1" hangingPunct="1">
              <a:spcAft>
                <a:spcPts val="600"/>
              </a:spcAft>
            </a:pPr>
            <a:r>
              <a:rPr lang="en-US" sz="2000" smtClean="0">
                <a:solidFill>
                  <a:srgbClr val="1F497D"/>
                </a:solidFill>
                <a:ea typeface="ＭＳ Ｐゴシック" pitchFamily="34" charset="-128"/>
              </a:rPr>
              <a:t>Provide training in the design and execution of clinical trials, experimental medicine and drug development</a:t>
            </a:r>
          </a:p>
          <a:p>
            <a:pPr eaLnBrk="1" hangingPunct="1">
              <a:spcAft>
                <a:spcPts val="600"/>
              </a:spcAft>
            </a:pPr>
            <a:r>
              <a:rPr lang="en-US" sz="2000" smtClean="0">
                <a:solidFill>
                  <a:srgbClr val="1F497D"/>
                </a:solidFill>
                <a:ea typeface="ＭＳ Ｐゴシック" pitchFamily="34" charset="-128"/>
              </a:rPr>
              <a:t>Topics covered:</a:t>
            </a:r>
          </a:p>
          <a:p>
            <a:pPr lvl="1" eaLnBrk="1" hangingPunct="1"/>
            <a:r>
              <a:rPr lang="en-GB" sz="1800" smtClean="0">
                <a:solidFill>
                  <a:srgbClr val="1F497D"/>
                </a:solidFill>
                <a:ea typeface="ＭＳ Ｐゴシック" pitchFamily="34" charset="-128"/>
              </a:rPr>
              <a:t>Study designs and management</a:t>
            </a:r>
          </a:p>
          <a:p>
            <a:pPr lvl="1" eaLnBrk="1" hangingPunct="1"/>
            <a:r>
              <a:rPr lang="en-GB" sz="1800" smtClean="0">
                <a:solidFill>
                  <a:srgbClr val="1F497D"/>
                </a:solidFill>
                <a:ea typeface="ＭＳ Ｐゴシック" pitchFamily="34" charset="-128"/>
              </a:rPr>
              <a:t>Research governance (GCP -  Ethical and Regulatory approvals) </a:t>
            </a:r>
          </a:p>
          <a:p>
            <a:pPr lvl="1" eaLnBrk="1" hangingPunct="1"/>
            <a:r>
              <a:rPr lang="en-GB" sz="1800" smtClean="0">
                <a:solidFill>
                  <a:srgbClr val="1F497D"/>
                </a:solidFill>
                <a:ea typeface="ＭＳ Ｐゴシック" pitchFamily="34" charset="-128"/>
              </a:rPr>
              <a:t>Principles drug discovery</a:t>
            </a:r>
          </a:p>
          <a:p>
            <a:pPr lvl="1" eaLnBrk="1" hangingPunct="1"/>
            <a:r>
              <a:rPr lang="en-GB" sz="1800" smtClean="0">
                <a:solidFill>
                  <a:srgbClr val="1F497D"/>
                </a:solidFill>
                <a:ea typeface="ＭＳ Ｐゴシック" pitchFamily="34" charset="-128"/>
              </a:rPr>
              <a:t>Bench to Bedside</a:t>
            </a:r>
          </a:p>
          <a:p>
            <a:pPr lvl="1" eaLnBrk="1" hangingPunct="1"/>
            <a:r>
              <a:rPr lang="en-GB" sz="1800" smtClean="0">
                <a:solidFill>
                  <a:srgbClr val="1F497D"/>
                </a:solidFill>
                <a:ea typeface="ＭＳ Ｐゴシック" pitchFamily="34" charset="-128"/>
              </a:rPr>
              <a:t>Pharmacokinetics and Pharmacodynamics </a:t>
            </a:r>
          </a:p>
          <a:p>
            <a:pPr lvl="1" eaLnBrk="1" hangingPunct="1"/>
            <a:r>
              <a:rPr lang="en-GB" sz="1800" smtClean="0">
                <a:solidFill>
                  <a:srgbClr val="1F497D"/>
                </a:solidFill>
                <a:ea typeface="ＭＳ Ｐゴシック" pitchFamily="34" charset="-128"/>
              </a:rPr>
              <a:t>Biomarkers and surrogate endpoints</a:t>
            </a:r>
          </a:p>
          <a:p>
            <a:pPr lvl="1" eaLnBrk="1" hangingPunct="1"/>
            <a:r>
              <a:rPr lang="en-GB" sz="1800" smtClean="0">
                <a:solidFill>
                  <a:srgbClr val="1F497D"/>
                </a:solidFill>
                <a:ea typeface="ＭＳ Ｐゴシック" pitchFamily="34" charset="-128"/>
              </a:rPr>
              <a:t>Emerging technologies in medical research</a:t>
            </a:r>
          </a:p>
          <a:p>
            <a:pPr lvl="1" eaLnBrk="1" hangingPunct="1"/>
            <a:r>
              <a:rPr lang="en-GB" sz="1800" smtClean="0">
                <a:solidFill>
                  <a:srgbClr val="1F497D"/>
                </a:solidFill>
                <a:ea typeface="ＭＳ Ｐゴシック" pitchFamily="34" charset="-128"/>
              </a:rPr>
              <a:t>First-time-in-human studies</a:t>
            </a:r>
          </a:p>
          <a:p>
            <a:pPr lvl="1" eaLnBrk="1" hangingPunct="1"/>
            <a:r>
              <a:rPr lang="en-GB" sz="1800" smtClean="0">
                <a:solidFill>
                  <a:srgbClr val="1F497D"/>
                </a:solidFill>
                <a:ea typeface="ＭＳ Ｐゴシック" pitchFamily="34" charset="-128"/>
              </a:rPr>
              <a:t>Early </a:t>
            </a:r>
            <a:r>
              <a:rPr lang="en-US" sz="1800" smtClean="0">
                <a:solidFill>
                  <a:srgbClr val="1F497D"/>
                </a:solidFill>
                <a:ea typeface="ＭＳ Ｐゴシック" pitchFamily="34" charset="-128"/>
              </a:rPr>
              <a:t>phase clinical trials in patients</a:t>
            </a:r>
          </a:p>
          <a:p>
            <a:pPr lvl="1" eaLnBrk="1" hangingPunct="1"/>
            <a:r>
              <a:rPr lang="en-US" sz="1800" smtClean="0">
                <a:solidFill>
                  <a:srgbClr val="1F497D"/>
                </a:solidFill>
                <a:ea typeface="ＭＳ Ｐゴシック" pitchFamily="34" charset="-128"/>
              </a:rPr>
              <a:t>Selection of patient populations and Informed Consent</a:t>
            </a:r>
            <a:endParaRPr lang="en-GB" sz="1800" smtClean="0">
              <a:solidFill>
                <a:srgbClr val="1F497D"/>
              </a:solidFill>
              <a:ea typeface="ＭＳ Ｐゴシック" pitchFamily="34" charset="-128"/>
            </a:endParaRPr>
          </a:p>
          <a:p>
            <a:pPr lvl="1" eaLnBrk="1" hangingPunct="1">
              <a:spcAft>
                <a:spcPts val="600"/>
              </a:spcAft>
            </a:pPr>
            <a:r>
              <a:rPr lang="en-GB" sz="1800" smtClean="0">
                <a:solidFill>
                  <a:srgbClr val="1F497D"/>
                </a:solidFill>
                <a:ea typeface="ＭＳ Ｐゴシック" pitchFamily="34" charset="-128"/>
              </a:rPr>
              <a:t>Medical statistics </a:t>
            </a:r>
          </a:p>
          <a:p>
            <a:pPr eaLnBrk="1" hangingPunct="1"/>
            <a:r>
              <a:rPr lang="en-GB" sz="2000" smtClean="0">
                <a:solidFill>
                  <a:srgbClr val="1F497D"/>
                </a:solidFill>
                <a:ea typeface="ＭＳ Ｐゴシック" pitchFamily="34" charset="-128"/>
              </a:rPr>
              <a:t>Enhance opportunities to </a:t>
            </a:r>
            <a:r>
              <a:rPr lang="en-US" sz="2000" smtClean="0">
                <a:solidFill>
                  <a:srgbClr val="1F497D"/>
                </a:solidFill>
                <a:ea typeface="ＭＳ Ｐゴシック" pitchFamily="34" charset="-128"/>
              </a:rPr>
              <a:t>pursue careers as Academic Clinical Fellows and/or follow up with a Clinical </a:t>
            </a:r>
            <a:r>
              <a:rPr lang="en-GB" sz="2000" smtClean="0">
                <a:solidFill>
                  <a:srgbClr val="1F497D"/>
                </a:solidFill>
                <a:ea typeface="ＭＳ Ｐゴシック" pitchFamily="34" charset="-128"/>
              </a:rPr>
              <a:t>PhD programme</a:t>
            </a:r>
          </a:p>
        </p:txBody>
      </p:sp>
      <p:cxnSp>
        <p:nvCxnSpPr>
          <p:cNvPr id="6" name="Straight Connector 5"/>
          <p:cNvCxnSpPr>
            <a:cxnSpLocks noChangeShapeType="1"/>
          </p:cNvCxnSpPr>
          <p:nvPr/>
        </p:nvCxnSpPr>
        <p:spPr bwMode="auto">
          <a:xfrm>
            <a:off x="0" y="601663"/>
            <a:ext cx="9144000" cy="0"/>
          </a:xfrm>
          <a:prstGeom prst="line">
            <a:avLst/>
          </a:prstGeom>
          <a:noFill/>
          <a:ln w="25400">
            <a:solidFill>
              <a:schemeClr val="tx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249860" name="Picture 6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4875" y="36513"/>
            <a:ext cx="1690688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0881" name="Rectangle 12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00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buFontTx/>
              <a:buNone/>
            </a:pPr>
            <a:endParaRPr lang="en-GB"/>
          </a:p>
        </p:txBody>
      </p:sp>
      <p:sp>
        <p:nvSpPr>
          <p:cNvPr id="250882" name="Text Box 2"/>
          <p:cNvSpPr txBox="1">
            <a:spLocks noChangeArrowheads="1"/>
          </p:cNvSpPr>
          <p:nvPr/>
        </p:nvSpPr>
        <p:spPr bwMode="auto">
          <a:xfrm>
            <a:off x="2268538" y="6092825"/>
            <a:ext cx="4945062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rgbClr val="FF6600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sz="2400">
                <a:solidFill>
                  <a:srgbClr val="FFFF00"/>
                </a:solidFill>
                <a:latin typeface="Tahoma" pitchFamily="34" charset="0"/>
              </a:rPr>
              <a:t>William Utermohlen – self portraits </a:t>
            </a:r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554038" y="1125538"/>
            <a:ext cx="2676525" cy="4972050"/>
            <a:chOff x="372" y="1177"/>
            <a:chExt cx="1897" cy="3132"/>
          </a:xfrm>
        </p:grpSpPr>
        <p:pic>
          <p:nvPicPr>
            <p:cNvPr id="250894" name="Picture 4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2" y="1177"/>
              <a:ext cx="1897" cy="27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52965" name="Text Box 5"/>
            <p:cNvSpPr txBox="1">
              <a:spLocks noChangeArrowheads="1"/>
            </p:cNvSpPr>
            <p:nvPr/>
          </p:nvSpPr>
          <p:spPr bwMode="auto">
            <a:xfrm>
              <a:off x="1018" y="3944"/>
              <a:ext cx="708" cy="3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algn="l">
                <a:spcBef>
                  <a:spcPct val="0"/>
                </a:spcBef>
                <a:buFontTx/>
                <a:buNone/>
                <a:defRPr/>
              </a:pPr>
              <a:r>
                <a:rPr lang="en-US" sz="3200" b="1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Times" pitchFamily="18" charset="0"/>
                  <a:ea typeface="+mn-ea"/>
                </a:rPr>
                <a:t>1996</a:t>
              </a:r>
              <a:endParaRPr lang="de-DE" sz="3200" b="1" dirty="0">
                <a:solidFill>
                  <a:srgbClr val="FFFF00"/>
                </a:solidFill>
                <a:latin typeface="Times" pitchFamily="18" charset="0"/>
                <a:ea typeface="+mn-ea"/>
              </a:endParaRPr>
            </a:p>
          </p:txBody>
        </p:sp>
      </p:grpSp>
      <p:grpSp>
        <p:nvGrpSpPr>
          <p:cNvPr id="3" name="Group 6"/>
          <p:cNvGrpSpPr>
            <a:grpSpLocks/>
          </p:cNvGrpSpPr>
          <p:nvPr/>
        </p:nvGrpSpPr>
        <p:grpSpPr bwMode="auto">
          <a:xfrm>
            <a:off x="3492500" y="1125538"/>
            <a:ext cx="2678113" cy="4972050"/>
            <a:chOff x="2455" y="1177"/>
            <a:chExt cx="1897" cy="3132"/>
          </a:xfrm>
        </p:grpSpPr>
        <p:pic>
          <p:nvPicPr>
            <p:cNvPr id="250892" name="Picture 7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55" y="1177"/>
              <a:ext cx="1897" cy="27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52968" name="Text Box 8"/>
            <p:cNvSpPr txBox="1">
              <a:spLocks noChangeArrowheads="1"/>
            </p:cNvSpPr>
            <p:nvPr/>
          </p:nvSpPr>
          <p:spPr bwMode="auto">
            <a:xfrm>
              <a:off x="3094" y="3944"/>
              <a:ext cx="706" cy="3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algn="l">
                <a:spcBef>
                  <a:spcPct val="0"/>
                </a:spcBef>
                <a:buFontTx/>
                <a:buNone/>
                <a:defRPr/>
              </a:pPr>
              <a:r>
                <a:rPr lang="en-US" sz="3200" b="1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Times" pitchFamily="18" charset="0"/>
                  <a:ea typeface="+mn-ea"/>
                </a:rPr>
                <a:t>1997</a:t>
              </a:r>
              <a:endParaRPr lang="de-DE" sz="3200" b="1" dirty="0">
                <a:solidFill>
                  <a:srgbClr val="FFFF00"/>
                </a:solidFill>
                <a:latin typeface="Times" pitchFamily="18" charset="0"/>
                <a:ea typeface="+mn-ea"/>
              </a:endParaRPr>
            </a:p>
          </p:txBody>
        </p:sp>
      </p:grpSp>
      <p:grpSp>
        <p:nvGrpSpPr>
          <p:cNvPr id="4" name="Group 9"/>
          <p:cNvGrpSpPr>
            <a:grpSpLocks/>
          </p:cNvGrpSpPr>
          <p:nvPr/>
        </p:nvGrpSpPr>
        <p:grpSpPr bwMode="auto">
          <a:xfrm>
            <a:off x="6434138" y="1120775"/>
            <a:ext cx="2297112" cy="4976813"/>
            <a:chOff x="4539" y="1174"/>
            <a:chExt cx="1628" cy="3135"/>
          </a:xfrm>
        </p:grpSpPr>
        <p:pic>
          <p:nvPicPr>
            <p:cNvPr id="250890" name="Picture 10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39" y="1174"/>
              <a:ext cx="1628" cy="2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52971" name="Text Box 11"/>
            <p:cNvSpPr txBox="1">
              <a:spLocks noChangeArrowheads="1"/>
            </p:cNvSpPr>
            <p:nvPr/>
          </p:nvSpPr>
          <p:spPr bwMode="auto">
            <a:xfrm>
              <a:off x="5039" y="3944"/>
              <a:ext cx="710" cy="3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algn="l">
                <a:spcBef>
                  <a:spcPct val="0"/>
                </a:spcBef>
                <a:buFontTx/>
                <a:buNone/>
                <a:defRPr/>
              </a:pPr>
              <a:r>
                <a:rPr lang="en-US" sz="3200" b="1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Times" pitchFamily="18" charset="0"/>
                  <a:ea typeface="+mn-ea"/>
                </a:rPr>
                <a:t>2000</a:t>
              </a:r>
              <a:endParaRPr lang="de-DE" sz="3200" b="1" dirty="0">
                <a:solidFill>
                  <a:srgbClr val="FFFF00"/>
                </a:solidFill>
                <a:latin typeface="Times" pitchFamily="18" charset="0"/>
                <a:ea typeface="+mn-ea"/>
              </a:endParaRPr>
            </a:p>
          </p:txBody>
        </p:sp>
      </p:grpSp>
      <p:sp>
        <p:nvSpPr>
          <p:cNvPr id="250886" name="Rectangle 12"/>
          <p:cNvSpPr>
            <a:spLocks noChangeArrowheads="1"/>
          </p:cNvSpPr>
          <p:nvPr/>
        </p:nvSpPr>
        <p:spPr bwMode="auto">
          <a:xfrm>
            <a:off x="179388" y="115888"/>
            <a:ext cx="7396162" cy="1039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buFontTx/>
              <a:buNone/>
            </a:pPr>
            <a:r>
              <a:rPr lang="en-GB" b="1" u="sng">
                <a:solidFill>
                  <a:srgbClr val="FFFF00"/>
                </a:solidFill>
              </a:rPr>
              <a:t>Progressive</a:t>
            </a:r>
            <a:r>
              <a:rPr lang="en-GB" b="1">
                <a:solidFill>
                  <a:srgbClr val="FFFF00"/>
                </a:solidFill>
              </a:rPr>
              <a:t> decline in cognitive functions</a:t>
            </a:r>
          </a:p>
          <a:p>
            <a:pPr>
              <a:buFontTx/>
              <a:buNone/>
            </a:pPr>
            <a:endParaRPr lang="en-GB" b="1">
              <a:solidFill>
                <a:srgbClr val="FFFF00"/>
              </a:solidFill>
            </a:endParaRPr>
          </a:p>
        </p:txBody>
      </p:sp>
      <p:grpSp>
        <p:nvGrpSpPr>
          <p:cNvPr id="250887" name="Group 4"/>
          <p:cNvGrpSpPr>
            <a:grpSpLocks/>
          </p:cNvGrpSpPr>
          <p:nvPr/>
        </p:nvGrpSpPr>
        <p:grpSpPr bwMode="auto">
          <a:xfrm>
            <a:off x="7715250" y="214313"/>
            <a:ext cx="1298575" cy="681037"/>
            <a:chOff x="7500938" y="285728"/>
            <a:chExt cx="1298575" cy="681060"/>
          </a:xfrm>
        </p:grpSpPr>
        <p:pic>
          <p:nvPicPr>
            <p:cNvPr id="250888" name="Picture 64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2396" y="285728"/>
              <a:ext cx="1071590" cy="2823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0889" name="Picture 63" descr="C:\Documents and Settings\KMosley\Local Settings\Temporary Internet Files\Content.IE5\8F8TCVUH\SJMC[1].gif"/>
            <p:cNvPicPr>
              <a:picLocks noChangeAspect="1" noChangeArrowheads="1"/>
            </p:cNvPicPr>
            <p:nvPr/>
          </p:nvPicPr>
          <p:blipFill>
            <a:blip r:embed="rId6" r:link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0938" y="668338"/>
              <a:ext cx="1298575" cy="298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22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smtClean="0">
                <a:solidFill>
                  <a:srgbClr val="FF0000"/>
                </a:solidFill>
                <a:ea typeface="ＭＳ Ｐゴシック" pitchFamily="34" charset="-128"/>
              </a:rPr>
              <a:t>Product Development</a:t>
            </a:r>
          </a:p>
        </p:txBody>
      </p:sp>
      <p:sp>
        <p:nvSpPr>
          <p:cNvPr id="180226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533400" y="1905000"/>
            <a:ext cx="7696200" cy="4114800"/>
          </a:xfrm>
        </p:spPr>
        <p:txBody>
          <a:bodyPr/>
          <a:lstStyle/>
          <a:p>
            <a:pPr marL="0" indent="0"/>
            <a:r>
              <a:rPr lang="en-GB" sz="2200" smtClean="0">
                <a:ea typeface="ＭＳ Ｐゴシック" pitchFamily="34" charset="-128"/>
              </a:rPr>
              <a:t>Pharmacy (formulation, quality, production)</a:t>
            </a:r>
          </a:p>
          <a:p>
            <a:pPr marL="0" indent="0"/>
            <a:r>
              <a:rPr lang="en-GB" sz="2200" smtClean="0">
                <a:ea typeface="ＭＳ Ｐゴシック" pitchFamily="34" charset="-128"/>
              </a:rPr>
              <a:t>Pharmacology (animal/man)</a:t>
            </a:r>
          </a:p>
          <a:p>
            <a:pPr marL="0" indent="0"/>
            <a:r>
              <a:rPr lang="en-GB" sz="2200" smtClean="0">
                <a:ea typeface="ＭＳ Ｐゴシック" pitchFamily="34" charset="-128"/>
              </a:rPr>
              <a:t>Safety (animal/man)</a:t>
            </a:r>
          </a:p>
          <a:p>
            <a:pPr marL="0" indent="0"/>
            <a:r>
              <a:rPr lang="en-GB" sz="2200" smtClean="0">
                <a:ea typeface="ＭＳ Ｐゴシック" pitchFamily="34" charset="-128"/>
              </a:rPr>
              <a:t>Efficacy trials (man)</a:t>
            </a:r>
          </a:p>
          <a:p>
            <a:pPr marL="0" indent="0"/>
            <a:r>
              <a:rPr lang="en-GB" sz="2200" smtClean="0">
                <a:ea typeface="ＭＳ Ｐゴシック" pitchFamily="34" charset="-128"/>
              </a:rPr>
              <a:t>Pharmacoeconims</a:t>
            </a:r>
          </a:p>
        </p:txBody>
      </p:sp>
      <p:graphicFrame>
        <p:nvGraphicFramePr>
          <p:cNvPr id="180227" name="Object 2"/>
          <p:cNvGraphicFramePr>
            <a:graphicFrameLocks noChangeAspect="1"/>
          </p:cNvGraphicFramePr>
          <p:nvPr>
            <p:ph type="clipArt" sz="half" idx="2"/>
          </p:nvPr>
        </p:nvGraphicFramePr>
        <p:xfrm>
          <a:off x="5137150" y="2449513"/>
          <a:ext cx="3281363" cy="36464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29" name="Clip" r:id="rId3" imgW="716890" imgH="892454" progId="MS_ClipArt_Gallery.2">
                  <p:embed/>
                </p:oleObj>
              </mc:Choice>
              <mc:Fallback>
                <p:oleObj name="Clip" r:id="rId3" imgW="716890" imgH="892454" progId="MS_ClipArt_Gallery.2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137150" y="2449513"/>
                        <a:ext cx="3281363" cy="36464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0228" name="Picture 6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60350"/>
            <a:ext cx="1690687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24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smtClean="0">
                <a:solidFill>
                  <a:srgbClr val="FF0000"/>
                </a:solidFill>
                <a:ea typeface="ＭＳ Ｐゴシック" pitchFamily="34" charset="-128"/>
              </a:rPr>
              <a:t>Pharmacy</a:t>
            </a:r>
          </a:p>
        </p:txBody>
      </p:sp>
      <p:sp>
        <p:nvSpPr>
          <p:cNvPr id="181250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457200" y="1620838"/>
            <a:ext cx="4033838" cy="4475162"/>
          </a:xfrm>
        </p:spPr>
        <p:txBody>
          <a:bodyPr/>
          <a:lstStyle/>
          <a:p>
            <a:pPr marL="0" indent="0"/>
            <a:r>
              <a:rPr lang="en-GB" sz="2200" smtClean="0">
                <a:ea typeface="ＭＳ Ｐゴシック" pitchFamily="34" charset="-128"/>
              </a:rPr>
              <a:t>Gram to kilogram to tonne</a:t>
            </a:r>
          </a:p>
          <a:p>
            <a:pPr marL="0" indent="0"/>
            <a:r>
              <a:rPr lang="en-GB" sz="2200" smtClean="0">
                <a:ea typeface="ＭＳ Ｐゴシック" pitchFamily="34" charset="-128"/>
              </a:rPr>
              <a:t>From test tube to factory production</a:t>
            </a:r>
          </a:p>
          <a:p>
            <a:pPr marL="0" indent="0"/>
            <a:r>
              <a:rPr lang="en-GB" sz="2200" smtClean="0">
                <a:ea typeface="ＭＳ Ｐゴシック" pitchFamily="34" charset="-128"/>
              </a:rPr>
              <a:t>Stability, dosage, form, packing</a:t>
            </a:r>
          </a:p>
          <a:p>
            <a:pPr marL="0" indent="0"/>
            <a:r>
              <a:rPr lang="en-GB" sz="2200" smtClean="0">
                <a:ea typeface="ＭＳ Ｐゴシック" pitchFamily="34" charset="-128"/>
              </a:rPr>
              <a:t>Assays</a:t>
            </a:r>
          </a:p>
        </p:txBody>
      </p:sp>
      <p:graphicFrame>
        <p:nvGraphicFramePr>
          <p:cNvPr id="181251" name="Object 2"/>
          <p:cNvGraphicFramePr>
            <a:graphicFrameLocks noChangeAspect="1"/>
          </p:cNvGraphicFramePr>
          <p:nvPr>
            <p:ph type="clipArt" sz="half" idx="2"/>
          </p:nvPr>
        </p:nvGraphicFramePr>
        <p:xfrm>
          <a:off x="5137150" y="1620838"/>
          <a:ext cx="2511425" cy="36655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53" name="Clip" r:id="rId3" imgW="757382" imgH="1076960" progId="MS_ClipArt_Gallery.2">
                  <p:embed/>
                </p:oleObj>
              </mc:Choice>
              <mc:Fallback>
                <p:oleObj name="Clip" r:id="rId3" imgW="757382" imgH="1076960" progId="MS_ClipArt_Gallery.2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137150" y="1620838"/>
                        <a:ext cx="2511425" cy="36655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1252" name="Picture 6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60350"/>
            <a:ext cx="1690687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27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3850" y="1844675"/>
            <a:ext cx="8534400" cy="4114800"/>
          </a:xfrm>
        </p:spPr>
        <p:txBody>
          <a:bodyPr/>
          <a:lstStyle/>
          <a:p>
            <a:pPr marL="0" indent="0" eaLnBrk="1" hangingPunct="1">
              <a:lnSpc>
                <a:spcPct val="90000"/>
              </a:lnSpc>
            </a:pPr>
            <a:r>
              <a:rPr lang="en-US" sz="2800" smtClean="0">
                <a:ea typeface="ＭＳ Ｐゴシック" pitchFamily="34" charset="-128"/>
              </a:rPr>
              <a:t>Acute toxicity profile</a:t>
            </a:r>
          </a:p>
          <a:p>
            <a:pPr marL="0" indent="0" eaLnBrk="1" hangingPunct="1">
              <a:lnSpc>
                <a:spcPct val="90000"/>
              </a:lnSpc>
            </a:pPr>
            <a:r>
              <a:rPr lang="en-US" sz="2800" smtClean="0">
                <a:ea typeface="ＭＳ Ｐゴシック" pitchFamily="34" charset="-128"/>
              </a:rPr>
              <a:t>Chronic toxicity profile</a:t>
            </a:r>
          </a:p>
          <a:p>
            <a:pPr marL="0" indent="0" eaLnBrk="1" hangingPunct="1">
              <a:lnSpc>
                <a:spcPct val="90000"/>
              </a:lnSpc>
            </a:pPr>
            <a:r>
              <a:rPr lang="en-US" sz="2800" smtClean="0">
                <a:ea typeface="ＭＳ Ｐゴシック" pitchFamily="34" charset="-128"/>
              </a:rPr>
              <a:t>- 14 day toxicity test in one rodent and one non-rodent species before use in man.</a:t>
            </a:r>
          </a:p>
          <a:p>
            <a:pPr marL="0" indent="0" eaLnBrk="1" hangingPunct="1">
              <a:lnSpc>
                <a:spcPct val="90000"/>
              </a:lnSpc>
              <a:buFontTx/>
              <a:buChar char="-"/>
            </a:pPr>
            <a:r>
              <a:rPr lang="en-US" sz="2800" smtClean="0">
                <a:ea typeface="ＭＳ Ｐゴシック" pitchFamily="34" charset="-128"/>
              </a:rPr>
              <a:t>3 month study read out at 28 days</a:t>
            </a:r>
          </a:p>
          <a:p>
            <a:pPr marL="0" indent="0" eaLnBrk="1" hangingPunct="1">
              <a:lnSpc>
                <a:spcPct val="90000"/>
              </a:lnSpc>
              <a:buFontTx/>
              <a:buChar char="-"/>
            </a:pPr>
            <a:r>
              <a:rPr lang="en-US" sz="2800" smtClean="0">
                <a:ea typeface="ＭＳ Ｐゴシック" pitchFamily="34" charset="-128"/>
              </a:rPr>
              <a:t>longer studies (12 &amp; 24 month)</a:t>
            </a:r>
          </a:p>
          <a:p>
            <a:pPr marL="0" indent="0" eaLnBrk="1" hangingPunct="1">
              <a:lnSpc>
                <a:spcPct val="90000"/>
              </a:lnSpc>
            </a:pPr>
            <a:r>
              <a:rPr lang="en-US" sz="2800" smtClean="0">
                <a:ea typeface="ＭＳ Ｐゴシック" pitchFamily="34" charset="-128"/>
              </a:rPr>
              <a:t>3 dose levels (below, about, well above human dose)</a:t>
            </a:r>
          </a:p>
        </p:txBody>
      </p:sp>
      <p:sp>
        <p:nvSpPr>
          <p:cNvPr id="182274" name="Rectangle 5"/>
          <p:cNvSpPr>
            <a:spLocks noGrp="1" noChangeArrowheads="1"/>
          </p:cNvSpPr>
          <p:nvPr>
            <p:ph type="title"/>
          </p:nvPr>
        </p:nvSpPr>
        <p:spPr>
          <a:xfrm>
            <a:off x="1285875" y="214313"/>
            <a:ext cx="6611938" cy="714375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sz="2800" smtClean="0">
                <a:solidFill>
                  <a:srgbClr val="FF0000"/>
                </a:solidFill>
                <a:ea typeface="ＭＳ Ｐゴシック" pitchFamily="34" charset="-128"/>
              </a:rPr>
              <a:t>Safety &amp; toxicity in animals</a:t>
            </a:r>
          </a:p>
        </p:txBody>
      </p:sp>
      <p:sp>
        <p:nvSpPr>
          <p:cNvPr id="182275" name="Rectangle 3"/>
          <p:cNvSpPr>
            <a:spLocks noChangeArrowheads="1"/>
          </p:cNvSpPr>
          <p:nvPr/>
        </p:nvSpPr>
        <p:spPr bwMode="auto">
          <a:xfrm>
            <a:off x="7572375" y="0"/>
            <a:ext cx="1571625" cy="64293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aphicFrame>
        <p:nvGraphicFramePr>
          <p:cNvPr id="182276" name="Object 2"/>
          <p:cNvGraphicFramePr>
            <a:graphicFrameLocks noChangeAspect="1"/>
          </p:cNvGraphicFramePr>
          <p:nvPr/>
        </p:nvGraphicFramePr>
        <p:xfrm>
          <a:off x="4859338" y="1341438"/>
          <a:ext cx="3451225" cy="183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278" name="Photo Editor Photo" r:id="rId4" imgW="3858164" imgH="2048161" progId="">
                  <p:embed/>
                </p:oleObj>
              </mc:Choice>
              <mc:Fallback>
                <p:oleObj name="Photo Editor Photo" r:id="rId4" imgW="3858164" imgH="2048161" progId="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859338" y="1341438"/>
                        <a:ext cx="3451225" cy="18319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699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>
                                  <a:alpha val="74997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2277" name="Picture 6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260350"/>
            <a:ext cx="1690687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J8wVNNm0m2f3tcOmRKy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hCwsR3AESnPxhR0G01G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n7.PTpK0Sz_1P7ep8FT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.vkwMEbE6EcUKiYsy2Z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fBwDFO4k.jSZpLbvMoP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.mDdGAykuFbXhvi3KdX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LdlA9nSUq5xzgW7wd9Q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lC5nSUDk6C5adNvGDsb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vJ7k60gkehTovCwDBg8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Ua1vFNDk6V1QqQ8x9Jo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T.H_lvZE.SZ_KiewTVe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LypYdACkWHA9Ovvdgy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kLaL8oDEK.m5e2MCtvb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lXjYwU4kCXJx3kKPuVE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kquitUPkukkEbcG.suS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CqnBQ7uEO421xeahDMe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RwStjGCk2tE2pazTX3v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zfO9fUf0m_vVSSLMzo0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Df.xqHbk.Q0xsJH1o0K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4dZN4GWB0W84O6fUpOZe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4PQuIk3Euanu7l83eqL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Q39XjTaUu9eix2w0Qfi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82fxmaaxU2JzfVEphD8b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DzodmB606QXox_kfsAR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Rq6G.FJU2sugN8ddCtX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ACp2HdNEO8bRU1yuTGA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fKNKGebE62pLDiJi688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XWREDlA02lQ67h0jKpp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xRP0x9BEGFuaKK0c9_K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xbm_Lnt0a3ijOBIJIX9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oWhgbr60K206tSz7tIA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zIxj06wUeDt.cbP1vNX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3U_37qFkaWOE9kveGog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4LD7PO0UyHu6wTx51MY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OeE8qn2UOiVQ6axvmPr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pVrbRXBUephGw5LMsh6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U52WARLES.BSMqh0VqC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JTTtXxKUe5rxJUEJWC1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LlpdX1j0.NVKUqXHelh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zi9g94s0mj6MFcBcX.d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00bEplE0qIt4NRm7Fuj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8FbKw0cjEWzUNPq06c7Z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H3aHj7BEm1t2hcM4i03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2Zg1801UOvYucatoWA2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HV287sOkKb3zhHyf6p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PL1fOEl0SxTwp7wuhVo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BGCgl3V0WCyuGQTUWrX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2exQpi90GwJkAHhM1Lt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3SsRl_j0SHEv5c5_Tp9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WjtZy9bkGITVzr5O6MX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QtGCpo70eSf8umiSrKb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UG1Zm2UU.vMD0TUNcPc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X8zJxrCEmVAjS7v8IrD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dz8G2ONU.8Iaf9hOf.e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t9mec_ycEWAYnHxxJxRY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7RJjpqe0SBewhiPpus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eSCXAD.Em3Kbu6zKWCm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1YgjEsgwUec3LQ7.3cn.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_WqVPhpvEm8g1.3AF4jk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WVBcvReEqGwQf5ookBn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f3TFHp8UGP_251NRRbF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pK9ExH7k.sx0pNRP2NB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lcbn2fc06wRBB7i_a4W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AZU.UTvkCjW78ePC_y6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GbCk5S30O3WF0z5o3gE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uhI3OQPkOYrsB5agOQp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7WxqK93EO3cI6PXgfhU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hG5PYrIUSkMQtTQVqSU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gnWlGM5k6XwGj8fn4Vy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doyWE6ukON9HoGbywHY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_lVG3qEEGObmFy7dvYp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ioRCXMcsEOaH6mCsgnz6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TXf4sVQkyLw1yBeHwNw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Gd6R8m0eRNFW7G0Sja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U8tdYqBU6BuGM2srad1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.iV7D_bU2GEcj_PLxoi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5KkSlEW0aTcITPl.T_J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XbYJUw7ECeUcth.NTK3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_t0zhHE06zoNJPMfD_C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L4X1dEjU2j2H_gqf7yY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JSjsKgdEKb4lv1T2ykX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cEMc73cUW7Z7hdtMy2P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2tHCOiv0i36MTZMac9p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_Tn1SnpSkaih1_m9THAK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_u11jltlUCaCqeaP7SkE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bn3wwFDkm9tODF4_gYT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SoGBP7DkuPrl99RBoxZ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y9bQqB60CybMKEE1_0k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EDgI6srE._r8uPByMuj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uxanpviEG.ZVQrBlwAz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LWlpz6F0.xkJHv6aNFi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eLJQxzTESJx.quwuxcD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dYRB1DPUaVYX9o3vpO5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aejnU9CUCYXJDyvOcJo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sG_UL1gEmaxtiok53.T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wImCbgP0WPXhgu.9hKr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_5VgOIXsU.OJ7WuP2vSs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HtacQonEuE_Aq6cP1yE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RSYSbXIkmlcnxxN91QO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b3CGzaSEKcX9a3De5Nu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m4ohBMfkKNWMbztYVOX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AMlOVuXEafdt.FewrBg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Zy0MY4gUyeCxpJxn2bD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VYDa_yVEeMIKewcBE1.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fRlJ9qT0eiBRERvctxz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rgxvS11kWqjPqVPtNg7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YbN3BTqEm7PUrawcC2I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v5OfzIpEqCt3zBKlpPI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uSxzjpUUK0xsriSHdeb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DGNqvaKUW3Qz5ym8QL9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JOxm8F6UmM8jZ.xGCJ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Rd4bDcZkiKhO95GtOrU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SMrlTPR0iqUrEo1s07W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f7GImLv0qEwq7hhGabA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5Pg.QB70uDufxn6j3W6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hkpSyUSkOtFXzouq9VB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w8mxnvgk2cnH1h.1RG6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w88msMMk.cgvdrO1VKf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x2ZneN10iScwL03P9eA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nhbYwXSUiIbiDUGsuld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lRA.qXvEi7HxTREZVRr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zh.gj5D0eIrQBCM1gN7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BvBAQyxk.rFKJ9AzEX2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HMd63CKUC5Qx5x42KzQ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RgFhN9SkUacCqQwVaH_4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tSZwxUuUCP.Ok5vyuAX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AKFfyxH0i2X1xkWWozc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XTICAh9UCPFs0wpY37n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1ZGRtqkE2U2OjY2SkFU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dbMxl1m0yyHGKEhYj4L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T1HpWdbE.dMhFLo6QxG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JyZaDtp0qCcGe2mcGbb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7Ja3p.3k6CKQvwq2rBg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tAxt9hZkWcfNPc9FhmH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SPS1225UumoEyec4wes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KHow_5qEC85L3X.4i2G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G03ksSvEK.pRL9wrJJr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9WC3KBbk2yV_tDTCWDm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I_s7WXpECKAcQM3o8oB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9PL21WoUWDpbhu8Gf95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rna.M7g0KBnvHnr7Ozn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a7x4YLyU62C6S0Zu8yh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JHDB2NpEOSJNVKyB8Ty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efJjRmyEUuncYGyimGYh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5AO9tMQEOHwR4IqipZ1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8lFh9xAa0GHvfjMUhO4k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REmwFFD0KTh9Tr8OF3z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iiK9e9iU6rBTiGtkmsq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IIj0hOnUqjEEv0TRs8I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DyYGp2qkiRzL.tFXLbU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oIBZo5zkKByLZe.LCOZ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FiVp4sdkmJTXtBEkQ2T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typ3yjEUmEeU7G22mjg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bpbwfXTkCNiFWlt6cVT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M8JByg70iSS2gcYlCBJ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nqoHnFakmaUzCHf9.n8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ostpNn1EWq3D1nb0l5w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DFCgtVu0Oad5o.y3Zsv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RDdHIS_EayiPUxNoPp2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Oy9ZvdkEKBZ4OCgPGfG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UO49pRJkGgBV_u15G0T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J.QBRDaEiYh2gJ42AcF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cBjbJQTEKKH885oD4iE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hAfrz7.UuF4zAze3eMv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fepnGpMUShDlR53T7Jz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kTMSKuv0mo83IszyIU3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jSRr.HmkuPwa9EvjZ3n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Z.wsZ5kUWMyRnzj9b0Y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6vF..J_UqqQZb.hNV2.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NLifaiEk6b25Z02argg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Cnc86ZXUO2bc_._kv5i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SzHqx.Z0qMmzCSDdYBc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62LpEa9kiuRJ7IXvmN5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2e6s3T9kq6GV_s_Wfwd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fjXDfDBUu__LuroC9qO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Dps6Qdhku78W1Wru_Ul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LdcdP67EOM2GcQeQKDn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SwVhKBW0erAb82RFy8N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tKkAN6Iku9wnhv9Vodt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l1zrC9REWlEDh0faGtn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SBII7R5k.PSvUdY_XHJ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pF5DVFLESzFk0cmysj_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koCtWArkys8_B.oUNHX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E9FpMTREuoIMNW.O6Jq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G7OjhO4kSuxGfKETb8V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bEZ1x0IEypgBWkD.2yA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Sy.OQYhUyOQQ49XeyZy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gANMb7lkW4uVnD517GA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jYlyKi9katHcFWen1l2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vvoNfXnEK5nen7rVVhu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gMJgPXiUCCukJ_wpfzB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WPxOJB60SLlHfz0PMD8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mexHUZJEilIiQjY._H.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xSFDa5uE2roN_ivUxxZ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6k8F3RUkuT4r2PJJkMy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H4DYwAbEu.xmh9TA4LK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i70srE0o0aY9F6uRxrfk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e.qfXQo0a9WP7kqmMEu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p0nX76.kGDoC2su5VSe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JAxQA3IESSa6XDYcKtk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Gf0hkwzECKXGgZWWbAD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._le_5fUeZEnLUJVNi2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R.AlLz00GpPRCnvfczb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VB86sDQ02DwJJY8Q3wh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zW8TMYPUSkW87Ndkjsu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8JFEpofEGS9b0VAl1Fx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7JoBLwoEqleNCpc6LaT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bXRQBxU.mYMRKU6Lks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tEmlo7C0aXlbBXBbA9i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bVIOaoC0GcbQEk8mJfH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fG2fVUuUCNg5YM3t_mV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l5eDtlOkesfvWNSOLli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R3kBu5NE6Vu0hwDow_y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5nv1uSlEWt2Mo64sNAK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Pt.PX9kUCQiK3R22ubr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kgeiChxkGup87aUx.GM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O2r_ans0yEIDKC7icSY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hY04nddEiP0Vu80BA4J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9.5djRLE.yYqDoiyyIU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OHO81OPUCh7OCQJ2k0r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zUj.XhKUyshlc0pYtQW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EYdG4bXke1HamgFM9k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jY2CkW_Uy9e07KOxBR4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YbKFmLTU2E34kLz.YyB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2enkPZqU.eCOhWRv9IV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2VGhJBvkujFgYJLnCzF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qWO.cbPEa3OqKyVv_lu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VNSn.Hqk2iUpv.xWAOT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D3yR8Gx0OIWXsYTUjUq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3Fknlcaki4BjV3kULK8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lUphLPWEaaH95c325HA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OTaj.7pUO.CgVdYeSS4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Zm_O3gMME.KAFZVik7yL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0i8lFUpE.lKvsjKsKvT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UhDUUg20yXu8MZb4FMn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VAWz9_rU.Bm21uBHamb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n7FE21r0y3.xea6vCvM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3Op8uFPSkCkcvsTyeMyN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gj4RIxXkSJmeW_r_Gqu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zoofPaHE.fLRaUNVsfv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gj4RIxXkSJmeW_r_Gqu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zoofPaHE.fLRaUNVsfv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2|0.7|0.8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3TPuKsm0aRKzFD74za6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kLwAUDGUOrj4y3LdFyi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FgBg..ckCUZW.Pw0MBS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BsHM4Lp0eZaRujRNka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ePre6gDEC4dcI46.sfs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edQD9h6UGG44yPCCSFx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JnpFqDoUG4PHwiRsAuA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w1JOPwhwkibn1BYovbHa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yxbRPnH0.IH5YJx4TPP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t5Xt0Eskmv_zfUgFxO8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HNTF4Vrk6RhHI2Oq4UA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1vsG8RnkmTmVp776Cfp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KCQc3QLE2myg9y_Y6n5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At22F5TE2n3OAJXLxV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yvdLVJUkKUoerKU42b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epq1GaAES_Li9WLCxfQ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4ahv2oWs0muadC52FXE4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50Ca6p4ESo6m4IocObl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c870MYKEOrjP5ZzkAVE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4ab_qU6Eq2omx1NZ2O8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RlknJP2k2xAeK9Q6a81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z9kqGWO0CeI7_pcVr.p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eFc9DDb0.UiyjXEn3QT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Of9t.QLkGwluOHQZVJH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OjtWFtsE.vOmzp8EMSb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IoM2qyn0WuyAUNAdFDE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4diO5LY402lv_7nCsLfn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UAzxzmUUWKxtU3eNNMn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_4Dgyb.kin2Z86M2fyC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BRglWaTkK418gDBOxJ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xl6rltS0OtUH.cQqBu9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6H9v9pUKUS2JxUIPSjDz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tCXExiF0.KINfMumAWh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CgdfPeiEUWgfRi8pJL5t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V_3qkMZESEm4gZyHf.y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jIa1.akeZ6eSYkULdj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YGPcN5JUiKPODUxGcMf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Rvj9bHbE2LiEryyqD9x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kDxN3c.UiBJ20ixnvLP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uqMYHqPEGdzJcjbm1bP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MnnwjOtEOW9jymQqs9_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32SVkof0UefGTBQGPK33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.dWS6gmUGV4WLLOK.ul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NSaC.wKEWtRmilIyRzd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dF7HbwuUaW_F4Dh989x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uBm_Vo_ku9IdIdd_PpT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JOQA.xbk.2YwwZJYglN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L1TNBuRU2kBI_z6lCjT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8rlfp10yE2kDAsvB.tn0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6NEqPkrt0Ojb5uv7vUdi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yU5g8T.UG4hDJA5usy8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wHz7eA2E2XSWnPTNN.6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OdiuPOBE.1JL68bmz1R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.tyR_Tm0iljANbBO6ZN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sgOOjrXESab2MVVaZjL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n8c2lR0UuOAedqr41py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_V_sJqMPk.ZVlgcreRL3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S6sZ2oMUu9UZBZgrh4I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Efm7gcIUum6ltdGlyPb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5n_upXcUaU0XgACfDks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ZC5g1kK0en3t_LmqMoS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mqr1yrsUe70JbdVQCPJ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Q1fGLsT0iS8uok2LvX9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86TfjxV0y8IpGeFPRp3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_MIj.0hdUqZECEUvhI4U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GvTh53IUuwFNgd2bQfc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tQYyB3CEet1aXQMRCOB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6BeCJZWUKJPbfMmoR0E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dXgo.fIESRSWkGWINMc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tc8XGxpkeAnPFebMKDj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Z6_IexFUWoY_tf_B64d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OWvSVtPE2inbauwC.RP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mi9VgIVkGP3.n8GaOD0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neag0yEChUFCJ3Rx_Og"/>
</p:tagLst>
</file>

<file path=ppt/theme/theme1.xml><?xml version="1.0" encoding="utf-8"?>
<a:theme xmlns:a="http://schemas.openxmlformats.org/drawingml/2006/main" name="4_35MM Whte Bkgrnd No Color">
  <a:themeElements>
    <a:clrScheme name="35MM Whte Bkgrnd No Color 1">
      <a:dk1>
        <a:srgbClr val="000000"/>
      </a:dk1>
      <a:lt1>
        <a:srgbClr val="FFFFFF"/>
      </a:lt1>
      <a:dk2>
        <a:srgbClr val="000000"/>
      </a:dk2>
      <a:lt2>
        <a:srgbClr val="000099"/>
      </a:lt2>
      <a:accent1>
        <a:srgbClr val="00FEFB"/>
      </a:accent1>
      <a:accent2>
        <a:srgbClr val="FF6333"/>
      </a:accent2>
      <a:accent3>
        <a:srgbClr val="FFFFFF"/>
      </a:accent3>
      <a:accent4>
        <a:srgbClr val="000000"/>
      </a:accent4>
      <a:accent5>
        <a:srgbClr val="AAFEFD"/>
      </a:accent5>
      <a:accent6>
        <a:srgbClr val="E7592D"/>
      </a:accent6>
      <a:hlink>
        <a:srgbClr val="B65FF9"/>
      </a:hlink>
      <a:folHlink>
        <a:srgbClr val="FAFD00"/>
      </a:folHlink>
    </a:clrScheme>
    <a:fontScheme name="35MM Whte Bkgrnd No Col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9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9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35MM Whte Bkgrnd No Color 1">
        <a:dk1>
          <a:srgbClr val="000000"/>
        </a:dk1>
        <a:lt1>
          <a:srgbClr val="FFFFFF"/>
        </a:lt1>
        <a:dk2>
          <a:srgbClr val="000000"/>
        </a:dk2>
        <a:lt2>
          <a:srgbClr val="000099"/>
        </a:lt2>
        <a:accent1>
          <a:srgbClr val="00FEFB"/>
        </a:accent1>
        <a:accent2>
          <a:srgbClr val="FF6333"/>
        </a:accent2>
        <a:accent3>
          <a:srgbClr val="FFFFFF"/>
        </a:accent3>
        <a:accent4>
          <a:srgbClr val="000000"/>
        </a:accent4>
        <a:accent5>
          <a:srgbClr val="AAFEFD"/>
        </a:accent5>
        <a:accent6>
          <a:srgbClr val="E7592D"/>
        </a:accent6>
        <a:hlink>
          <a:srgbClr val="B65FF9"/>
        </a:hlink>
        <a:folHlink>
          <a:srgbClr val="FAFD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Blank Presentation">
      <a:majorFont>
        <a:latin typeface="Times New Roman"/>
        <a:ea typeface=""/>
        <a:cs typeface="Arial"/>
      </a:majorFont>
      <a:minorFont>
        <a:latin typeface="Times New Roman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6_GSK_NPD Presentation Template">
  <a:themeElements>
    <a:clrScheme name="GSK_NPD Presentation Template 2">
      <a:dk1>
        <a:srgbClr val="000000"/>
      </a:dk1>
      <a:lt1>
        <a:srgbClr val="FFFFFF"/>
      </a:lt1>
      <a:dk2>
        <a:srgbClr val="000000"/>
      </a:dk2>
      <a:lt2>
        <a:srgbClr val="C0C0C0"/>
      </a:lt2>
      <a:accent1>
        <a:srgbClr val="006699"/>
      </a:accent1>
      <a:accent2>
        <a:srgbClr val="FF6600"/>
      </a:accent2>
      <a:accent3>
        <a:srgbClr val="FFFFFF"/>
      </a:accent3>
      <a:accent4>
        <a:srgbClr val="000000"/>
      </a:accent4>
      <a:accent5>
        <a:srgbClr val="AAB8CA"/>
      </a:accent5>
      <a:accent6>
        <a:srgbClr val="E75C00"/>
      </a:accent6>
      <a:hlink>
        <a:srgbClr val="663399"/>
      </a:hlink>
      <a:folHlink>
        <a:srgbClr val="FF0000"/>
      </a:folHlink>
    </a:clrScheme>
    <a:fontScheme name="GSK_NPD Presentation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FF66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FF66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GSK_NPD Presentation Template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5F5F5F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K_NPD Presentation Template 2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6699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E75C00"/>
        </a:accent6>
        <a:hlink>
          <a:srgbClr val="663399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K_NPD Presentation Template 3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336633"/>
        </a:accent1>
        <a:accent2>
          <a:srgbClr val="336666"/>
        </a:accent2>
        <a:accent3>
          <a:srgbClr val="FFFFFF"/>
        </a:accent3>
        <a:accent4>
          <a:srgbClr val="000000"/>
        </a:accent4>
        <a:accent5>
          <a:srgbClr val="ADB8AD"/>
        </a:accent5>
        <a:accent6>
          <a:srgbClr val="2D5C5C"/>
        </a:accent6>
        <a:hlink>
          <a:srgbClr val="990033"/>
        </a:hlink>
        <a:folHlink>
          <a:srgbClr val="6666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K_NPD Presentation Template 4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CCCC33"/>
        </a:accent1>
        <a:accent2>
          <a:srgbClr val="66CC00"/>
        </a:accent2>
        <a:accent3>
          <a:srgbClr val="FFFFFF"/>
        </a:accent3>
        <a:accent4>
          <a:srgbClr val="000000"/>
        </a:accent4>
        <a:accent5>
          <a:srgbClr val="E2E2AD"/>
        </a:accent5>
        <a:accent6>
          <a:srgbClr val="5CB900"/>
        </a:accent6>
        <a:hlink>
          <a:srgbClr val="0099CC"/>
        </a:hlink>
        <a:folHlink>
          <a:srgbClr val="6666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2_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Blank Presentation">
      <a:majorFont>
        <a:latin typeface="Times New Roman"/>
        <a:ea typeface=""/>
        <a:cs typeface="Arial"/>
      </a:majorFont>
      <a:minorFont>
        <a:latin typeface="Times New Roman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7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1_GSK_NPD Presentation Template">
  <a:themeElements>
    <a:clrScheme name="GSK_NPD Presentation Template 2">
      <a:dk1>
        <a:srgbClr val="000000"/>
      </a:dk1>
      <a:lt1>
        <a:srgbClr val="FFFFFF"/>
      </a:lt1>
      <a:dk2>
        <a:srgbClr val="000000"/>
      </a:dk2>
      <a:lt2>
        <a:srgbClr val="C0C0C0"/>
      </a:lt2>
      <a:accent1>
        <a:srgbClr val="006699"/>
      </a:accent1>
      <a:accent2>
        <a:srgbClr val="FF6600"/>
      </a:accent2>
      <a:accent3>
        <a:srgbClr val="FFFFFF"/>
      </a:accent3>
      <a:accent4>
        <a:srgbClr val="000000"/>
      </a:accent4>
      <a:accent5>
        <a:srgbClr val="AAB8CA"/>
      </a:accent5>
      <a:accent6>
        <a:srgbClr val="E75C00"/>
      </a:accent6>
      <a:hlink>
        <a:srgbClr val="663399"/>
      </a:hlink>
      <a:folHlink>
        <a:srgbClr val="FF0000"/>
      </a:folHlink>
    </a:clrScheme>
    <a:fontScheme name="GSK_NPD Presentation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FF66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FF66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GSK_NPD Presentation Template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5F5F5F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K_NPD Presentation Template 2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6699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E75C00"/>
        </a:accent6>
        <a:hlink>
          <a:srgbClr val="663399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K_NPD Presentation Template 3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336633"/>
        </a:accent1>
        <a:accent2>
          <a:srgbClr val="336666"/>
        </a:accent2>
        <a:accent3>
          <a:srgbClr val="FFFFFF"/>
        </a:accent3>
        <a:accent4>
          <a:srgbClr val="000000"/>
        </a:accent4>
        <a:accent5>
          <a:srgbClr val="ADB8AD"/>
        </a:accent5>
        <a:accent6>
          <a:srgbClr val="2D5C5C"/>
        </a:accent6>
        <a:hlink>
          <a:srgbClr val="990033"/>
        </a:hlink>
        <a:folHlink>
          <a:srgbClr val="6666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K_NPD Presentation Template 4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CCCC33"/>
        </a:accent1>
        <a:accent2>
          <a:srgbClr val="66CC00"/>
        </a:accent2>
        <a:accent3>
          <a:srgbClr val="FFFFFF"/>
        </a:accent3>
        <a:accent4>
          <a:srgbClr val="000000"/>
        </a:accent4>
        <a:accent5>
          <a:srgbClr val="E2E2AD"/>
        </a:accent5>
        <a:accent6>
          <a:srgbClr val="5CB900"/>
        </a:accent6>
        <a:hlink>
          <a:srgbClr val="0099CC"/>
        </a:hlink>
        <a:folHlink>
          <a:srgbClr val="6666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0.xml><?xml version="1.0" encoding="utf-8"?>
<a:theme xmlns:a="http://schemas.openxmlformats.org/drawingml/2006/main" name="3_GSK_NPD Presentation Template">
  <a:themeElements>
    <a:clrScheme name="GSK_NPD Presentation Template 2">
      <a:dk1>
        <a:srgbClr val="000000"/>
      </a:dk1>
      <a:lt1>
        <a:srgbClr val="FFFFFF"/>
      </a:lt1>
      <a:dk2>
        <a:srgbClr val="000000"/>
      </a:dk2>
      <a:lt2>
        <a:srgbClr val="C0C0C0"/>
      </a:lt2>
      <a:accent1>
        <a:srgbClr val="006699"/>
      </a:accent1>
      <a:accent2>
        <a:srgbClr val="FF6600"/>
      </a:accent2>
      <a:accent3>
        <a:srgbClr val="FFFFFF"/>
      </a:accent3>
      <a:accent4>
        <a:srgbClr val="000000"/>
      </a:accent4>
      <a:accent5>
        <a:srgbClr val="AAB8CA"/>
      </a:accent5>
      <a:accent6>
        <a:srgbClr val="E75C00"/>
      </a:accent6>
      <a:hlink>
        <a:srgbClr val="663399"/>
      </a:hlink>
      <a:folHlink>
        <a:srgbClr val="FF0000"/>
      </a:folHlink>
    </a:clrScheme>
    <a:fontScheme name="GSK_NPD Presentation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FF66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FF66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GSK_NPD Presentation Template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5F5F5F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K_NPD Presentation Template 2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6699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E75C00"/>
        </a:accent6>
        <a:hlink>
          <a:srgbClr val="663399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K_NPD Presentation Template 3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336633"/>
        </a:accent1>
        <a:accent2>
          <a:srgbClr val="336666"/>
        </a:accent2>
        <a:accent3>
          <a:srgbClr val="FFFFFF"/>
        </a:accent3>
        <a:accent4>
          <a:srgbClr val="000000"/>
        </a:accent4>
        <a:accent5>
          <a:srgbClr val="ADB8AD"/>
        </a:accent5>
        <a:accent6>
          <a:srgbClr val="2D5C5C"/>
        </a:accent6>
        <a:hlink>
          <a:srgbClr val="990033"/>
        </a:hlink>
        <a:folHlink>
          <a:srgbClr val="6666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K_NPD Presentation Template 4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CCCC33"/>
        </a:accent1>
        <a:accent2>
          <a:srgbClr val="66CC00"/>
        </a:accent2>
        <a:accent3>
          <a:srgbClr val="FFFFFF"/>
        </a:accent3>
        <a:accent4>
          <a:srgbClr val="000000"/>
        </a:accent4>
        <a:accent5>
          <a:srgbClr val="E2E2AD"/>
        </a:accent5>
        <a:accent6>
          <a:srgbClr val="5CB900"/>
        </a:accent6>
        <a:hlink>
          <a:srgbClr val="0099CC"/>
        </a:hlink>
        <a:folHlink>
          <a:srgbClr val="6666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7_GSK_NPD Presentation Template">
  <a:themeElements>
    <a:clrScheme name="GSK_NPD Presentation Template 2">
      <a:dk1>
        <a:srgbClr val="000000"/>
      </a:dk1>
      <a:lt1>
        <a:srgbClr val="FFFFFF"/>
      </a:lt1>
      <a:dk2>
        <a:srgbClr val="000000"/>
      </a:dk2>
      <a:lt2>
        <a:srgbClr val="C0C0C0"/>
      </a:lt2>
      <a:accent1>
        <a:srgbClr val="006699"/>
      </a:accent1>
      <a:accent2>
        <a:srgbClr val="FF6600"/>
      </a:accent2>
      <a:accent3>
        <a:srgbClr val="FFFFFF"/>
      </a:accent3>
      <a:accent4>
        <a:srgbClr val="000000"/>
      </a:accent4>
      <a:accent5>
        <a:srgbClr val="AAB8CA"/>
      </a:accent5>
      <a:accent6>
        <a:srgbClr val="E75C00"/>
      </a:accent6>
      <a:hlink>
        <a:srgbClr val="663399"/>
      </a:hlink>
      <a:folHlink>
        <a:srgbClr val="FF0000"/>
      </a:folHlink>
    </a:clrScheme>
    <a:fontScheme name="GSK_NPD Presentation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FF66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FF66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GSK_NPD Presentation Template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5F5F5F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K_NPD Presentation Template 2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6699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E75C00"/>
        </a:accent6>
        <a:hlink>
          <a:srgbClr val="663399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K_NPD Presentation Template 3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336633"/>
        </a:accent1>
        <a:accent2>
          <a:srgbClr val="336666"/>
        </a:accent2>
        <a:accent3>
          <a:srgbClr val="FFFFFF"/>
        </a:accent3>
        <a:accent4>
          <a:srgbClr val="000000"/>
        </a:accent4>
        <a:accent5>
          <a:srgbClr val="ADB8AD"/>
        </a:accent5>
        <a:accent6>
          <a:srgbClr val="2D5C5C"/>
        </a:accent6>
        <a:hlink>
          <a:srgbClr val="990033"/>
        </a:hlink>
        <a:folHlink>
          <a:srgbClr val="6666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K_NPD Presentation Template 4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CCCC33"/>
        </a:accent1>
        <a:accent2>
          <a:srgbClr val="66CC00"/>
        </a:accent2>
        <a:accent3>
          <a:srgbClr val="FFFFFF"/>
        </a:accent3>
        <a:accent4>
          <a:srgbClr val="000000"/>
        </a:accent4>
        <a:accent5>
          <a:srgbClr val="E2E2AD"/>
        </a:accent5>
        <a:accent6>
          <a:srgbClr val="5CB900"/>
        </a:accent6>
        <a:hlink>
          <a:srgbClr val="0099CC"/>
        </a:hlink>
        <a:folHlink>
          <a:srgbClr val="6666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Listen NGI">
  <a:themeElements>
    <a:clrScheme name="Listen NGI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isten NG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FF66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FF66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Listen NGI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sten NGI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sten NGI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sten NGI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sten NGI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sten NGI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isten NGI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isten NGI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isten NGI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isten NGI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isten NGI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isten NGI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8_GSK_NPD Presentation Template">
  <a:themeElements>
    <a:clrScheme name="GSK_NPD Presentation Template 2">
      <a:dk1>
        <a:srgbClr val="000000"/>
      </a:dk1>
      <a:lt1>
        <a:srgbClr val="FFFFFF"/>
      </a:lt1>
      <a:dk2>
        <a:srgbClr val="000000"/>
      </a:dk2>
      <a:lt2>
        <a:srgbClr val="C0C0C0"/>
      </a:lt2>
      <a:accent1>
        <a:srgbClr val="006699"/>
      </a:accent1>
      <a:accent2>
        <a:srgbClr val="FF6600"/>
      </a:accent2>
      <a:accent3>
        <a:srgbClr val="FFFFFF"/>
      </a:accent3>
      <a:accent4>
        <a:srgbClr val="000000"/>
      </a:accent4>
      <a:accent5>
        <a:srgbClr val="AAB8CA"/>
      </a:accent5>
      <a:accent6>
        <a:srgbClr val="E75C00"/>
      </a:accent6>
      <a:hlink>
        <a:srgbClr val="663399"/>
      </a:hlink>
      <a:folHlink>
        <a:srgbClr val="FF0000"/>
      </a:folHlink>
    </a:clrScheme>
    <a:fontScheme name="GSK_NPD Presentation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FF66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FF66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GSK_NPD Presentation Template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5F5F5F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K_NPD Presentation Template 2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6699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E75C00"/>
        </a:accent6>
        <a:hlink>
          <a:srgbClr val="663399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K_NPD Presentation Template 3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336633"/>
        </a:accent1>
        <a:accent2>
          <a:srgbClr val="336666"/>
        </a:accent2>
        <a:accent3>
          <a:srgbClr val="FFFFFF"/>
        </a:accent3>
        <a:accent4>
          <a:srgbClr val="000000"/>
        </a:accent4>
        <a:accent5>
          <a:srgbClr val="ADB8AD"/>
        </a:accent5>
        <a:accent6>
          <a:srgbClr val="2D5C5C"/>
        </a:accent6>
        <a:hlink>
          <a:srgbClr val="990033"/>
        </a:hlink>
        <a:folHlink>
          <a:srgbClr val="6666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K_NPD Presentation Template 4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CCCC33"/>
        </a:accent1>
        <a:accent2>
          <a:srgbClr val="66CC00"/>
        </a:accent2>
        <a:accent3>
          <a:srgbClr val="FFFFFF"/>
        </a:accent3>
        <a:accent4>
          <a:srgbClr val="000000"/>
        </a:accent4>
        <a:accent5>
          <a:srgbClr val="E2E2AD"/>
        </a:accent5>
        <a:accent6>
          <a:srgbClr val="5CB900"/>
        </a:accent6>
        <a:hlink>
          <a:srgbClr val="0099CC"/>
        </a:hlink>
        <a:folHlink>
          <a:srgbClr val="6666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4.xml><?xml version="1.0" encoding="utf-8"?>
<a:theme xmlns:a="http://schemas.openxmlformats.org/drawingml/2006/main" name="11_GSK_NPD Presentation Template">
  <a:themeElements>
    <a:clrScheme name="GSK_NPD Presentation Template 2">
      <a:dk1>
        <a:srgbClr val="000000"/>
      </a:dk1>
      <a:lt1>
        <a:srgbClr val="FFFFFF"/>
      </a:lt1>
      <a:dk2>
        <a:srgbClr val="000000"/>
      </a:dk2>
      <a:lt2>
        <a:srgbClr val="C0C0C0"/>
      </a:lt2>
      <a:accent1>
        <a:srgbClr val="006699"/>
      </a:accent1>
      <a:accent2>
        <a:srgbClr val="FF6600"/>
      </a:accent2>
      <a:accent3>
        <a:srgbClr val="FFFFFF"/>
      </a:accent3>
      <a:accent4>
        <a:srgbClr val="000000"/>
      </a:accent4>
      <a:accent5>
        <a:srgbClr val="AAB8CA"/>
      </a:accent5>
      <a:accent6>
        <a:srgbClr val="E75C00"/>
      </a:accent6>
      <a:hlink>
        <a:srgbClr val="663399"/>
      </a:hlink>
      <a:folHlink>
        <a:srgbClr val="FF0000"/>
      </a:folHlink>
    </a:clrScheme>
    <a:fontScheme name="GSK_NPD Presentation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FF66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FF66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GSK_NPD Presentation Template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5F5F5F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K_NPD Presentation Template 2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6699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E75C00"/>
        </a:accent6>
        <a:hlink>
          <a:srgbClr val="663399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K_NPD Presentation Template 3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336633"/>
        </a:accent1>
        <a:accent2>
          <a:srgbClr val="336666"/>
        </a:accent2>
        <a:accent3>
          <a:srgbClr val="FFFFFF"/>
        </a:accent3>
        <a:accent4>
          <a:srgbClr val="000000"/>
        </a:accent4>
        <a:accent5>
          <a:srgbClr val="ADB8AD"/>
        </a:accent5>
        <a:accent6>
          <a:srgbClr val="2D5C5C"/>
        </a:accent6>
        <a:hlink>
          <a:srgbClr val="990033"/>
        </a:hlink>
        <a:folHlink>
          <a:srgbClr val="6666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K_NPD Presentation Template 4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CCCC33"/>
        </a:accent1>
        <a:accent2>
          <a:srgbClr val="66CC00"/>
        </a:accent2>
        <a:accent3>
          <a:srgbClr val="FFFFFF"/>
        </a:accent3>
        <a:accent4>
          <a:srgbClr val="000000"/>
        </a:accent4>
        <a:accent5>
          <a:srgbClr val="E2E2AD"/>
        </a:accent5>
        <a:accent6>
          <a:srgbClr val="5CB900"/>
        </a:accent6>
        <a:hlink>
          <a:srgbClr val="0099CC"/>
        </a:hlink>
        <a:folHlink>
          <a:srgbClr val="6666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9_GSK_NPD Presentation Template">
  <a:themeElements>
    <a:clrScheme name="GSK_NPD Presentation Template 2">
      <a:dk1>
        <a:srgbClr val="000000"/>
      </a:dk1>
      <a:lt1>
        <a:srgbClr val="FFFFFF"/>
      </a:lt1>
      <a:dk2>
        <a:srgbClr val="000000"/>
      </a:dk2>
      <a:lt2>
        <a:srgbClr val="C0C0C0"/>
      </a:lt2>
      <a:accent1>
        <a:srgbClr val="006699"/>
      </a:accent1>
      <a:accent2>
        <a:srgbClr val="FF6600"/>
      </a:accent2>
      <a:accent3>
        <a:srgbClr val="FFFFFF"/>
      </a:accent3>
      <a:accent4>
        <a:srgbClr val="000000"/>
      </a:accent4>
      <a:accent5>
        <a:srgbClr val="AAB8CA"/>
      </a:accent5>
      <a:accent6>
        <a:srgbClr val="E75C00"/>
      </a:accent6>
      <a:hlink>
        <a:srgbClr val="663399"/>
      </a:hlink>
      <a:folHlink>
        <a:srgbClr val="FF0000"/>
      </a:folHlink>
    </a:clrScheme>
    <a:fontScheme name="GSK_NPD Presentation Templat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GSK_NPD Presentation Template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5F5F5F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K_NPD Presentation Template 2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6699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E75C00"/>
        </a:accent6>
        <a:hlink>
          <a:srgbClr val="663399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K_NPD Presentation Template 3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336633"/>
        </a:accent1>
        <a:accent2>
          <a:srgbClr val="336666"/>
        </a:accent2>
        <a:accent3>
          <a:srgbClr val="FFFFFF"/>
        </a:accent3>
        <a:accent4>
          <a:srgbClr val="000000"/>
        </a:accent4>
        <a:accent5>
          <a:srgbClr val="ADB8AD"/>
        </a:accent5>
        <a:accent6>
          <a:srgbClr val="2D5C5C"/>
        </a:accent6>
        <a:hlink>
          <a:srgbClr val="990033"/>
        </a:hlink>
        <a:folHlink>
          <a:srgbClr val="6666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K_NPD Presentation Template 4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CCCC33"/>
        </a:accent1>
        <a:accent2>
          <a:srgbClr val="66CC00"/>
        </a:accent2>
        <a:accent3>
          <a:srgbClr val="FFFFFF"/>
        </a:accent3>
        <a:accent4>
          <a:srgbClr val="000000"/>
        </a:accent4>
        <a:accent5>
          <a:srgbClr val="E2E2AD"/>
        </a:accent5>
        <a:accent6>
          <a:srgbClr val="5CB900"/>
        </a:accent6>
        <a:hlink>
          <a:srgbClr val="0099CC"/>
        </a:hlink>
        <a:folHlink>
          <a:srgbClr val="6666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35MM Whte Bkgrnd No Color">
  <a:themeElements>
    <a:clrScheme name="35MM Whte Bkgrnd No Color 1">
      <a:dk1>
        <a:srgbClr val="000000"/>
      </a:dk1>
      <a:lt1>
        <a:srgbClr val="FFFFFF"/>
      </a:lt1>
      <a:dk2>
        <a:srgbClr val="000000"/>
      </a:dk2>
      <a:lt2>
        <a:srgbClr val="000099"/>
      </a:lt2>
      <a:accent1>
        <a:srgbClr val="00FEFB"/>
      </a:accent1>
      <a:accent2>
        <a:srgbClr val="FF6333"/>
      </a:accent2>
      <a:accent3>
        <a:srgbClr val="FFFFFF"/>
      </a:accent3>
      <a:accent4>
        <a:srgbClr val="000000"/>
      </a:accent4>
      <a:accent5>
        <a:srgbClr val="AAFEFD"/>
      </a:accent5>
      <a:accent6>
        <a:srgbClr val="E7592D"/>
      </a:accent6>
      <a:hlink>
        <a:srgbClr val="B65FF9"/>
      </a:hlink>
      <a:folHlink>
        <a:srgbClr val="FAFD00"/>
      </a:folHlink>
    </a:clrScheme>
    <a:fontScheme name="35MM Whte Bkgrnd No Col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FF66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FF66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35MM Whte Bkgrnd No Color 1">
        <a:dk1>
          <a:srgbClr val="000000"/>
        </a:dk1>
        <a:lt1>
          <a:srgbClr val="FFFFFF"/>
        </a:lt1>
        <a:dk2>
          <a:srgbClr val="000000"/>
        </a:dk2>
        <a:lt2>
          <a:srgbClr val="000099"/>
        </a:lt2>
        <a:accent1>
          <a:srgbClr val="00FEFB"/>
        </a:accent1>
        <a:accent2>
          <a:srgbClr val="FF6333"/>
        </a:accent2>
        <a:accent3>
          <a:srgbClr val="FFFFFF"/>
        </a:accent3>
        <a:accent4>
          <a:srgbClr val="000000"/>
        </a:accent4>
        <a:accent5>
          <a:srgbClr val="AAFEFD"/>
        </a:accent5>
        <a:accent6>
          <a:srgbClr val="E7592D"/>
        </a:accent6>
        <a:hlink>
          <a:srgbClr val="B65FF9"/>
        </a:hlink>
        <a:folHlink>
          <a:srgbClr val="FAFD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7.xml><?xml version="1.0" encoding="utf-8"?>
<a:theme xmlns:a="http://schemas.openxmlformats.org/drawingml/2006/main" name="4_GSK_NPD Presentation Template">
  <a:themeElements>
    <a:clrScheme name="GSK_NPD Presentation Template 2">
      <a:dk1>
        <a:srgbClr val="000000"/>
      </a:dk1>
      <a:lt1>
        <a:srgbClr val="FFFFFF"/>
      </a:lt1>
      <a:dk2>
        <a:srgbClr val="000000"/>
      </a:dk2>
      <a:lt2>
        <a:srgbClr val="C0C0C0"/>
      </a:lt2>
      <a:accent1>
        <a:srgbClr val="006699"/>
      </a:accent1>
      <a:accent2>
        <a:srgbClr val="FF6600"/>
      </a:accent2>
      <a:accent3>
        <a:srgbClr val="FFFFFF"/>
      </a:accent3>
      <a:accent4>
        <a:srgbClr val="000000"/>
      </a:accent4>
      <a:accent5>
        <a:srgbClr val="AAB8CA"/>
      </a:accent5>
      <a:accent6>
        <a:srgbClr val="E75C00"/>
      </a:accent6>
      <a:hlink>
        <a:srgbClr val="663399"/>
      </a:hlink>
      <a:folHlink>
        <a:srgbClr val="FF0000"/>
      </a:folHlink>
    </a:clrScheme>
    <a:fontScheme name="GSK_NPD Presentation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FF66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FF66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GSK_NPD Presentation Template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5F5F5F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K_NPD Presentation Template 2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6699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E75C00"/>
        </a:accent6>
        <a:hlink>
          <a:srgbClr val="663399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K_NPD Presentation Template 3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336633"/>
        </a:accent1>
        <a:accent2>
          <a:srgbClr val="336666"/>
        </a:accent2>
        <a:accent3>
          <a:srgbClr val="FFFFFF"/>
        </a:accent3>
        <a:accent4>
          <a:srgbClr val="000000"/>
        </a:accent4>
        <a:accent5>
          <a:srgbClr val="ADB8AD"/>
        </a:accent5>
        <a:accent6>
          <a:srgbClr val="2D5C5C"/>
        </a:accent6>
        <a:hlink>
          <a:srgbClr val="990033"/>
        </a:hlink>
        <a:folHlink>
          <a:srgbClr val="6666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K_NPD Presentation Template 4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CCCC33"/>
        </a:accent1>
        <a:accent2>
          <a:srgbClr val="66CC00"/>
        </a:accent2>
        <a:accent3>
          <a:srgbClr val="FFFFFF"/>
        </a:accent3>
        <a:accent4>
          <a:srgbClr val="000000"/>
        </a:accent4>
        <a:accent5>
          <a:srgbClr val="E2E2AD"/>
        </a:accent5>
        <a:accent6>
          <a:srgbClr val="5CB900"/>
        </a:accent6>
        <a:hlink>
          <a:srgbClr val="0099CC"/>
        </a:hlink>
        <a:folHlink>
          <a:srgbClr val="6666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8.xml><?xml version="1.0" encoding="utf-8"?>
<a:theme xmlns:a="http://schemas.openxmlformats.org/drawingml/2006/main" name="8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9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35MM Whte Bkgrnd No Color">
  <a:themeElements>
    <a:clrScheme name="1_35MM Whte Bkgrnd No Color 1">
      <a:dk1>
        <a:srgbClr val="000000"/>
      </a:dk1>
      <a:lt1>
        <a:srgbClr val="FFFFFF"/>
      </a:lt1>
      <a:dk2>
        <a:srgbClr val="000000"/>
      </a:dk2>
      <a:lt2>
        <a:srgbClr val="000099"/>
      </a:lt2>
      <a:accent1>
        <a:srgbClr val="00FEFB"/>
      </a:accent1>
      <a:accent2>
        <a:srgbClr val="FF6333"/>
      </a:accent2>
      <a:accent3>
        <a:srgbClr val="FFFFFF"/>
      </a:accent3>
      <a:accent4>
        <a:srgbClr val="000000"/>
      </a:accent4>
      <a:accent5>
        <a:srgbClr val="AAFEFD"/>
      </a:accent5>
      <a:accent6>
        <a:srgbClr val="E7592D"/>
      </a:accent6>
      <a:hlink>
        <a:srgbClr val="B65FF9"/>
      </a:hlink>
      <a:folHlink>
        <a:srgbClr val="FAFD00"/>
      </a:folHlink>
    </a:clrScheme>
    <a:fontScheme name="1_35MM Whte Bkgrnd No Col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FF66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FF66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35MM Whte Bkgrnd No Color 1">
        <a:dk1>
          <a:srgbClr val="000000"/>
        </a:dk1>
        <a:lt1>
          <a:srgbClr val="FFFFFF"/>
        </a:lt1>
        <a:dk2>
          <a:srgbClr val="000000"/>
        </a:dk2>
        <a:lt2>
          <a:srgbClr val="000099"/>
        </a:lt2>
        <a:accent1>
          <a:srgbClr val="00FEFB"/>
        </a:accent1>
        <a:accent2>
          <a:srgbClr val="FF6333"/>
        </a:accent2>
        <a:accent3>
          <a:srgbClr val="FFFFFF"/>
        </a:accent3>
        <a:accent4>
          <a:srgbClr val="000000"/>
        </a:accent4>
        <a:accent5>
          <a:srgbClr val="AAFEFD"/>
        </a:accent5>
        <a:accent6>
          <a:srgbClr val="E7592D"/>
        </a:accent6>
        <a:hlink>
          <a:srgbClr val="B65FF9"/>
        </a:hlink>
        <a:folHlink>
          <a:srgbClr val="FAFD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5_GSK_NPD Presentation Template">
  <a:themeElements>
    <a:clrScheme name="GSK_NPD Presentation Template 2">
      <a:dk1>
        <a:srgbClr val="000000"/>
      </a:dk1>
      <a:lt1>
        <a:srgbClr val="FFFFFF"/>
      </a:lt1>
      <a:dk2>
        <a:srgbClr val="000000"/>
      </a:dk2>
      <a:lt2>
        <a:srgbClr val="C0C0C0"/>
      </a:lt2>
      <a:accent1>
        <a:srgbClr val="006699"/>
      </a:accent1>
      <a:accent2>
        <a:srgbClr val="FF6600"/>
      </a:accent2>
      <a:accent3>
        <a:srgbClr val="FFFFFF"/>
      </a:accent3>
      <a:accent4>
        <a:srgbClr val="000000"/>
      </a:accent4>
      <a:accent5>
        <a:srgbClr val="AAB8CA"/>
      </a:accent5>
      <a:accent6>
        <a:srgbClr val="E75C00"/>
      </a:accent6>
      <a:hlink>
        <a:srgbClr val="663399"/>
      </a:hlink>
      <a:folHlink>
        <a:srgbClr val="FF0000"/>
      </a:folHlink>
    </a:clrScheme>
    <a:fontScheme name="GSK_NPD Presentation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FF66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FF66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GSK_NPD Presentation Template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5F5F5F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K_NPD Presentation Template 2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6699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E75C00"/>
        </a:accent6>
        <a:hlink>
          <a:srgbClr val="663399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K_NPD Presentation Template 3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336633"/>
        </a:accent1>
        <a:accent2>
          <a:srgbClr val="336666"/>
        </a:accent2>
        <a:accent3>
          <a:srgbClr val="FFFFFF"/>
        </a:accent3>
        <a:accent4>
          <a:srgbClr val="000000"/>
        </a:accent4>
        <a:accent5>
          <a:srgbClr val="ADB8AD"/>
        </a:accent5>
        <a:accent6>
          <a:srgbClr val="2D5C5C"/>
        </a:accent6>
        <a:hlink>
          <a:srgbClr val="990033"/>
        </a:hlink>
        <a:folHlink>
          <a:srgbClr val="6666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K_NPD Presentation Template 4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CCCC33"/>
        </a:accent1>
        <a:accent2>
          <a:srgbClr val="66CC00"/>
        </a:accent2>
        <a:accent3>
          <a:srgbClr val="FFFFFF"/>
        </a:accent3>
        <a:accent4>
          <a:srgbClr val="000000"/>
        </a:accent4>
        <a:accent5>
          <a:srgbClr val="E2E2AD"/>
        </a:accent5>
        <a:accent6>
          <a:srgbClr val="5CB900"/>
        </a:accent6>
        <a:hlink>
          <a:srgbClr val="0099CC"/>
        </a:hlink>
        <a:folHlink>
          <a:srgbClr val="6666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6_35MM Whte Bkgrnd No Color">
  <a:themeElements>
    <a:clrScheme name="35MM Whte Bkgrnd No Color 1">
      <a:dk1>
        <a:srgbClr val="000000"/>
      </a:dk1>
      <a:lt1>
        <a:srgbClr val="FFFFFF"/>
      </a:lt1>
      <a:dk2>
        <a:srgbClr val="000000"/>
      </a:dk2>
      <a:lt2>
        <a:srgbClr val="000099"/>
      </a:lt2>
      <a:accent1>
        <a:srgbClr val="00FEFB"/>
      </a:accent1>
      <a:accent2>
        <a:srgbClr val="FF6333"/>
      </a:accent2>
      <a:accent3>
        <a:srgbClr val="FFFFFF"/>
      </a:accent3>
      <a:accent4>
        <a:srgbClr val="000000"/>
      </a:accent4>
      <a:accent5>
        <a:srgbClr val="AAFEFD"/>
      </a:accent5>
      <a:accent6>
        <a:srgbClr val="E7592D"/>
      </a:accent6>
      <a:hlink>
        <a:srgbClr val="B65FF9"/>
      </a:hlink>
      <a:folHlink>
        <a:srgbClr val="FAFD00"/>
      </a:folHlink>
    </a:clrScheme>
    <a:fontScheme name="35MM Whte Bkgrnd No Col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FF66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FF66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35MM Whte Bkgrnd No Color 1">
        <a:dk1>
          <a:srgbClr val="000000"/>
        </a:dk1>
        <a:lt1>
          <a:srgbClr val="FFFFFF"/>
        </a:lt1>
        <a:dk2>
          <a:srgbClr val="000000"/>
        </a:dk2>
        <a:lt2>
          <a:srgbClr val="000099"/>
        </a:lt2>
        <a:accent1>
          <a:srgbClr val="00FEFB"/>
        </a:accent1>
        <a:accent2>
          <a:srgbClr val="FF6333"/>
        </a:accent2>
        <a:accent3>
          <a:srgbClr val="FFFFFF"/>
        </a:accent3>
        <a:accent4>
          <a:srgbClr val="000000"/>
        </a:accent4>
        <a:accent5>
          <a:srgbClr val="AAFEFD"/>
        </a:accent5>
        <a:accent6>
          <a:srgbClr val="E7592D"/>
        </a:accent6>
        <a:hlink>
          <a:srgbClr val="B65FF9"/>
        </a:hlink>
        <a:folHlink>
          <a:srgbClr val="FAFD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35MM Whte Bkgrnd No Color">
  <a:themeElements>
    <a:clrScheme name="1_35MM Whte Bkgrnd No Color 1">
      <a:dk1>
        <a:srgbClr val="000000"/>
      </a:dk1>
      <a:lt1>
        <a:srgbClr val="FFFFFF"/>
      </a:lt1>
      <a:dk2>
        <a:srgbClr val="000000"/>
      </a:dk2>
      <a:lt2>
        <a:srgbClr val="000099"/>
      </a:lt2>
      <a:accent1>
        <a:srgbClr val="00FEFB"/>
      </a:accent1>
      <a:accent2>
        <a:srgbClr val="FF6333"/>
      </a:accent2>
      <a:accent3>
        <a:srgbClr val="FFFFFF"/>
      </a:accent3>
      <a:accent4>
        <a:srgbClr val="000000"/>
      </a:accent4>
      <a:accent5>
        <a:srgbClr val="AAFEFD"/>
      </a:accent5>
      <a:accent6>
        <a:srgbClr val="E7592D"/>
      </a:accent6>
      <a:hlink>
        <a:srgbClr val="B65FF9"/>
      </a:hlink>
      <a:folHlink>
        <a:srgbClr val="FAFD00"/>
      </a:folHlink>
    </a:clrScheme>
    <a:fontScheme name="1_35MM Whte Bkgrnd No Col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FF66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FF66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35MM Whte Bkgrnd No Color 1">
        <a:dk1>
          <a:srgbClr val="000000"/>
        </a:dk1>
        <a:lt1>
          <a:srgbClr val="FFFFFF"/>
        </a:lt1>
        <a:dk2>
          <a:srgbClr val="000000"/>
        </a:dk2>
        <a:lt2>
          <a:srgbClr val="000099"/>
        </a:lt2>
        <a:accent1>
          <a:srgbClr val="00FEFB"/>
        </a:accent1>
        <a:accent2>
          <a:srgbClr val="FF6333"/>
        </a:accent2>
        <a:accent3>
          <a:srgbClr val="FFFFFF"/>
        </a:accent3>
        <a:accent4>
          <a:srgbClr val="000000"/>
        </a:accent4>
        <a:accent5>
          <a:srgbClr val="AAFEFD"/>
        </a:accent5>
        <a:accent6>
          <a:srgbClr val="E7592D"/>
        </a:accent6>
        <a:hlink>
          <a:srgbClr val="B65FF9"/>
        </a:hlink>
        <a:folHlink>
          <a:srgbClr val="FAFD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_GSK_NPD Presentation Template">
  <a:themeElements>
    <a:clrScheme name="GSK_NPD Presentation Template 2">
      <a:dk1>
        <a:srgbClr val="000000"/>
      </a:dk1>
      <a:lt1>
        <a:srgbClr val="FFFFFF"/>
      </a:lt1>
      <a:dk2>
        <a:srgbClr val="000000"/>
      </a:dk2>
      <a:lt2>
        <a:srgbClr val="C0C0C0"/>
      </a:lt2>
      <a:accent1>
        <a:srgbClr val="006699"/>
      </a:accent1>
      <a:accent2>
        <a:srgbClr val="FF6600"/>
      </a:accent2>
      <a:accent3>
        <a:srgbClr val="FFFFFF"/>
      </a:accent3>
      <a:accent4>
        <a:srgbClr val="000000"/>
      </a:accent4>
      <a:accent5>
        <a:srgbClr val="AAB8CA"/>
      </a:accent5>
      <a:accent6>
        <a:srgbClr val="E75C00"/>
      </a:accent6>
      <a:hlink>
        <a:srgbClr val="663399"/>
      </a:hlink>
      <a:folHlink>
        <a:srgbClr val="FF0000"/>
      </a:folHlink>
    </a:clrScheme>
    <a:fontScheme name="GSK_NPD Presentation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FF66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FF66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GSK_NPD Presentation Template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5F5F5F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K_NPD Presentation Template 2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6699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E75C00"/>
        </a:accent6>
        <a:hlink>
          <a:srgbClr val="663399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K_NPD Presentation Template 3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336633"/>
        </a:accent1>
        <a:accent2>
          <a:srgbClr val="336666"/>
        </a:accent2>
        <a:accent3>
          <a:srgbClr val="FFFFFF"/>
        </a:accent3>
        <a:accent4>
          <a:srgbClr val="000000"/>
        </a:accent4>
        <a:accent5>
          <a:srgbClr val="ADB8AD"/>
        </a:accent5>
        <a:accent6>
          <a:srgbClr val="2D5C5C"/>
        </a:accent6>
        <a:hlink>
          <a:srgbClr val="990033"/>
        </a:hlink>
        <a:folHlink>
          <a:srgbClr val="6666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K_NPD Presentation Template 4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CCCC33"/>
        </a:accent1>
        <a:accent2>
          <a:srgbClr val="66CC00"/>
        </a:accent2>
        <a:accent3>
          <a:srgbClr val="FFFFFF"/>
        </a:accent3>
        <a:accent4>
          <a:srgbClr val="000000"/>
        </a:accent4>
        <a:accent5>
          <a:srgbClr val="E2E2AD"/>
        </a:accent5>
        <a:accent6>
          <a:srgbClr val="5CB900"/>
        </a:accent6>
        <a:hlink>
          <a:srgbClr val="0099CC"/>
        </a:hlink>
        <a:folHlink>
          <a:srgbClr val="6666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4_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Blank Presentation">
      <a:majorFont>
        <a:latin typeface="Times New Roman"/>
        <a:ea typeface=""/>
        <a:cs typeface="Arial"/>
      </a:majorFont>
      <a:minorFont>
        <a:latin typeface="Times New Roman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djacency.thmx</Template>
  <TotalTime>3499</TotalTime>
  <Words>2316</Words>
  <Application>Microsoft Office PowerPoint</Application>
  <PresentationFormat>On-screen Show (4:3)</PresentationFormat>
  <Paragraphs>651</Paragraphs>
  <Slides>61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28</vt:i4>
      </vt:variant>
      <vt:variant>
        <vt:lpstr>Embedded OLE Servers</vt:lpstr>
      </vt:variant>
      <vt:variant>
        <vt:i4>6</vt:i4>
      </vt:variant>
      <vt:variant>
        <vt:lpstr>Slide Titles</vt:lpstr>
      </vt:variant>
      <vt:variant>
        <vt:i4>61</vt:i4>
      </vt:variant>
    </vt:vector>
  </HeadingPairs>
  <TitlesOfParts>
    <vt:vector size="108" baseType="lpstr">
      <vt:lpstr>Arial</vt:lpstr>
      <vt:lpstr>ＭＳ Ｐゴシック</vt:lpstr>
      <vt:lpstr>Times</vt:lpstr>
      <vt:lpstr>Calibri</vt:lpstr>
      <vt:lpstr>Wingdings</vt:lpstr>
      <vt:lpstr>Times New Roman</vt:lpstr>
      <vt:lpstr>Helvetica</vt:lpstr>
      <vt:lpstr>Cambria</vt:lpstr>
      <vt:lpstr>Verdana</vt:lpstr>
      <vt:lpstr>Magneto</vt:lpstr>
      <vt:lpstr>Comic Sans MS</vt:lpstr>
      <vt:lpstr>Symbol</vt:lpstr>
      <vt:lpstr>Tahoma</vt:lpstr>
      <vt:lpstr>4_35MM Whte Bkgrnd No Color</vt:lpstr>
      <vt:lpstr>Office Theme</vt:lpstr>
      <vt:lpstr>3_35MM Whte Bkgrnd No Color</vt:lpstr>
      <vt:lpstr>5_GSK_NPD Presentation Template</vt:lpstr>
      <vt:lpstr>6_35MM Whte Bkgrnd No Color</vt:lpstr>
      <vt:lpstr>2_35MM Whte Bkgrnd No Color</vt:lpstr>
      <vt:lpstr>2_GSK_NPD Presentation Template</vt:lpstr>
      <vt:lpstr>4_Blank Presentation</vt:lpstr>
      <vt:lpstr>2_Office Theme</vt:lpstr>
      <vt:lpstr>3_Office Theme</vt:lpstr>
      <vt:lpstr>Blank Presentation</vt:lpstr>
      <vt:lpstr>1_Office Theme</vt:lpstr>
      <vt:lpstr>4_Office Theme</vt:lpstr>
      <vt:lpstr>6_GSK_NPD Presentation Template</vt:lpstr>
      <vt:lpstr>2_Blank Presentation</vt:lpstr>
      <vt:lpstr>5_Office Theme</vt:lpstr>
      <vt:lpstr>6_Office Theme</vt:lpstr>
      <vt:lpstr>7_Office Theme</vt:lpstr>
      <vt:lpstr>1_GSK_NPD Presentation Template</vt:lpstr>
      <vt:lpstr>3_GSK_NPD Presentation Template</vt:lpstr>
      <vt:lpstr>7_GSK_NPD Presentation Template</vt:lpstr>
      <vt:lpstr>Listen NGI</vt:lpstr>
      <vt:lpstr>8_GSK_NPD Presentation Template</vt:lpstr>
      <vt:lpstr>11_GSK_NPD Presentation Template</vt:lpstr>
      <vt:lpstr>9_GSK_NPD Presentation Template</vt:lpstr>
      <vt:lpstr>35MM Whte Bkgrnd No Color</vt:lpstr>
      <vt:lpstr>4_GSK_NPD Presentation Template</vt:lpstr>
      <vt:lpstr>8_Office Theme</vt:lpstr>
      <vt:lpstr>Microsoft Clip Gallery</vt:lpstr>
      <vt:lpstr>Clip</vt:lpstr>
      <vt:lpstr>Photo Editor Photo</vt:lpstr>
      <vt:lpstr>Excel.Chart.8</vt:lpstr>
      <vt:lpstr>Microsoft Word 97 - 2004 Document</vt:lpstr>
      <vt:lpstr>PhotoSuite Image</vt:lpstr>
      <vt:lpstr>PowerPoint Presentation</vt:lpstr>
      <vt:lpstr>PowerPoint Presentation</vt:lpstr>
      <vt:lpstr>PowerPoint Presentation</vt:lpstr>
      <vt:lpstr>How Are Drugs Discovered?</vt:lpstr>
      <vt:lpstr>PowerPoint Presentation</vt:lpstr>
      <vt:lpstr>PowerPoint Presentation</vt:lpstr>
      <vt:lpstr>Product Development</vt:lpstr>
      <vt:lpstr>Pharmacy</vt:lpstr>
      <vt:lpstr>Safety &amp; toxicity in animals</vt:lpstr>
      <vt:lpstr>Phase I</vt:lpstr>
      <vt:lpstr>Phase II</vt:lpstr>
      <vt:lpstr>Phase III</vt:lpstr>
      <vt:lpstr>Conventional clinical trial designs </vt:lpstr>
      <vt:lpstr>PowerPoint Presentation</vt:lpstr>
      <vt:lpstr>Marketing Authorisation Application</vt:lpstr>
      <vt:lpstr>Phase IV</vt:lpstr>
      <vt:lpstr>PowerPoint Presentation</vt:lpstr>
      <vt:lpstr>PowerPoint Presentation</vt:lpstr>
      <vt:lpstr>UK is expensive</vt:lpstr>
      <vt:lpstr>Shifting the pendulum of clinical research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ake Go / No Go Decisions Earlier</vt:lpstr>
      <vt:lpstr>PowerPoint Presentation</vt:lpstr>
      <vt:lpstr>Marker</vt:lpstr>
      <vt:lpstr>Marker Definit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…</vt:lpstr>
      <vt:lpstr>Choosing the right study design in AD trial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arallel vs. Adaptive Designs </vt:lpstr>
      <vt:lpstr>PowerPoint Presentation</vt:lpstr>
      <vt:lpstr>PowerPoint Presentation</vt:lpstr>
      <vt:lpstr>PowerPoint Presentation</vt:lpstr>
      <vt:lpstr>PowerPoint Presentation</vt:lpstr>
      <vt:lpstr>Sustained attention fMRI results in HVs</vt:lpstr>
      <vt:lpstr>PowerPoint Presentation</vt:lpstr>
      <vt:lpstr>PowerPoint Presentation</vt:lpstr>
      <vt:lpstr>PowerPoint Presentation</vt:lpstr>
      <vt:lpstr>Summary</vt:lpstr>
      <vt:lpstr>PowerPoint Presentation</vt:lpstr>
      <vt:lpstr>MRes inTranslational Medicine</vt:lpstr>
      <vt:lpstr>PowerPoint Presentation</vt:lpstr>
    </vt:vector>
  </TitlesOfParts>
  <Company>MediTech Medi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 Slide Title</dc:title>
  <dc:creator>Mark Walker</dc:creator>
  <cp:lastModifiedBy>Shiel, Nuala</cp:lastModifiedBy>
  <cp:revision>218</cp:revision>
  <cp:lastPrinted>2003-01-13T09:15:30Z</cp:lastPrinted>
  <dcterms:created xsi:type="dcterms:W3CDTF">2002-12-02T17:27:44Z</dcterms:created>
  <dcterms:modified xsi:type="dcterms:W3CDTF">2013-05-07T12:11:31Z</dcterms:modified>
</cp:coreProperties>
</file>